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2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3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4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5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326" r:id="rId2"/>
    <p:sldId id="2147482746" r:id="rId3"/>
    <p:sldId id="2147482747" r:id="rId4"/>
    <p:sldId id="2147482737" r:id="rId5"/>
    <p:sldId id="2147482741" r:id="rId6"/>
    <p:sldId id="2147482782" r:id="rId7"/>
    <p:sldId id="2147482781" r:id="rId8"/>
  </p:sldIdLst>
  <p:sldSz cx="12192000" cy="6858000"/>
  <p:notesSz cx="6797675" cy="9926638"/>
  <p:custDataLst>
    <p:tags r:id="rId10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579D2EF-97FF-40D4-822C-0779ED0D318A}">
          <p14:sldIdLst>
            <p14:sldId id="326"/>
          </p14:sldIdLst>
        </p14:section>
        <p14:section name="Job Postings Analysis" id="{D819EEBB-5664-4F2E-8D08-8449B04310CC}">
          <p14:sldIdLst>
            <p14:sldId id="2147482746"/>
            <p14:sldId id="2147482747"/>
            <p14:sldId id="2147482737"/>
            <p14:sldId id="2147482741"/>
          </p14:sldIdLst>
        </p14:section>
        <p14:section name="Compensation Analysis" id="{A3F2A4F4-D139-4AA7-82E0-B6FFFDAEA2BC}">
          <p14:sldIdLst>
            <p14:sldId id="2147482782"/>
            <p14:sldId id="214748278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AECDB"/>
    <a:srgbClr val="F2DE8A"/>
    <a:srgbClr val="FFFFFF"/>
    <a:srgbClr val="5C5C5C"/>
    <a:srgbClr val="FAEEC3"/>
    <a:srgbClr val="E9CD49"/>
    <a:srgbClr val="C6AA3D"/>
    <a:srgbClr val="AB8933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D443D03-7177-4442-8E00-B3882C6B4CAB}" v="11" dt="2024-03-01T03:36:40.509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6552" autoAdjust="0"/>
  </p:normalViewPr>
  <p:slideViewPr>
    <p:cSldViewPr snapToGrid="0">
      <p:cViewPr varScale="1">
        <p:scale>
          <a:sx n="79" d="100"/>
          <a:sy n="79" d="100"/>
        </p:scale>
        <p:origin x="101" y="4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kka, Ayushmn" userId="ed96e7a4-3091-4468-b07d-b7e19a497eef" providerId="ADAL" clId="{3D443D03-7177-4442-8E00-B3882C6B4CAB}"/>
    <pc:docChg chg="custSel modMainMaster replTag">
      <pc:chgData name="Sikka, Ayushmn" userId="ed96e7a4-3091-4468-b07d-b7e19a497eef" providerId="ADAL" clId="{3D443D03-7177-4442-8E00-B3882C6B4CAB}" dt="2024-03-01T03:36:40.509" v="37"/>
      <pc:docMkLst>
        <pc:docMk/>
      </pc:docMkLst>
      <pc:sldMasterChg chg="addSp delSp modSp mod">
        <pc:chgData name="Sikka, Ayushmn" userId="ed96e7a4-3091-4468-b07d-b7e19a497eef" providerId="ADAL" clId="{3D443D03-7177-4442-8E00-B3882C6B4CAB}" dt="2024-03-01T03:36:40.509" v="37"/>
        <pc:sldMasterMkLst>
          <pc:docMk/>
          <pc:sldMasterMk cId="3729795247" sldId="2147483648"/>
        </pc:sldMasterMkLst>
        <pc:spChg chg="mod">
          <ac:chgData name="Sikka, Ayushmn" userId="ed96e7a4-3091-4468-b07d-b7e19a497eef" providerId="ADAL" clId="{3D443D03-7177-4442-8E00-B3882C6B4CAB}" dt="2024-03-01T03:36:40.152" v="0" actId="948"/>
          <ac:spMkLst>
            <pc:docMk/>
            <pc:sldMasterMk cId="3729795247" sldId="2147483648"/>
            <ac:spMk id="2" creationId="{00000000-0000-0000-0000-000000000000}"/>
          </ac:spMkLst>
        </pc:spChg>
        <pc:spChg chg="add del mod modVis">
          <ac:chgData name="Sikka, Ayushmn" userId="ed96e7a4-3091-4468-b07d-b7e19a497eef" providerId="ADAL" clId="{3D443D03-7177-4442-8E00-B3882C6B4CAB}" dt="2024-03-01T03:36:40.462" v="22"/>
          <ac:spMkLst>
            <pc:docMk/>
            <pc:sldMasterMk cId="3729795247" sldId="2147483648"/>
            <ac:spMk id="4" creationId="{5146056D-10ED-F520-49B9-C4A18C2ECB2E}"/>
          </ac:spMkLst>
        </pc:spChg>
        <pc:graphicFrameChg chg="add mod ord modVis replST">
          <ac:chgData name="Sikka, Ayushmn" userId="ed96e7a4-3091-4468-b07d-b7e19a497eef" providerId="ADAL" clId="{3D443D03-7177-4442-8E00-B3882C6B4CAB}" dt="2024-03-01T03:36:40.509" v="37"/>
          <ac:graphicFrameMkLst>
            <pc:docMk/>
            <pc:sldMasterMk cId="3729795247" sldId="2147483648"/>
            <ac:graphicFrameMk id="6" creationId="{C90B2E4D-1D35-8557-AA3F-F27E5C0B02F9}"/>
          </ac:graphicFrameMkLst>
        </pc:graphicFrame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1ED704-4185-4AC7-97BE-7725AB3F580A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FBBF6A-8EEC-4D6C-B4AE-21A9C5ABBD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97528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EEBD66-DF86-4345-8B6F-B41E5D14686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609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wrap="square"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2E00FB-2EE5-47C9-A49B-BD1653453EE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19270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46E961-A83B-4500-B5F7-48EDF225ADD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4957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46E961-A83B-4500-B5F7-48EDF225ADD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7897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46E961-A83B-4500-B5F7-48EDF225ADD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0791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90B2E4D-1D35-8557-AA3F-F27E5C0B02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027085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0B2E4D-1D35-8557-AA3F-F27E5C0B02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32E34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Sample Output_Job Postings and ...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CN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2" pos="211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7469" userDrawn="1">
          <p15:clr>
            <a:srgbClr val="D1D1D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31.xml"/><Relationship Id="rId21" Type="http://schemas.openxmlformats.org/officeDocument/2006/relationships/tags" Target="../tags/tag26.xml"/><Relationship Id="rId34" Type="http://schemas.openxmlformats.org/officeDocument/2006/relationships/tags" Target="../tags/tag39.xml"/><Relationship Id="rId42" Type="http://schemas.openxmlformats.org/officeDocument/2006/relationships/image" Target="../media/image8.svg"/><Relationship Id="rId47" Type="http://schemas.openxmlformats.org/officeDocument/2006/relationships/image" Target="../media/image13.jpeg"/><Relationship Id="rId50" Type="http://schemas.openxmlformats.org/officeDocument/2006/relationships/image" Target="../media/image16.png"/><Relationship Id="rId55" Type="http://schemas.openxmlformats.org/officeDocument/2006/relationships/image" Target="../media/image21.png"/><Relationship Id="rId63" Type="http://schemas.openxmlformats.org/officeDocument/2006/relationships/image" Target="../media/image29.png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9" Type="http://schemas.openxmlformats.org/officeDocument/2006/relationships/tags" Target="../tags/tag34.xml"/><Relationship Id="rId11" Type="http://schemas.openxmlformats.org/officeDocument/2006/relationships/tags" Target="../tags/tag16.xml"/><Relationship Id="rId24" Type="http://schemas.openxmlformats.org/officeDocument/2006/relationships/tags" Target="../tags/tag29.xml"/><Relationship Id="rId32" Type="http://schemas.openxmlformats.org/officeDocument/2006/relationships/tags" Target="../tags/tag37.xml"/><Relationship Id="rId37" Type="http://schemas.openxmlformats.org/officeDocument/2006/relationships/tags" Target="../tags/tag42.xml"/><Relationship Id="rId40" Type="http://schemas.openxmlformats.org/officeDocument/2006/relationships/image" Target="../media/image6.emf"/><Relationship Id="rId45" Type="http://schemas.openxmlformats.org/officeDocument/2006/relationships/image" Target="../media/image11.png"/><Relationship Id="rId53" Type="http://schemas.openxmlformats.org/officeDocument/2006/relationships/image" Target="../media/image19.png"/><Relationship Id="rId58" Type="http://schemas.openxmlformats.org/officeDocument/2006/relationships/image" Target="../media/image24.svg"/><Relationship Id="rId66" Type="http://schemas.openxmlformats.org/officeDocument/2006/relationships/image" Target="../media/image32.svg"/><Relationship Id="rId5" Type="http://schemas.openxmlformats.org/officeDocument/2006/relationships/tags" Target="../tags/tag10.xml"/><Relationship Id="rId61" Type="http://schemas.openxmlformats.org/officeDocument/2006/relationships/image" Target="../media/image27.png"/><Relationship Id="rId19" Type="http://schemas.openxmlformats.org/officeDocument/2006/relationships/tags" Target="../tags/tag24.xml"/><Relationship Id="rId14" Type="http://schemas.openxmlformats.org/officeDocument/2006/relationships/tags" Target="../tags/tag19.xml"/><Relationship Id="rId22" Type="http://schemas.openxmlformats.org/officeDocument/2006/relationships/tags" Target="../tags/tag27.xml"/><Relationship Id="rId27" Type="http://schemas.openxmlformats.org/officeDocument/2006/relationships/tags" Target="../tags/tag32.xml"/><Relationship Id="rId30" Type="http://schemas.openxmlformats.org/officeDocument/2006/relationships/tags" Target="../tags/tag35.xml"/><Relationship Id="rId35" Type="http://schemas.openxmlformats.org/officeDocument/2006/relationships/tags" Target="../tags/tag40.xml"/><Relationship Id="rId43" Type="http://schemas.openxmlformats.org/officeDocument/2006/relationships/image" Target="../media/image9.png"/><Relationship Id="rId48" Type="http://schemas.openxmlformats.org/officeDocument/2006/relationships/image" Target="../media/image14.png"/><Relationship Id="rId56" Type="http://schemas.openxmlformats.org/officeDocument/2006/relationships/image" Target="../media/image22.svg"/><Relationship Id="rId64" Type="http://schemas.openxmlformats.org/officeDocument/2006/relationships/image" Target="../media/image30.svg"/><Relationship Id="rId8" Type="http://schemas.openxmlformats.org/officeDocument/2006/relationships/tags" Target="../tags/tag13.xml"/><Relationship Id="rId51" Type="http://schemas.openxmlformats.org/officeDocument/2006/relationships/image" Target="../media/image17.png"/><Relationship Id="rId3" Type="http://schemas.openxmlformats.org/officeDocument/2006/relationships/tags" Target="../tags/tag8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33" Type="http://schemas.openxmlformats.org/officeDocument/2006/relationships/tags" Target="../tags/tag38.xml"/><Relationship Id="rId38" Type="http://schemas.openxmlformats.org/officeDocument/2006/relationships/slideLayout" Target="../slideLayouts/slideLayout2.xml"/><Relationship Id="rId46" Type="http://schemas.openxmlformats.org/officeDocument/2006/relationships/image" Target="../media/image12.jpeg"/><Relationship Id="rId59" Type="http://schemas.openxmlformats.org/officeDocument/2006/relationships/image" Target="../media/image25.png"/><Relationship Id="rId20" Type="http://schemas.openxmlformats.org/officeDocument/2006/relationships/tags" Target="../tags/tag25.xml"/><Relationship Id="rId41" Type="http://schemas.openxmlformats.org/officeDocument/2006/relationships/image" Target="../media/image7.png"/><Relationship Id="rId54" Type="http://schemas.openxmlformats.org/officeDocument/2006/relationships/image" Target="../media/image20.jpeg"/><Relationship Id="rId62" Type="http://schemas.openxmlformats.org/officeDocument/2006/relationships/image" Target="../media/image28.sv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tags" Target="../tags/tag33.xml"/><Relationship Id="rId36" Type="http://schemas.openxmlformats.org/officeDocument/2006/relationships/tags" Target="../tags/tag41.xml"/><Relationship Id="rId49" Type="http://schemas.openxmlformats.org/officeDocument/2006/relationships/image" Target="../media/image15.jpeg"/><Relationship Id="rId57" Type="http://schemas.openxmlformats.org/officeDocument/2006/relationships/image" Target="../media/image23.png"/><Relationship Id="rId10" Type="http://schemas.openxmlformats.org/officeDocument/2006/relationships/tags" Target="../tags/tag15.xml"/><Relationship Id="rId31" Type="http://schemas.openxmlformats.org/officeDocument/2006/relationships/tags" Target="../tags/tag36.xml"/><Relationship Id="rId44" Type="http://schemas.openxmlformats.org/officeDocument/2006/relationships/image" Target="../media/image10.svg"/><Relationship Id="rId52" Type="http://schemas.openxmlformats.org/officeDocument/2006/relationships/image" Target="../media/image18.png"/><Relationship Id="rId60" Type="http://schemas.openxmlformats.org/officeDocument/2006/relationships/image" Target="../media/image26.svg"/><Relationship Id="rId65" Type="http://schemas.openxmlformats.org/officeDocument/2006/relationships/image" Target="../media/image31.png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39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image" Target="../media/image34.emf"/><Relationship Id="rId18" Type="http://schemas.openxmlformats.org/officeDocument/2006/relationships/image" Target="../media/image35.jpeg"/><Relationship Id="rId3" Type="http://schemas.openxmlformats.org/officeDocument/2006/relationships/tags" Target="../tags/tag45.xml"/><Relationship Id="rId21" Type="http://schemas.openxmlformats.org/officeDocument/2006/relationships/image" Target="../media/image19.png"/><Relationship Id="rId7" Type="http://schemas.openxmlformats.org/officeDocument/2006/relationships/tags" Target="../tags/tag49.xml"/><Relationship Id="rId12" Type="http://schemas.openxmlformats.org/officeDocument/2006/relationships/image" Target="../media/image33.emf"/><Relationship Id="rId17" Type="http://schemas.openxmlformats.org/officeDocument/2006/relationships/image" Target="../media/image17.png"/><Relationship Id="rId2" Type="http://schemas.openxmlformats.org/officeDocument/2006/relationships/tags" Target="../tags/tag44.xml"/><Relationship Id="rId16" Type="http://schemas.openxmlformats.org/officeDocument/2006/relationships/image" Target="../media/image14.png"/><Relationship Id="rId20" Type="http://schemas.openxmlformats.org/officeDocument/2006/relationships/image" Target="../media/image18.png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47.xml"/><Relationship Id="rId15" Type="http://schemas.openxmlformats.org/officeDocument/2006/relationships/image" Target="../media/image13.jpeg"/><Relationship Id="rId23" Type="http://schemas.openxmlformats.org/officeDocument/2006/relationships/image" Target="../media/image15.jpeg"/><Relationship Id="rId10" Type="http://schemas.openxmlformats.org/officeDocument/2006/relationships/slideLayout" Target="../slideLayouts/slideLayout2.xml"/><Relationship Id="rId19" Type="http://schemas.openxmlformats.org/officeDocument/2006/relationships/image" Target="../media/image16.png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image" Target="../media/image11.png"/><Relationship Id="rId22" Type="http://schemas.openxmlformats.org/officeDocument/2006/relationships/image" Target="../media/image3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13" Type="http://schemas.openxmlformats.org/officeDocument/2006/relationships/image" Target="../media/image15.jpeg"/><Relationship Id="rId3" Type="http://schemas.openxmlformats.org/officeDocument/2006/relationships/tags" Target="../tags/tag54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" Type="http://schemas.openxmlformats.org/officeDocument/2006/relationships/tags" Target="../tags/tag53.xml"/><Relationship Id="rId16" Type="http://schemas.openxmlformats.org/officeDocument/2006/relationships/image" Target="../media/image18.png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image" Target="../media/image13.jpeg"/><Relationship Id="rId5" Type="http://schemas.openxmlformats.org/officeDocument/2006/relationships/tags" Target="../tags/tag56.xml"/><Relationship Id="rId15" Type="http://schemas.openxmlformats.org/officeDocument/2006/relationships/image" Target="../media/image17.png"/><Relationship Id="rId10" Type="http://schemas.openxmlformats.org/officeDocument/2006/relationships/image" Target="../media/image11.png"/><Relationship Id="rId4" Type="http://schemas.openxmlformats.org/officeDocument/2006/relationships/tags" Target="../tags/tag55.xml"/><Relationship Id="rId9" Type="http://schemas.openxmlformats.org/officeDocument/2006/relationships/image" Target="../media/image37.emf"/><Relationship Id="rId1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13" Type="http://schemas.openxmlformats.org/officeDocument/2006/relationships/image" Target="../media/image15.jpeg"/><Relationship Id="rId3" Type="http://schemas.openxmlformats.org/officeDocument/2006/relationships/tags" Target="../tags/tag60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4.png"/><Relationship Id="rId2" Type="http://schemas.openxmlformats.org/officeDocument/2006/relationships/tags" Target="../tags/tag59.xml"/><Relationship Id="rId16" Type="http://schemas.openxmlformats.org/officeDocument/2006/relationships/image" Target="../media/image19.png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image" Target="../media/image13.jpeg"/><Relationship Id="rId5" Type="http://schemas.openxmlformats.org/officeDocument/2006/relationships/tags" Target="../tags/tag62.xml"/><Relationship Id="rId15" Type="http://schemas.openxmlformats.org/officeDocument/2006/relationships/image" Target="../media/image18.png"/><Relationship Id="rId10" Type="http://schemas.openxmlformats.org/officeDocument/2006/relationships/image" Target="../media/image11.png"/><Relationship Id="rId4" Type="http://schemas.openxmlformats.org/officeDocument/2006/relationships/tags" Target="../tags/tag61.xml"/><Relationship Id="rId9" Type="http://schemas.openxmlformats.org/officeDocument/2006/relationships/image" Target="../media/image38.emf"/><Relationship Id="rId1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13" Type="http://schemas.openxmlformats.org/officeDocument/2006/relationships/image" Target="../media/image43.png"/><Relationship Id="rId3" Type="http://schemas.openxmlformats.org/officeDocument/2006/relationships/tags" Target="../tags/tag66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42.png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image" Target="../media/image41.png"/><Relationship Id="rId5" Type="http://schemas.openxmlformats.org/officeDocument/2006/relationships/tags" Target="../tags/tag68.xml"/><Relationship Id="rId15" Type="http://schemas.openxmlformats.org/officeDocument/2006/relationships/image" Target="../media/image45.jpeg"/><Relationship Id="rId10" Type="http://schemas.openxmlformats.org/officeDocument/2006/relationships/image" Target="../media/image40.png"/><Relationship Id="rId4" Type="http://schemas.openxmlformats.org/officeDocument/2006/relationships/tags" Target="../tags/tag67.xml"/><Relationship Id="rId9" Type="http://schemas.openxmlformats.org/officeDocument/2006/relationships/image" Target="../media/image39.emf"/><Relationship Id="rId14" Type="http://schemas.openxmlformats.org/officeDocument/2006/relationships/image" Target="../media/image4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tags" Target="../tags/tag72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5" Type="http://schemas.openxmlformats.org/officeDocument/2006/relationships/tags" Target="../tags/tag74.xml"/><Relationship Id="rId10" Type="http://schemas.openxmlformats.org/officeDocument/2006/relationships/image" Target="../media/image47.png"/><Relationship Id="rId4" Type="http://schemas.openxmlformats.org/officeDocument/2006/relationships/tags" Target="../tags/tag73.xml"/><Relationship Id="rId9" Type="http://schemas.openxmlformats.org/officeDocument/2006/relationships/image" Target="../media/image4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DD0EC7F-529A-2890-1775-B9DAC3AB6E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2290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84" imgH="486" progId="TCLayout.ActiveDocument.1">
                  <p:embed/>
                </p:oleObj>
              </mc:Choice>
              <mc:Fallback>
                <p:oleObj name="think-cell Slide" r:id="rId5" imgW="484" imgH="4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6" name="btfpColumnIndicatorGroup2">
            <a:extLst>
              <a:ext uri="{FF2B5EF4-FFF2-40B4-BE49-F238E27FC236}">
                <a16:creationId xmlns:a16="http://schemas.microsoft.com/office/drawing/2014/main" id="{6737429C-6A80-42DD-A9C5-605DAAC7BBCB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8" name="btfpColumnGapBlocker907226">
              <a:extLst>
                <a:ext uri="{FF2B5EF4-FFF2-40B4-BE49-F238E27FC236}">
                  <a16:creationId xmlns:a16="http://schemas.microsoft.com/office/drawing/2014/main" id="{86365CDB-AF92-4FB0-AC20-2E7EC5D4445C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6" name="btfpColumnGapBlocker625519">
              <a:extLst>
                <a:ext uri="{FF2B5EF4-FFF2-40B4-BE49-F238E27FC236}">
                  <a16:creationId xmlns:a16="http://schemas.microsoft.com/office/drawing/2014/main" id="{64B596F3-43E7-4357-9232-FD3A9F2D37EE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btfpColumnIndicator628445">
              <a:extLst>
                <a:ext uri="{FF2B5EF4-FFF2-40B4-BE49-F238E27FC236}">
                  <a16:creationId xmlns:a16="http://schemas.microsoft.com/office/drawing/2014/main" id="{58292CE5-FBBF-46E7-99AC-169E87D22A77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165372">
              <a:extLst>
                <a:ext uri="{FF2B5EF4-FFF2-40B4-BE49-F238E27FC236}">
                  <a16:creationId xmlns:a16="http://schemas.microsoft.com/office/drawing/2014/main" id="{EFBE867E-DA49-4571-9FC7-9D81D316390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btfpColumnIndicatorGroup1">
            <a:extLst>
              <a:ext uri="{FF2B5EF4-FFF2-40B4-BE49-F238E27FC236}">
                <a16:creationId xmlns:a16="http://schemas.microsoft.com/office/drawing/2014/main" id="{8708164D-489D-4299-BEF3-C0994B2DBBE5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7" name="btfpColumnGapBlocker413041">
              <a:extLst>
                <a:ext uri="{FF2B5EF4-FFF2-40B4-BE49-F238E27FC236}">
                  <a16:creationId xmlns:a16="http://schemas.microsoft.com/office/drawing/2014/main" id="{D9F784DE-D744-43D5-A6ED-8B32EA346E7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5" name="btfpColumnGapBlocker360682">
              <a:extLst>
                <a:ext uri="{FF2B5EF4-FFF2-40B4-BE49-F238E27FC236}">
                  <a16:creationId xmlns:a16="http://schemas.microsoft.com/office/drawing/2014/main" id="{570CD6EE-EDD2-41A9-BBF8-DD90FC18BB0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3" name="btfpColumnIndicator540776">
              <a:extLst>
                <a:ext uri="{FF2B5EF4-FFF2-40B4-BE49-F238E27FC236}">
                  <a16:creationId xmlns:a16="http://schemas.microsoft.com/office/drawing/2014/main" id="{DCF19698-6A1A-45BC-A6FD-2AD7454E1F6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577492">
              <a:extLst>
                <a:ext uri="{FF2B5EF4-FFF2-40B4-BE49-F238E27FC236}">
                  <a16:creationId xmlns:a16="http://schemas.microsoft.com/office/drawing/2014/main" id="{7FC36FA1-2E48-44D0-AD32-CD95CBB2D02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Subtitle 3">
            <a:extLst>
              <a:ext uri="{FF2B5EF4-FFF2-40B4-BE49-F238E27FC236}">
                <a16:creationId xmlns:a16="http://schemas.microsoft.com/office/drawing/2014/main" id="{55B54901-05F0-4F8A-960B-F7DA1F3B54E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ay 2025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D7D053-33B8-42F5-A1D9-DB27B4FBC2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BCN PEG | Job Postings and Compensation analysis</a:t>
            </a:r>
          </a:p>
        </p:txBody>
      </p:sp>
      <p:pic>
        <p:nvPicPr>
          <p:cNvPr id="6" name="btfpPhotoGeneric378912">
            <a:extLst>
              <a:ext uri="{FF2B5EF4-FFF2-40B4-BE49-F238E27FC236}">
                <a16:creationId xmlns:a16="http://schemas.microsoft.com/office/drawing/2014/main" id="{980B812D-9F52-4FF3-9730-D388769EB08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586" t="24423" r="13938" b="51090"/>
          <a:stretch/>
        </p:blipFill>
        <p:spPr>
          <a:xfrm>
            <a:off x="8624595" y="3220135"/>
            <a:ext cx="3232474" cy="1469358"/>
          </a:xfrm>
          <a:prstGeom prst="rect">
            <a:avLst/>
          </a:prstGeom>
        </p:spPr>
      </p:pic>
      <p:sp>
        <p:nvSpPr>
          <p:cNvPr id="18" name="AutoShape 16">
            <a:extLst>
              <a:ext uri="{FF2B5EF4-FFF2-40B4-BE49-F238E27FC236}">
                <a16:creationId xmlns:a16="http://schemas.microsoft.com/office/drawing/2014/main" id="{3FCACF1B-91E4-431B-A1A2-99BC5D3DA9F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79932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kkRwkDcp+/igEYEdfT5g1iHzqw9xWxC6/XrxaTpFcf+LPDbhIpU0rd1jP5XauCtGSeZEpYDYel10iZFCvTOvAg4bN+K8WqQBDtilZI0DKSXguWnwGN+0+pDV5WhM1CVprs+XuZ6iPreudxzCewNNHgnKHG1cicPOEkGMqZI2W5geExxMeQYrsHAVEZ81eAncDa4IHuRWzxQt/YsfmxxWqDKx+ipcNWVDLymQJuxbcSEeADcX62cvb+S8BuhjMRjZooAEQS/U0tNmwHJXIBq6mMU1RPxxq71CT3yH29043a5FFK2Ha3hzBW/iDVQ5kONzdRUwddLNt5gMgyNJOdxc62m2nKDo6BbEKpZpebi/ddT4pPnGpMao6yDLbv3vJOyMxIyFNJREbYXEYKiH3wz4U6CqTaTYpyzLlTcjiwj4tk6FcWB+z4dd9g7lc4Ua9Xgj+qwyxr6+Ujx4g9zKTof2FtUWW4moxvQMVpB8RViCv3WlbtOMzfHNl7eAfFnzfD1JJVyJlHcJcpMNVLFzKSAEAU5XDiS1q9eYm25JFPLKXZ+M1FQkqLxy+eEo/NjB4AjsxTjQqFL0Qfj3JcT8KnLQBYRqz+tyS9RG6gpDC3un4tJiYZL1IWM9IXkNUGpRy1uBv9+scxb2AQDM4oXyl14fXtlCaLR7k7iQoQLzqVSckTC03Cp+1sLnJ/W1fHZP9JMSPzJU+HpHLFOXHaH+inmRw4LutlWmNFdfz20QCXp1viQxIEwbspIZaE8I2rKQgc0kPiI+dxz9Ny62mejA8u17lrrnuAHGvGzV4M3lhblfg+ctLoC95On0FaRwYyBcx22LCF7bsdPav6m6EbC/lAvvZeOUpcwFkTf1tFTKxUudd7KwsvloQl5yVLecksOHWhLFu2OR8TLIFS9AgDjR514J7VMWLlHVxF98Zfgx5KkOUbus2my3x8YWhZ33NceuXSecdKx1X62PDr8Frlb3nTwLMDB7sPOcgEqoN3TtNJ5TOxgCRNrtVClJZkTEKNmec+E2dAmBKdvFbCE/uYbsfKuWUYTx5OE7nRnzLiTmHLaXz7vZCJhj2kRW8+/6/uEVY+ScjvhtY0L+bzWmbiQlYaWhkY617gGpfiO9ZRn6uvVb+yl3R7s/Ch/BEvuLOE+kZdeFYd9Ree5zMdw2IAMDy2u1OdeQyDux7hl0tCgw9bH48LC4A18IEd3sC893O0w7iypfnq546EFCx4ma8WD6uKxkb6vj4lfQ6V1CJBGYnrZqD1dJF8j2rhmKEGH/JaBg8xya44JFgaoyMk3fH0nC0IZWYAsmL6J61emzO7X93Hpn3HbmHwl5EShkkf9vDiHVfaxod/zogifyqrcBkTAFge/tNIRLJ9AIUd47B/qLPzI6Dq3QR3XFy2xsBoGwe6rPLp3RFr01b2CbrwVnJEfUoMSXW7xyoXEXl5SGdo19fi+feu0yica4+Bd/6XM8tAceWyU3KWH9DVMoEC/ZskGvYw05my0XdmwnOmqr99YUVgYP1JuJQeQXdCOjLSMR4YT0HMpyVVKuFXpNx2IbhR2YWDFA+nd0FRGIClqberjVQM5NFsuI2N8E4+96NfipNXv+2/U06U/huApu/tQVxRqnSaHIle7mLNvxGFyRhk71haxdnPx4B5ZzD5SB4weszFKnLZa3Aq6KPoIeXe6mMTUDSkGGK2CRFOfsKHV6os+sf1tO8qWuFisR+p1uW+9kbAZ7hSxkiCxRkbENB4it7aysi0WUjfbzKkD1nAIkJKucESzK16Z2kZxm8fRE5ka5X/z/X90Ylt/IXE8N8n0euwWm/Qr1cP1EnmBfJOcd3//jwVzvjfa2hv/e1DrhNGUZGtH+B+txQbDj1hZ8asjedXUfNKn1mVuw9fFnFu9M6NCboC2JVnmc3xSVzgrd6w2FgnEwWZGyWM0p3E6MwKTzBfvKTLK3tB4EMBriqXxMV9Gh1jhPFjjXu3UJ4AY6GQFHYLsZ4NJbq5PsoDBIqZN3E9c6HUzFf8aRXqzwZLNkp7U6d4LLvzTEpSGfDJCETiwdCYkvkCdItaRPkWogJu8J4CRMAyPrEd9Ex50xsuIIlG/Z/fbHVxJBcHg9YtN9Qlc07mkZKmgbl97VnTendeFm8KrleWEFVjY4mrlRvMsXwyCVgbIaUmUGCFAyEmml5GQsI2QzWcYTZyFR8JZJXuZtfn20pPfBR0i92RMuWIltGdptOkNGJCoh989odRa/heGn1Uw/TFdwidSkorNqtao61uBOHJYXYjdNWIlPkKTuzYMpECWJqnc9bcR6DcOVYrV52W/ojtTWvvUwsfHZW49af4UIvv1lrcSAkd9wX7T1capENkFfYd9yw5cEC4MtAFIykmwXTTKnaUggG9RB4UPAVmchpdsdf3w7EugtqaT1rXN30nxl7hHzLFU7m/919R3R70e4NHHw0eeTtyi2+oiGck8puC4peSSwNsOGCqO/XL+J2HUKj81M9APStG0L/VyChSoG6vTIMwdDPdh5aBmNNk2mtFmorY2GBCi2MYF9omzVHdKmSmDRgSpnu896i7nJ3Axr8Sik00uBm8JQSbBmhu7d2OcHVFV3fbT8ise7RYit0JXnAbWXl9CsGRijxoQwfbCQWa2N0KxSJh0oEUHMO47ujXeNS69tmR5i7JcaqgbK75qwM3yAIT+55mpFiIyEEH/F2BQiRnmjSpmiQxY0QQ/BioKe6ErUeyV3VV5m5d7KW0q0gkTZKugxlFQ80jgZDhMR2+yZcKeOVygsNltSz68DA9S2OC66go8wwgP6AMoJLdnY5Ohl7YUkHz4SQ+SQI8y4geZHH42fUCHSMungwpqvAAQsy3DuhwOFs8e2gO0HoJjf7V3cK3gHYVpMtYCnXD7VPrHd9RIHAdKXVbDzzYZzT1v6lnbRhCJtZFEknoT+RzW07RvaHykpHyeX/LViFVo0Ga7LkuUe4Hjy8u5HSaaNR/1aVpyo9RXvvjhQ0SPPe5JPinE2ASh2pXQHq6doSAC50EfmGdJQq9ccj6K9zqag+qglcI5t2TkX2XLtr8brG29UtUrrhxoSR9wG4j2GcR6EroDchBxDnB79Z0jLaH2RHeq0KQNA10g8/jk8VG/t+d4tfQKqCGNNTjJxuXIl1EiHwieT5Wz46PvmlYc6QAbG80A7zFX2MXVfqbwah2ny9U9L5HR+7a1ZeSAuQHQ0UJK7UYpGU2vAQiydFrvNuKz7sZm3+XYiGZDRQD6tMtGOmLi9Y9vuDBEE0v9/ndBo3+TawsGkBfjCGAyTvhtkaLjblQ/qnWIpqwRuHg4I/w2EcAqB1f3rQpbCoKEyK8uVC+VEfZdA1aV5bt/PpieZGbbDlRMHbFwis700rB1twCj/x19/sv5G1CLRxh1UEx/F/vBP+Wx5g8xFQ69mgxE1KSuSQbrLSJ3Qjkmcv3AV2WeUBEUVeUCmHrSvTvBFRxJD4uf3VQNi63KpoJ4oVM+layzwADx2VT2tNUYLBTE6V676G9J3PAKgyfbHzpMQyV/Kh+hEx/M90lodtnFmcrzgtQruGHyy4xC3eIjNONhyvCrTcKyOQ11cyx0hn6bI6eACu5alfacZJb7wnSs66YxYsF86XFvFJVgZHcW1LJA9Qye3X8IVK/rk8WuNgcb9wsR0dXJALoeFQ0+3pOXuPw36aWouas//xEsSaWFWUo+/b/JPCidDIss4yX3GXsOXSlnSEmu/I0uEeZxNpKQLtqEuiiVRKDKvcb6KvkdB+KfkU+xogfyO+ZDBcGGzqqLgBjd9W1Dh2ChaUe415A8mZx61GCqQQTYu8SD6avT76gyTYYBIxyr9ss/DySe0Kymujjf8c+R9/BMKY3itAeXMyew8BEPc1LYVFWCebFG2HnkIr1fieEWmaN5UofDIVD54ST2IXPem2NmYAiLdDcrEAwlkhmhvotdgw8m8He/c5ZBbSnLfyXjXc6MIw+Rgk2e1lAT6/R4PEqD9CvsHiez9i5hkbGN3+trj2KPOArzs8fuwB7H9DrO+C18bGeODxA59iXH7m8Lyoad8YwsRAv2l+iQpmfmunJU3QMwZkKWrdw5fRm6SAJpBpM0Pbpg+lsWPiOAhAnIrrWmt6fDfoG7JGH2TKWQKHm3BQcaDtQ2uclBaCjLfTUM/axtVoENkfpkq5SwU9HnbMOE8Ga2OXRJcmHV95pSTtfvgh2Et64EbRlLlPDA3C5r2P24EQ3Gi3kIEYLBKHIPsMjK7cp0XpE29D4iXSYLZhs61SpXYgs7hyXihQ3ukl5fqmI4SAxM/qnOiRZtnnlFdsPknSe2HrjpNkj4klccyuKPaOGFttCUNyEbpeneYq/e5HoxOsZDyfL4XHq5k8AzL2H4WSGWMOHeRwvNUGdkalxLdwb7SWemSsz8roMYvGFJm+hPI2hwk2BTj7DKPXJMTjljLIr2WrYrQG1bgd7qweQ1Nw2CegD9VqyJnj5f2WY3dkattmE1pDF2U/KUsLeb4jtKnik2uo57oJQUhc8e9Y8ZjEbmX//QyHfyMUcirpXBPVxKhB9YWC3JvsEhQiswuGs+s++5jCAZKF28ZP8Y14g1MOS317iWAGokvGlGLjnwZ0ou2WD/clNkbxV8ON9vKyExBsllBjCaSZjjXIOSLsOoKY0ILdOZtjq0GCDHVHTj2ocWPdDUGLEHjLcYukVwdnEIOlg6j8IXz21M4hjduLQJrLA2CvX68MdWJyUwJhTmAliQ0SiMuNjIVAkSsQr4GL7LycCQbXT6IeRkmlfOk82LHgdfVjtgl31jUvUbOhBwRWGJ1xgDqCAufVoPlxw5BsU+kSB8rIxdTBsKiRKUAXn0u5Rgv+vV/PAmIK9KV7XMKrn7QNz/PMv4C+8H/3pJSfIzETHwrjy/1ksIf3n64/hUJc6jCsB3DG03iXzTV9tmmGsXGo4J2l11MNvz3NvIibiSMph1TiWrATVeUB73h82Mf3W1EmY3pwDYwh7ObGIu1mdGg5zLFvffiMs/RE/NuceKy5fBxkG9c404+ORilfBeEZsR+4Zl+KS9KQ4UeltBmdldSlmDdREqFYyBh62froTytFFrRqzTXFEHXKNyVAcrZ+4q/onxSQzLJPjUp6WBzCtzgQhSbQSm16MtuJObz99+uH0s+m2b6rTp62D36GKcePUIIMI+o7xBusLqNI2k3xY80EvWE2/pW01TwIOVLEE6IP+EAetLGIkXarhuuEWXgwJUmXqDluAOA3qX+D5AOE8SaYCefuMKDsDNfhJKPYFl9VcRLoTkSrdkM/NxFODpnXLHb8pS2+f6QequIPwYolGejtY3yglYpoT+9J4BAfXzJj03XtZUxjJK4t5ai5QC9jAJHkvHkwV91mZZsgnzm6iGVxEWiUvFOrzkqjNonITblbkl2p+RmzJLKw5EsfBIccUNHmLggQZzavXZUJsLDtoxdUEGf1WtzWqo6q9DBHTpxMymfeCl08FQMiGc9Vt/q6QwzRplZUwlWD9QlqxEw4opD6dZZEg9IQRR4dWY48gLWGapeX8MMO3Z9ikkMS8I4W4nehfKPe1LMrybw1rZMRUnb28YHDj0E8OHVaD6c4p6Q4W3CvJ2J0su+ofCDxI8Ou7ykqC4gNjIBdlvHG3O4nSRpKMno3WGNNfXH2DSeTK3G66PElwLqpovpz8s+s6fXytfQSGx8+H0G8z6znEakQadLnrai95ZCFeruuI9aGI/uCWZxfUmxvPvRiqVwUhW0byB8c2RjBSI2qnK1afBnNgFc3w6RaaLiwLB3tY/YPcAyYWH6Joqcu5mS8gm7XIjRprZTnZx3c+ddphUS3Ih6UFdqJMknhrEQcsOXsyNx9nj/ampm/Ozis0Dz72NJzIFnL5UZl/0JB7rTs8Ga/prE9iHIdhXs1x106PiK2HZ3NTSOXU3z9nuQ/PbLRZB2F87+kJ2QfMNEGMVLI/rmfxgdn2f/qi7iBZ9hu2ZlwsRnfzTHbifm7ldpf2V/jlEhNm5wO5vOV0XVaOdbp+5y1WyWE9t/G2AZE1AEffj9hO3BgWVBPoPGFHa/B5LHe3YDxC+o6kKPH/zl8l/6ezE2JJHa9tcbGNn06lSvsXtUKmE6bS+BG5k6ejakQybt4Upewla/9u+NDk1HPNBo7k661Oa/dP8ke9UugvWKlY7BLizeiWAKjtKzhsU5ky21MZrEWcO4zpiz3OdB8DzDiwn6STLMEqY+aDuKpj8L0JitG2yp/sW91qx+zMDYuNpRBvM6qLGfcLe5sI8tssibXRnxpOruWr12BOVbLuf4Uu+fB2SY/Vmv51xVC7llpHpMXI4OFfxHMwUz3fb1Bsm/47bfk2WzWUlM5rIKG7pKJ3eJU4NcgFWBQyrNccmXzVq0iFg5kDduzCbJf7ixv++BRHzgCJrS8X2B91U7/6SKsZzI3Su/otYKBJR0lRqr2g1jz9Ai3IIv2jAaGWoH9wpCQPVkQpav6G4kwq/FFitHWXxQ+lDRaiMADef54jXeb/FwQ0+C1zAi1dLU1tCHQggFf1l46OIDuRxE8z7U0lC+fMdnFVStoQtJNTwErWFh6K6jWUqQHLp9NODyS7wkTaiNiRZinSEZrXBz6optUJTEYnVv6PN9kYSm9Z1F66+qSCzW2urWVFwcCNCTIupCP9tASufy84LQaco6V31bI3f7Wgew4uzJb3npWWlSWlPoe7+dzQLemS44iCegXH9OF9zxW9HgqKxnqAxfEvON6Fl4LWwX9+qZJRXZ2GWrxdWJpMlNK3WFtTpkckEYyy2l8v36L5Jpat1joUgc/1pADxN5tPQNSElLlofS0rTf7uyaxNq5flN9JFuWxlbCS4a3hRWFJK/OvIxKmyic8A0f/5ST2DkVwmN1iYNcNuQMQ36BPGOY340/9gQFOdq9jR/5zUz/lx5bFyax7V5MkmLtzZ7c1GbSY3Uu4Zr4mKqtoSa82mhCrlch0IH0W98jjWNA+qZvpiBRAXCWA/O1T+VhPg7oU3WoeiIbrK4CZRRvbWblvZztj6/QVsNgXLceMqVDhvO7d99YR3ZoN1PxehVLfitzCM6SGX56dCBC/0lwfgsO17NtWuw2gc9jD2edWt69W1CggKhcrgfTKn1+ewQOcByc0LVqm0j02u6VFt0NSDwHyIMIONotQ1GrfCT44B3mUyhIjEywi7awM6+yE9nClelxY2F0nzZK85VwdufffsoGkFCwB5T/SMQ0ghLKmC12qw0pMZk94qAP/4h/y7etEbXvu7HZDVi8JGW32FKZWKyRzhvqupkPAQL5MKsEdGTTZ/0ewRR2mm+sLFwpSh6/h+iVb0HvtmHO4jt8GKZfJLcBOf+z66YAVg0Q3Eb+ygTLTOeLeWNEluxBg5hOObtVdPET5f1P20xrSRpdVqwRa/aXG1p1jjUDJxQwUO5h9s6ZWJlWahFlqG/ANLQdAQRLIhoqkyTo9ss8QaFShCFstTYePignVYX5UaC33TFhDVIhxrPlFbyttfkF7IWRuOq4bEkZ9iz6mue53x+Y3pOSIOtswtEUnup9HBq4n4PcPla7S+rpudculeWAp1DJdSDJjf2RQSsmA0tH8fTBq3F/4Ktc1ffGJKsealU0QTVSGJAYNoICzpurteWYJUyTzUzPgGWtHnl8a5/15KGVm5EduIbLlNka8eM3Q1ncHsD6w25n4driagGaHlG2EbT/PVVOKveNvJJ7cVstagk3j0JXXWKthf+YEycLdaUwAbMqvA5251Nv4FoB6sQqZjxNcx5A8+eWrdi7nX4JM13Yj1sPv58MmqL69hPOoZT+7xJAuNH6yOqalVHvG8vINUwf54VjkmkgQLzohgTRk55rSLSFye0x2ht2PF+10pQ6TBe1bLS2iV8hPBNhmHljTdb6XXtYySzv8bvMnK2o7OBrMF3RLlOAzZVPu8XRvdOX4t8IiQIHcXnTrWGA6zwYzTCDEXoNXTk/mePYJvaSvpasZllBvews8yWOsYSQefZUdxptW+c0p9ulZYQCit1YAKpZ6ms256aXHtlYjDWTSEj3FCRgbjmQ9bKtCL+07nD4yayhFToifxySWAOliMHJ7kHB0+tA8XnxZC960xNvtl3AZ+rgmEenBaJ0kwTIexyV6BA5fGke2AFmnydAQkYmbZ4Dx0KpXfHYN1sn4P7+YmHFY00PweFr49PI6Xx1+A+Y3KbJyph22f4tZsNh7IifdmWB2W+5WrC5LkLPEsDQP5fhcOSoWaGoZgOsO9suqtQUeHH4VzrmqhV10uPY4+C3LtEMmAHs9qKnE6R9q1bibzOremoMDcUhnp0FQO7XzdPi9fwPvEBc88KO5+yK4lhUwUGmWHLeYFWTzncH8QMk45WhT79ybQP0kY+uwuG7G+nnePYkQnrgTpLLSrfbwCpacAfs1Bqny8n1A2OgsMoC9YDC7WFZvZjUOPeV3DfkZFLiO+of0FM7Z1DZZxI4RskC6WB3o+E+YPBsCtRy+Nj1hP2eZ4aSDD3VaUjL3HvLGl3cQxfWUJ980js5ZVejeESL242N787P8h5ovLXc4dz44aY45f2MRlwt5Jg6OP+ENvTVUz4sNtD3FSIECR+QnjTGJXMUAGfLFiWz+Z0oqX2MCOPArBUHQ7KghUek04eSDOycK9CicQ241yiaekfkp2pUgyrWiv5J2hpQYqfDXYcnnfW3l06NjheElQqFu8FKNRd2nl0gxePTknDl2HSusYhTzAr1EIkJUBiGRLy79J9BrZ8fnwJivq96ENJAqVXy4a2oDb3iG/ZQd8RvT3lbLVR+822eevWAAnHw0ZQq54uAnrIc8Ba3NVWjD/vKQT6tSapPyT+jQqFZi1hn6qLc20UcVUz0oaZzF0h1JA5qCE46hV+5xojPAy8CAGp/NqwSL7Rf9/wtOBP2/hoyJ61A5BHX0E5O8mkq5n0E8eNlPzB8X/ffp+OCce3xAYGON/BaRIVXKgHWfL5gQOPw/MUxvG32Nzubo+9vfd5q0cnSdNM/eF/UFDneaT8IrpXsxqYRIu7p3iOBvgDZNXmskBRiw5i90O8GaZ+aGkhmdH7cQt0mVTfB6KF5+2kEtZyR06w2fZF7yW9rOBw50OgTBgedA3pVZDRdAGTk8ZNptqcgGFsoSwQSdZXp/HzEenW3kvBbaPqBaO4+P/tVFCj1PIkh2priRYCxaaOg/Xi3KG9cgc3ock/rJukxUaKVCHHRQyqyHQzdb2vUZo+WkCcVKp+DPh77xn0tf4j5/Q7fKY3+o0T0zobjhgy04X59RM7tcfgmVALKh5vCucxfDu/y6VHzvAzUyWrxKpsugSeaV7KoMz2p8EQKJMXA0dVgap2Fdn0upGiP+m2BEpSLLJ0etuE8J2ariOFedG0n8uaRTLM6Z35P3C9nIXpybF6mpTf83BPTYVlSFOAUboWnU4FPvrrumIU7f+FuvTiZD37Y5SeA3hFrtJA8Ff5mNqvsMM7Q10PQlN1WcR9vMh9d9cNH2rgW4wU1fBzVM4xX/hoWUtLl0QZLWTWcox0L4Rfh2rJuAH6Bb6ZLPZpmhOrKPJhVc8J5itT3W6yBnjdUb2EKuzJHmTpsOjhvzmhAdNsiS186jXrk+lv4esoqldpb/LuzPb0tHplmw+Zsc4LAB/AnOtV/APR1Ve5tpmzRudZL6SfvPn0rZYHwj3M4kqXJULszuJZm2QiDlEMOljzIJP/XRp0RdRvQO2PC6E7J6vp25zfOinqh1DTTgOY+/TxSCir/W8gBurMpqo7tzsmnYtw7eCA7mmhDQZziEoK1H5hg+URyyHCur5qDwFxO7Wg0zPcfM3121jCTmR+0h5Gc9y430Q67rzmhMHiJT5QbKzQLzOBWW8p+dzIu1fLLwDbwxhaFOSwntppqogwe7cJ4wr2Sbqg7JTqkFLqTY6ToCQHttLfVXY+QQIQP3fxZjXwANrCCOnnFvDJ1yCUvuUJoCfzDmYmIsmD7pDghxgATSAsD0a+51lvJUZl+wuU6kivYt/BnpNQMOSac3UHjIj9Xd7r+/FlKnymaNLbIEyvXKiU1G2Ravmk7r+ulEFrN2WIDleGdBU1m/bFjEzz2Pd9ff8vo/QqSN8dV1R1N1z1tiaAZ7F0Piv/zMlT11+HU/0gMZa7NRzzLgiwH+4uKixL7nVztQuyFdP/InhEUNiZPljsQ+F+zJ7iypsGH0o8HD9L+rl8rLCXoZy5eo59QxWrd6ThpkSlv7L3GHWsmI9n/q41Fwrzptf2Vx98UpkXmvGgvT/vUawpeIt39oQPajG7AFGP15PYnRSbMvilokdNQE7fhPdRb8RZBVtnHcgp7HRtw4+r9RZ+srFCSCE9lG6CQ0BViJFbsSRm6flJdWcMzwJ5duk+UcPf6I3leZ2QIx5EX43RbhiAC8dF+hHIfSDn2mL8UuIaB4pUEnAd4ROKk8L2V0hwsUbmiONryLdW3jbttDIDcDoxCUVVJW9IisreSEbDDfb7cA80rRGJ64aDw3sbR6ekescxOJk/4EPIPip5CCkpE/VkE+Sl+iCKMDUQhr+oTvK0qQH79Brhi2nHo3pV0DJu0B0aH/r0fxYS+h/rJR3Wld2YUdNjIDk0/8B39+CLYxNVNtL6dwq4a60prYdA5ERxDAOS0QRXt4KxuQ05F1nk4aoMTVIz1lfoB3eExL/FnuSvwnQWDTpB09H8Kz8AO8EZs/ZX+qd8pc1aLoJK5Xy9byE2qXOcsLTk7woruB8U9EW+zAr1mTBSEkrG5To89QPz2M2dgg/nOwyKgF/TDzR8Gel++/veVbvkaD+h3TpaGfrcbFREGP+i4H0h6EcbjV0m5V8r43EGuZO9/M+w2GKF1GBf0/k73amf9lVdPUuPfCURZt+40mVAnT44Q8aQDOb26Lb4ZyZK1GFOxOZvqsVRttPwZAF6rj/VUZZr20xDDCsKTZ452wKI0lbpHhhsZcLF1kxTq6bZXBKc8Fhee/NsdmGkzmlpmiN2xxSa8k/STomArimN5277tD5gFGJ3Q///Ay3mxSTUORPZio4eprJZXhC7np+xUq8BzsM5D5V9C4nw50jh86QOQjtYJtsqCAf2h0u0PwgWvduGndk3FphAfQ79mFLrWlfoG6MBcOnGsR9abOcMbgl9JIa5K7ekM8SFb2aJO6l4awcHg9MhSI0cUYoXlE/eAngfAujlYud0Xt6GjeOz79YgTAeQrNUTdgWuBytDxBjkqilXcUohZidS1knKaGmB3TooCg/Bmyz7LliyZ/eAk5ffPIsfj4+h2G6XvCLCXvubRol3JMVQ6/74AV4BrXSGZhOjIDjUPAeD1XJMhu0Z96RUlJyxnHXGaVpf9VKGXWPdUWa+kCBYbQsJby6GeJw+gyEI6IJ0lDzFL6WqgiHcWb1n2GMvWNTzooWYZd+mPoAB8PUMS0jSiVV1hjpLNeX/TLLvso+8jxhfUKBNakqyX3RqysADzo4PadszdpUd+TFqSjNGqJZOmX34YmLFhbeUfxgJADmOkaFKJjqxOFTBQeg6TOGmOVE1QFyj0rkxeNACc7mERyj4dglG3ZYse0oBeFu4iLkQyjZrcPbv7W4iesgpT36jqakEh2XiNEqFJ2hebRh5jivzG9MhFK+t5strLzTCHjH3CD8sI8bR5pf4UKpM0UGMqLnrORlcRuEigJscTRVNE3UicIKdtZPcWeP7E2N8nr2/WW7r+pxierSx71z3R5AtSoh7Fyfcd5eE8B7DJjWF+AsXV+SKm66xtwLzS/16xjVJ8xrIVbzNaP6QtD1bOs6S+SX9k+rNY5ggCxcwJdeV7iSCdJS8PxHRQOo9xuEKpCHhoDJ9/Y8oJ5n0ihZCFsDCuJ6nia85EHMeohD/kWHVrtSVn/5N6UuzBVxVXol9hZ/QoBP8Dyqtr0F6lupuIG+tGiPuVodR3INBUQ7PhFZkPZil2bdmTzQpzGyxip/nAeCZpKhbFWJsjfZGVc9b80jaCIisSpB9M/oBkftFRHjCzkQ3VwRgW1VzRLW0dSii6IBf10fvOVtT0GlwGTPv9rWaIPKSHB5iJPwXOZdCxwu/mbQMYlc9BrSPpe2U7BxHsI1R4mBeGoRHIOy67LBZLL+dW1Iz3R43sI62Q3hdW33taTpg6Qvcr4Uf14WyS3YgUwx9yTSpuGachy5UCTVGbN30niV1k2q90zSYF/RUROHaZg4fFW2Nb1oQFZVe4NuU3ymYUJa/3xA9AwbAPIR6rKjQitE48CWuuEk5AzzbnvWYVNcbXh31yoZomUrDq8nuNvmMuP4Etd10bQ6/93u/svShseAy7n+11vaDnWCQT8rEbwd8VteIgEONmYC+pu28nOlWKghmczJ/D9feZ36DsxLX1q2ic+XA9mvbG6Gi7n0JuoQZEZivQp3LjajoYpwwhxV4Hvn4/vhvfnhMZJ0fahQjEKn1lKSSkT23YyKpCGrNOeLeH6YwxlmAiFmWuEo0MkWPzzlnMAfVM52Ngqxt8JMP+fb2hAW92PLkLFw8NraBFQ3g3p7R2qmqVI0Tfr4NMOlxrfomBHWJuS23VchAkyaRQAvdGZukep+FsYXE7NItnBJQGB/AypyopbOWsJx432Nn/RsgnMy/3oVJkEyaTkKLxN9LRKe8+LGQFX8IIqFXzfhHTCQkFAqOtgtJ8GZ1mRBGEt01vxy+KGwV8/l9T6VWP11KzHEBHV/AVdQhLUKmf9EW/FuqIQwvDociywRCFrOt91FCZ+BrrMxUvssRP3oGzYLGN2D98H1Hyup6+lugS4LwkSK7y7pAgpGUjolTwcQ2d8wiTW+w/Jh9QlWAeTGmFlBvBNzrjCUXlds8DtzcWNz7MKY3yhOrEhbLJsX7Qn1UHRuFoQ21T06vvVyTRX306GbI4fydExJoM61g2LdFgBFYxCiWlNf1v2GVIRtXLGnWlM+8PO/wuvGY4ezbkGqeZIQ0WkKMT8qsZ3pK8jHfjyOFL+G+ZpMiv01FvSKbd9C71BeWpNQvOkHV1pMxJ3Z7BFHoh9eQC3V8UIN29h6M7Ik+6lJxehx3TEMZy+5hcEE7Zb8hEVzsM2uyTp0h+wBoCOl0CUyakheixJBDkqcPV4A1dFGnorCDHKq0yG+FktiqT0Mq4x1rEty8n1Xv/xCf7PLONsCOaWqhPS3aBik0zlmSwIEhqJjAfOa2yeiBEJgGdJ+oZeekUED4ryHcC2jFiPYRiMJpTjNhIvj3ntKpD6d1LDLaZq7hu0YD3i6qM7JhLWm8hPZdCc677sr7xRc0RjzDZquXEmMx0IzUNf75f++VYQ4sHeqjjqBw4gmzQZe9CrHrM3754y1OM5K8w7lHiB43w1+urcNlojUxuBQv29pScO+FKx7qk/kVzvVIyKhxN9uHHFontzIaYvTj8esAbRoQPFJTkX0N/mj44MorRp5z2aYGgolbBbiVDACCKSWRnY55zz+UdzV1HJLVXr/T2mMHW7ih78AZ2XYFj3uVDOULY473oEATl/uxbslHLx22q3diqEHwbExbzesS6dJH1JLPvb3pek8cJHSXYR8bsWIuCnllB4byDtvrvG83ztnxjoElxg4b7uFfgKPoR79YsW0nvSqmpbVy00OyJlb6+YthniJmDYhuNty3H/Ts6Q0/3mXtk1FhhyrWAAJl8vTa2EPanWpN8jUVx6w0fW4pob0e9auFhRR0D9AZOGFvSA1oFdi6/Tu5LQRlQr05BKyv/bkm/gaN0tTf+Tnfi6rYRDYXcN5vAEDrQMzooNDy9FAZbbY4NzSlfZ6YD1Wz7XCHpoch6reDzyGY3LitqrRVbk5/w5WZxwpUo99VDgSu1XBgZIE6r7CRj21W7ImvFSEM2WrIO13RK4oJMjPtLmzeTF07167GuFyGZDXzuIWImV/k71+hsvSqd+HKGGEmtsewHTsh0XtOYFttbr4BC/crhQDsjGPL4BvgE5lHQ3oa2JrdHhL7HxruU+bcW4LTZc4JG8FU192J7+2DtXEq2Eva7WF9/la+9hOrTXJfpIp2HcZIC6tlDCOv//Ut68B3xODSoQNtlLCFhRw6V87vOX+955fvry4thcz7CdFxmrSfp4n2yJMZgLPmsfrjjjPrt+e0rTrCajvoT6x2W2/nTeIn+TPioEHMYwn9yVy5NVRCp9TwQbfsSP1SgSv9VGaf6/Tm4EIgfNS2S1olwZfBfRamrBS9riPnjZK/BNuuzkGNXSvm+/IvohxjBINwWLETxKDgIZPHUFvUU961J8lS51Aeldq1E1O0wgqnxN9/XS7k8lcqnZ5zosPBVHbUPboyNNfUEBEY6sofEuTxlrcHSjNdaKPIGFtXxBPiPKbxWD+EqN0paKY9Nc6KnmCLeQiGYP2qJY4oLdCk8iwfYsfqzYcQgdAvrW0blgzVo1Rd4pi8zwJVyvkTgaCj4okjq+5LUNev7Xp86YmSb1coyBJRhbBCZzppCfA1Wp7idvpA5evJ1jAdmvEPSTpJ83ECt8FYpOtwkSrNijXOX/Kikhx1UP70gisKJXFB+r2B06eFr3ukFIssEFMgddAurpa39xprUKoeu/XvYIaTQ6OZS8twf+YG83vFr9+5ymtzB6+91fh8HJt99CYx3l87SJVi9+1bmE0iUNPSj4y33mewMMvFbal6pKsQqu/ikkoREezjguyqamIEM7Yx9OaLO4phsxG9vgBgHQY84/Yi/AJD1CKQrCmGtRuPSpqTKBne3YYtO/hVpmULNp/dpOiTFXrCabKmnfTjEukpoEopdHpqixPIqXuCGprZUWmtbcU6eqcdaxvWEkFfwyDxDOXte64Gl8y5k8Nw0i65lwqP9GGFRt4uprB2V2koACCkGcdyhXs2BrenTtwDcUsuhiMDsSOQjQzEKsmS2yYKJto18niuLW55Lcvt38FPEGUUptUMv9i/IshXi3A0updTlVVou6fYnEivPQMMJclwjeyIZgo2RzgCGx90qTVqUOwgXlG3k25KhZbDcLpaqs6Ev8Tpif5/VykKsdmCr5UvbTHm/Sds7nWoT3xEOLuB6HtHHHJJ0ZLKudABsGrLKmC6PzbShhkufEAOiXhPTT5ajoMGeYDrcyP3KG3ECNce4DSeBys7Sw2TutfiJUr59v80u2vu3qutE8rjWOTUYiAHtNHz48VtNlVuURAbfooqcObXX+VQpkfpJ+5UHasmoxCSV6N01/VNjPDLdzx/Z9eVXdoQA/5havA5lj5JcvrJHU2Gmdkv3dFSpPXV2eOFjbU2KRMfd23JTx6OXNhBYgQdjnuuX+l/J117p6nRBo4JXwg7EOJvEvzkZQpgVXg3qHdxYLagF6nO9/oJvmNe9JJB6i6GZ+uAfwCsw5MOSC3G6gjFDdoC2UgF111vCsrS8B7ob32vVK8XC1iVTlK06Gjm5/7vBAhGdbp8dQB6CnD+CIT0Wawx8xWVYoJuF8J0TY8KOMh0cUs7opiICjRrsXWL21RhFpbFiiZgspkKitkJQQTPh1fvEWlr3jRY1s3VSaRbnx9dqt8BO+QhdFvw1uGj7OV4Sgpm8j+H/DtvjVrYBKTR3zJXRT7Eg7T5nxK6R1LN/eH+dNDgQZxg12beJYuHzD5U5YhbNN1q1i/w6PorHxeDBb3fzhpUwYICtWhSP8Aw74s3VwE5aapJyjcExnQSjOI4mFxZibq2NSySnlTaa9P2G1/+RlHgcUUsr70RdjQeIG86PIgO8zOmlQkUkOncn8LpIhrTieZtl1D9P6ntdM61MZHe83Ll7tefWb+/sxxjcL+cVpYkKF+Eb8LwBI4C7iqxIwEIgZ6LTL8Pu+5Ee+IxseTWn9DMdN8tSpfKjxFigEjXDXZdAL+Rb8+I4K8DkJ+FQnFBL7LPaRSLqYovAYXwCjJgZk57iX4CGPh+QKyBDMgSInDAqZXZgwQHVgC7BMmzeG/GYHHCjzs3qiczRUpUgxL3Dnn2L9Hwv/hL7v7Ox3xHlqh5gwNX2YE8w+BtqYJz8e5n4sGOUJxpozfH7C4DW+rFPJIox0uaUzJo1fqN5d7vpyT0WKtoi3nS1tMDv/odtzNF9VOF7h+u/Bhoop65pyXpyRideqgLLA9hs42DoXPgFoFwD0nTHunEgSOEPLJi+FK/36unIzKouhXY7xrpZcPcIqkaSfPbR1+ZNnMF8eLJsjPEu3CaQRIymXklKLiYWeQef3umIp5DLgeLDenfZ8GmMfp2CenZjyZReCxsHkk2j9frGKPEn1AbaU/YAi1a48qixQjDzaluGETylLTRPZghSnYGaCOC+2FIRAOc2xRYE39qTdId4EMsb/scQudUk//JqN6ieio+TRpR9InhTsodBe0wKiCAORpvjo5x1+Ow6E0iNePwm7wty2UwZ/0A58Cg5lPyUvj5vrtA8tfevJaHcvo6IMob1Gk4swdBSuQDO80kVNBul0g87eJbaUx2UdCYHyFC2AlgyGQzULfbOjeaoCzxtkyUeRUMmonpIhu0Rme9wi5DQyRdbaZAeeH+fqSZIIFci9xURYZET0QLjTsaricnJVC0sy2Tv0bZeOv2beibyJ9DHtpmsryVsYWgV7qVKEgTYilG2PMTIsPYK36mJBZZLSOKO+YrB/lbaeWFoOehbXvIV4UJ5YYwbpLPZyByLGP9iPZFTUBi7p39posv6ePEEeU61cNGNci6hVcD4UXa62MrRluxzYaBZL+NJsW26p5Uua15HHOxdqEUqi2wSc6VjQNC2uSvy7BtSIdRXBdN3TVdl5K18MJhe2avV0jodjzQpbWRQE8yigzhfRn78VAcj6dyuR6Tk1dzIGHUtqbfkk/XNyDy2ue5jSG6vLeUPopxk9yzJz3FMmVUZJhgZvfnk5ofFlJlA2H9K+D7aWtr7Yq4T5cCycPRvluYfXSSYvmI4QZW1Ba6mD/E2ptEsFqBkIa/cyOsCav9R+/M86qBpgRrskKW7KXONm7SNRTDc9u5n2woHmZMfrhptCm6eVQDrxkUgSxQfKoh6D1iQjub5H7Ag2EemMvnTcKxZPZL2vjqyWEo0j2o2b3L23ygvwBJEBL/d2cAEa+f4Xc37JhPh13jLIeIXp9qWY4gvaof5qaWFcFSZJhqCEmZMjN8HjPUs40LoUMT99k9ZLABOzjeOmtQU8+jbAOf9h9d+h+JP1dPxiHO5Mbkjc577sNbbVyuvje6WVHFUz3Ivx2hjh9zQQKQp7a/cFiI+EqlfjAfIzqUp+9ZwQqj7QqEf58Okr5yi0H+Lg2dXRGHGkQGYuie/j2lkR+m+/y5qnoDN9yYnzanl1KncRCJVQEoZ40hGE0xzZcmr6HPjuGZr8cCevO5S9M4/qw2DK81ilnikDncrzFdkfFVfbLZ87gfDN4d87Mh3kAT0xwP2qivAdsOlXNIk00v8tg5f/0HjvEvfGuTwB8CN/RqqALZaFIZgiSpEArB+XjCox0zp+epniKlzFZSr1bp6j45eOmF6ssyuyVj9yZrw7Z9+YWay3Vb2fA9KCmRaH5Z7ImEXknc8XOz1WYq1pL4gjgcCRRc0J/KuvR5E7IzV8d1QKqprbDG6WEDFqjat7dp4Vq0NgNjfA1rFboN6esdQYQS0s2CYolhO71BfmhqNFwwXj+1O6o9pHUpJXFJqVeBtPRjUchiN07BQf3j9+W4Sjs/uWtGL1MSaqLXzEV38vG0Qg4uUfwF326IKsYc6zz7bzf3H6G+PJmnQPPmFovjix+zQYCu5JZieotGF2v2ToLXVRPxbsaypMjTG48iQsFgM9zvSVFTXdVXvw4TnT9KHe8Prxq5wZKCKiF49QQhzHqe/WoHppYU9RqpJ2/WsHS6IXkCpiaqEx5IzINw/g7VcWFzpoE2gRKFy95SNkvJyGUSB+MvHzSiBCh8dNElFr6Hl0kWpDODMmCWpAb6EugsMCL0tXE00No95/qD4w3U7aff2Tlt0SKLNByQgPfPF3xOA820jA7DoBxeao10sfv6w9UhdLdx0/vTC/rYRFxVGZDPb9HJUjsMO+xL0MiT306tL5JcOBCZppDEXFCqkOHCdZx7WK4Dkosfq5O0ttKplxREpkoYv03Aig0Xc8LxOWi8orhsBrQvqs759goQyA09TmNzatspCRVvIpes5NlxupYBL9pdpSlnPKkuDLd2VcJm5SvXdYMZHbeoH0q2XIs2c1Fl+AFwf4xXXGBLfsgb10sAHAMA38YggKsP+12OrAyS1gagHp4uVs5vpjV3vmQnsOrRWUrzG6GL+sozN6ec7TNZ3auAPZftveTweSt9UisGO4EwP55PSURtlO1M97SNEI8NBoYGrJYFMWQMRwGzy+rbVcvj6jhTvh1bKN56pfvV1ZjiKUu6lLDjAWz9F/JrPiyCzI94Jjv015xERbprP0vhhG/CAymv2Wue62kZN2dlmUZstiG0COwgySH5RFkgpZcSFfuBKAkZwQOWJeHlnHDuXhtjRT4mwjIAGw5pROTOzy/vgLVUY3QAB2r+kF6UDNIsdcPtKPEMFRSXVzzTfAdGtTK6Nw0ydVVRYaVzGU6WOyKaqnK5Khlgc/N7uHgUrS9PlWANTa/rNbLTC35CqVuAqfHXuT6kxP0OT9MYqkBKTklPiOLbJHZLquag9mI2h/YhyGevNaj+Dn3hHv7Abu4sLkit9zCJD9YTEmS6kL3Ue5PU6asDBGO7ZHmWbKtJ/x4Jl3H9FZb0XX+tkusdtmZxi0avyH/tAhheJ0etdC0R/kQ2jBq0r1YDOW1XfsPF7AUZS+ttpuxQ/VS8FXB9gTe5HwEWYYPhVxzoaCLu26sxuEwEZ+tbVM+J1chD+i9KPhFmc6Oc2VSOPfcnIAEG51kOjnqz1DZBU4X3mB5nSOQmoiC5kwUJKlRrojyeY3ls06kKc9uVBVYrzvGSSb6DJyk9pp7E1RHTEkpYFhhcHHkQ/R57BMEsv9eO0FnEJE/dCjMBXNL6W6DihsSsPFMbg//Zo8g6rQGUCjzpufXgjxmy0ATo0TxHQkqdJdHs29LN3xAXaK6qPGwz2eYSP6hqyucU3dnF9Ew7JXwzn5u9z8gaXER0L3gpFWD3mK7I6sZnsHJq9z0xVBFEiKRRad7WK8+pJSBxddl+UAAF45O4Ui/MvuSR92WvHwt0Zomad/KsBjWu4Cr48AmYvJjN5Iol2z2woWVLUwboBiJSA6s0YE3hgjT5e5fuXlF3ITOUbRpkh5SA2Xo3YP7F7q3xzNTclz/AkFoKnoa9vsYaOcBQiBCsBGcNmevqnVeih9MgLKk90RNt7aAiNMbPJYHMXL+FjQInD7S2d7uCTKAjBHepBQS9ctm7OFn//vo8T098QT2YSoS+n3L/kG8DmY5nQUNPanPTS8Nsn6s8rHc3hds7UQZKjV8yEdYYsXlojs/+WrgLNwb+96O2Zxna2BUbgU4Ny+LB8wMCtmYntQDOvWcloy54xctR5Xv8U7aSzEOHsPKQhyJvtAV9nSxuCOPtQcpgFzY4xelUkYYUBFEt2/CE8RbSxFd+GE4eRyoKf/g3O0PbUGE6FabeGaZavLivWQQokwZO2NZ0EOfnjpqtzEIyxidcmekkwmXcks0hADn+qadTaH2RtgFkiZeCmPej3JUYfFanf6bue1jFUr5G+7aJErpD7dgcKFYeuzLskrORMva0Er6nDv0lQswW4/2v8sHtJySfSjKOFpvO6M6zpp8mjGgYOf6UqAEaaScGjLem6g/ezCmrCGp6H8tojdYGIEOSWj5e7RfCjX0oGz7RRL8iixlsKLd0enFNTIQajeIpKFJmYYfK21xUjEm/05z3JL9/mGOAMEYUvX3sus9+hD4zBp3caE7kQCsjEq2GOE3IP4RvDL282oPQWc1HbFYhjHvBcQAbnAbT24kli9bukONPmAJPeMTsD5dl6JptJxFG1lJdk0aPemFtrUCsD1snCadbVRNpFFbL/vRKf5wthPzWdbKQgRxzRz9YIIYdk0t26CIWpYcMXZOvB9IkGQ5sRnXxw8qNq1HL9lV6XVbHBlbj9NlhT5/jNz66eJsFrqdyyyqumejuMcE5LqfUrv1rvFyA+lDcapdKJi9nzu9jtX9Bt7JZ0tIQm/HM4Ou7yaUQIH+8N6qPPVC25TDZYF6VuMiPeybtw2G89diU/bT+EZSCnWHyndt5TwQwFTT373QdiIEAJPVWwCQXhJIM3D3/zlL4FejiCHoGlUhhTX96cleFG2zqGA2CaBqik3evrbM1R9aptGVm2+EV80VBmm3hZ0pjCbg6N4qtUIEwvb1vwk2xIoYhMtTmIpM0eLs30FZs9OdQlpMLYRB44K55ZNwXCZRnNAyjZ79WwnDWufG26tEpW/LA6WStlet0DyLnqYYFZClTAefEl05IkjyVlCwN0bAhXoKytRogKwKP2TAT4zbgct33XA+d0tabPH7xjvNObdiPvG/LeX+T6vH32pgR2CxtDIgDFrlYNGGE4NvQdNhV5kkF7i+XgMWq5zLLgspIAOV1LqHdd5y5jkXyFUWGcoB8bkbgCtkB1T7MbU5dXLU5x8wqCLK2iojWVqxy1dPThuhHSVwPIFwa1j0LmWr+CS38lbQMGsXKfvXpPDE7sW8K3GcpNzymJhjMcvOgJPtzWINJLIePKL0UVcduUxKyZfe5SSRHpZYwNj0GnwJFDW2yaeyNi49+XHnv1bTkSP/PBrKJ/IQTslSXcTK4XMO+uVuGpKthErIWYf9C3ZxDMezdmzy8tnCWZqDD93eWZ1C/5l3cfF1P0GzljmDmi/MfkFo6EhjYZ+pTsENmSOqJC+3o4A8DyV98Foe1wMwqUKYUfECiARglV5CaidRteEpmltTZdk5oUk17ZoLIodhnYbCsC4t0KTseuZRA3aaI+af6snErwzO5afTnh3rgo/SEQQ0OFtoToYTUZhw4+2TQje2YAVy74xw0/tR4khzwSXm2VnMp4viNbRGD170XN6QUETgL1yBqql/CMivRQxNVqoTOKHDo4TV0wg8B0mdPZ4APpABNN2SrBTokylrbG5UVGhf2C00HEoxjtXpHhL+MrIATrzGwXvSRGJ8cif4/19dk/FUwqhD0xV6pFDoB51Rq1yDy7WRhKfQKZQcQZ7ddTny8arIWqBPzVrHcrFcTI6fdZ0mAZSUWk9rnvPoGaPkE8+YJZp0rXLT+xDwnl1uT/ByknxGhXG52nr10Xg0DVVsdm0QuYksr0HtWE5948IrJKAifsygsOxaDmLRov96nBvJcLSomzQVNPbSLxmEJpPJHo7nraypj3hOADWRTo78wMc/vr+9trHigNOAL5akacMmQDc7d60+kMwKG+sMkAYqyavDdLkDjGy9ieLX73fkVb9b/KBbg4AK24/i8FVHfPO16Y9a9AVlj4sIiXvoVmJrWGIGwwjled4m5XEQe47Dvau7uXZ/5UkGbSJ68pbFfWEesAehgfKBi3Ao0hUMVrVXVg4G5QQgDAIg7kWijLN/llw/Oo5JOdPFrotqRISxUfBajpZ9xhh9FEKCXNRL00GOiJCDjkGQ7b6MwRew8saYB374WFgkKlKh6qi2w9kzZzFGD4UpA3Ru3ICAtgJtl23mQjh6hkstTe41pX8vT1JNZ9Zv5w+Bn4eOaiGHpvXRsvwrJ1eAwr4QleLmFm0dJpn27tus8fAj9EsOwrOU5enJI5/LXw2VR5X82umlUbDiFcaVBA1Rj4aTXPgDFvecdKXTID5kHHx2iKKcblwWp3LKjwtB+F6dr9ffYU01nA+Y3i58YySACjiuR/T6Hsnp4gxMvx3AYXrt4MNskqjttFpI8A3tuI4GI5M52kBWslxPU3VPg9e2snRvuKV2Vph5PBRxuZjxtxtcCWXjoFu+JR730OEk3HVlCZ/gsy+a4yAttApDbX9LQYhtQ0YUD0xvlf1kNxVePaHIGTn6ov9gu752ZSgeZtKHDncEfoDoDnfL1D6rnfz1dvcMXY0NTMuzYW+1EL8g+ut00QSN+PmGBOeaaXgh21aovog43JnnqtTZ5zkUVbGsnBDq2Dq6qoSV31mAoKy8QJAQ+kl/LLgVGchyacuSRgky8DJR1ba6qBKikgo0ryKlnb06QVQ9bsVrkLLDLV9QLQedO8a+gdCDNBnuHhH8I23kwkwNRDeTSfIIdALXyX8cvhn0c3MPNfvDxmHjUciu3eek+IA9rMb3+tmTGseXEU2/ZoI2fPT8+FO6UaAdDeqRYr7v5pAWE3D0rJ/IQPeQ7/dPSzXELHjcAgRrVaWw4NkfkkkgZfRkrA6RhfRedP5P0Gv5iYwQXtSWY8CIa8AM1QzuuTq+IvIj9ioK2rKBsy/DJ8AT+4/8ooer6OiGetHAjtkTERWjWSNeaVVkeC8ccuA8E8x2O9xF5J6KMksFnRy8VMlSw+TO93aD46iwyg0QKLAo5XV/nUy/fVbgURvYPENp0Ox7vfQxzx2bL9lvduLIpprozZ/4OYKHskyKiucQAi4wpP0nPxm20Fd3pwg1x8smN1dI/pfXC3ppR5kcRpkcdE6u2CAmeGvSiJ76FZeQNOKHHKXk+NHTpEtZGAmaIV5k2KmvgQx9YkvGu1CvJ/VhZMMFqenWdU/BeyrnlgAofZAhNW7QHomm87jFtLsyBABdWLLBemq5qVP+O1rEpdO8ifDVrtIP/fkpEjjY07hsrWKCl5cHoJ/RT1JEYISvisgc3uAUofYzG8ERG90kBIAvlDuZ3gF1y9W8Q2Y/y7TGXuzIRhccYG4KRz+qP0Ely6qJX+anmV9QG1WMIeki+LE2axblK6KnUaX85hV2tJhYNlH1FocCis58D/JR/yK/wG5OqYjgbMwxkVkZLIXWjaRbJ6iTllB8jhgqY2BCtjuE7hb1HMtNLZaisqBVJOPJ4j/bIgKdjtKLAJIQSNKTYp12Nl+HP+akm/glOdb1whNHFOsIh/ONOJ5mAHuVNbo2Y4r74hfh7Q0b4XFwlRTBNNO8+1OZldDxdrkg54DW8GteNiFxAIRes1b4VmCdzAW6qh5Wol8K1RGB41x4N8rAUALczDAd+1tSAUFrK1KiA3hA+meZTYhmEZsrxDTK83sfc8rvumqlQLvmmUgFEMrO7/EZRJuceyAARFquHatI1Irsd4GUXrMf7sTzrvYwaAF9jxLWbZcTU9mO+nNiBQDSTGsQuj/AvUYFootFTroHDgiY7b74nSc0r8T3gSVXs8aenzwTR2MZTx46zy4yEXGSi4FpbJHFD59SVO03r4CVUn1hofv1ewEYWdJedXDEJfAL3X3SwogUmLN9XirSLovxMK2xCH4KpBudzyisA4Iav4043VMhO4zu1CABgHsdag7BSU/y8vXpF1OlYKobOa/MARylzXtnDRsfe8l3D6Y8edRj20OUNv6Vw8BXPQBAwO+PfoXE+TfPkvTe3U5R8hV0YVHtwupC3X2S65/IH8SRWe1yzHhvAxRYPhsajyMVVyT2Z0Gyb9VWyD1O03eq6hN1/g9bsqN6DqXMqLkxCZhfFXRvyVYbB9jxXNuzmVDFL/7UB+SIXyO1TxpGzGy2LgPnGWBkDJ9HudUzzHJq4g9wOyfvV2LlLMbM+wKCjWCti5K1vfILDQD20XKBxxqLGgiJzlvjaMqvdiZ+6kmepRYJXWiKcg9uDVBp63ZudNWaB1+gi+xTCylQ+l4+Z9jrhb8okqCZEQa9u1ZUIdC2/IR1H8THX0bfmNuRI3/ogDe9MhXpZko9HTUTDnwpYDLaHu+0Bw8+ZRhxNQtPFwrbf6isvvAFbUC0DPUYCdMFM2GW78moBHmBnk16uqL4YciL+d2STq5HLMVd3Mv/xidqFTUsFVqTz71xxo9jptuXm6trrNZ8uKp5dxz/PVJoSprYJKjD/rzZQAa39RlNsPVaqhzKhGPRs8g79XQxgMX514gxf0NyLQmlhjvx68osIDrUAePvbLi4KRVQbZkB48UZ0iLO+QIWvLltNkWUR28aCYQn/KnVKrvLmXMNFUZ307ir7WXpUfmvJ/5OBGr0D2cEK7eeA8huf5ivF5WXNLhcaXUm+VTFZci5N3uhq5fDGsiwuZyZBxe6m/y3LLUCVPwR4yY6+2m0OriBlU9xz/C12cZh4wFDdFMMtAdc8dDNqvsRE5BzMezyI+gtPhYyoYys6bN3qanXSoMNJs/v/TPiWZVzcvHb9CfBfWolB5vMXGWTZNK6hE699HmllsrvTxhKzFaTV8igBf3cf3fjdc/2+5QTAQgYPzvdsNfn7RqM/Z0iG4fe45Mj5o1Z0/R2he8DRiZIkPjdjC+LU7UHxmYZDb4dZUESUHO2uXubom9TD1aReu80M/5Bg4nlnn1bxSKC2cqQWd2Lauj2jTPMTZ9mwWjx1OykE077a+k6codYpEGlLNlIlyZSWMqG0RihUM5kV0q3SfJkGSB61nrKTVx2fNRR8o2EFJRnfQ1Jhs+2ylM0iYfw19LwD5HO6k6dbmFJHkFjt82WtUm45Zqy1PN3GEeZm9OGDdv+kc8bu7IVtUgbEzYVr8xGjaYFNjbLwOu9debsun/8RHq3SlwMgLl8Xuezva8AWjDxFKiR4ljXM7CWefCcUJAhe6B/UhTD39jbHjCCqJX1kJSdVrtoytqhmltLpzLdRwOUU3QY9R/WG9CM+Lt+n5dgo7TpOPxTpBMIqA20BXP5oUKll8yrhWN/5Ez4eU/34fFqWwOXojKe5DSfpwDV/N3l1Wh6duLugXRGvKBcALVcQ0ZdluSxCQ36xtZS2TGReXQ4Cp03nk1jC2YlZbda/B0U+9J5Leg7sdltyLJ2pvCQmIKLQXEfdZLE63P3KRNbDTDxdif2/vGv61uauGOBMSFRcEdsvJoMwj3AHwWIDcjZrkRIlymCwQmyGA9/apdD6SRktg48VfTwmluVi/Hx/BquEilO1OlCCkJ2TcveNG5npfDwtyFOEWbQAk5n+ttm/9gLYWDoZTmHaYi8JLb3lH7W7LxvTY0wv502ADmIvAzaIJ24W5ur/xhDCOq0617tXKfLJl4vNaBC1s2ZobCkyrtdOJsrWrgN5NbwUkTZzvHZpmQ5QyFDkauXv3i+8r1fJ1ruFRdGoXcQNL4l+IE6M7Mh8NRcZI3w1aZsqnca/IIgbI4quAjea4q8rrDEuoJ9cWw5cAlrbmWywUCbCD5a895+1lTozITvxTc/18qAOmQd1YmrjTw2rE+SL92itz6OELwg40ZphUeUQ2obgFF4xoSmsaPmLu8r9D3I8jk603vK3ah12jBpeLHRvXGTjYkqFwjS0JpSc9SObdkR390TCz5SiLoSNqYw4H2BcaOZCj86DYx2T80Bx759KM1ZfpBtp7iW9LN/OdFQk4L71GjMjQw/GAqoVyHBOuzu70BetUJGuWqO7bFTqu+rTPab4cBMH6AT82jECC2ayCrsVFq1wJJpVKFBFo4iieeO5fu8DZrB3ejx306GxwqsGrnW6LtDl/twYC0nZvO3aFnNEouc2RztOrKVyoJ6ii2qp3NdGTwlHuBdSoKSVDMQJDGq0gYgXNG+MoMCylqesBOz9+QTuv+GgAkO3LqqV3/wjrwxDHJqyOrbmgtp3UpLYofiNOA1ZDy2iaWppteqn6WCXiXjdwmi6ldy8ol81ZIrfsbPyuk3co+51ZpwIEQQttzqtUkJfaQI1Y+ymXuG2Yb6bJrGQbnoYC0OaZysT+ya/g4uu6qpRkNMGpTZEdpVGmQyydRhxV7IgZ/R6dIjQZa7DV/x+Y8jGaG76/1umrPq0Cl7gGKLMtgTEQhdyBDFOPTjqKfYXbnkh5POMrdvFbfHMyUAIXfrbfQz2g3/lBtjuIx/GzfSHOdzWttBiWoTXiRWm+WwtynQTp8Y2gJOHzJXYukp7i6reAgKDgXfTPnJ3SPgUDIEZEot14Bb/w6S3jvmuhiKMH7VYHKVPcvOBXIUP3fphoutxAdXrKSBTGoZ7V/lO2Hb28LneRU/hUIfSkaWZ1+LqM20qgEXU+nGeP4tfL/nFNWRvgSRbmmnfpxNXYd/X5zdE2Tu39YcKJu1PyCAwV20UVUivN2awadmgeMvmTsbxT93SzpuyFtJ/0v/UAXoE4MWtRR7cHi/RFnJzwnSk/7xTlNbnKsk0XbxtlmSFthW0DEw5WCWrBzg3AlHW1fuxo5vTrN5dgSnq8fVAyVhUjUcbTMebjx65CToQZgVAt7ENB4UK8485VKJHMUIhTdGQTb9etNX0F8vMC13Cuh83PiP3tYmgwn6SrwBL4KJyrS1Whd6kACxj0JFvkIlbl2tK7t2GlZBSSLirx+c+5DqK57Qeg1qLUXiDrUIrr3TYxtHy32x3UMqVDWryRy5SW1XYlODlu6Rr2KdE7+yCBnd1AKZraE1KrRCXH/zeIxb68tpePaLcpQ3wa8DbLjNQEwlOlWfSrvP5sP2mBdnblkO44T2ICHmUNSi5tkiyUhW4chdnowCzK14t3R9kjkYdRP1CF7aBf1m09wwgqIcuyfqMwuGll+Vw2alNCAM98PIHtkRakkWQjG7lpu1+0kO1h7IB9WYlrolEugRRKuGqZW6YjD78YqyofQqkdU2/n69nyKHt9zP/wtv0R0choer7pYRVD3xvr2UHv+70kdp/5vv17dotztEkJSt6zCkAWa8T4VGv78JVc6WcComJ4ZZ9xzHJRuajhDRxI5xbiPfLKQVaWX7bVk/3589CD9hdmtUZMfthpA+VU6AJ/KdIo4BuMmdCsrj3H82UeQa6sCi0V9ySKE5iza9zVnwc+0bALZkyoHmLlXljg81YvsH36uYBWmTti38b7S+I2xuX7BX0oX17bxtKE2/hfyqwKoydrY/hEwVDBuYTBt/+fK9rTyJ4zLVY+p3YQ/SojGjftKHpdNmw4a27nwj9XfsImBMY+PEkHd3kDonkQhTzY6VIpdRQYwH4kxypzEwb0D5TNCb2yIlu8r+eIiPZsDGzdkE5k1cBmts4O5VG00WVFg4xtNzWClDGQfsXNLM4cks163xFuXLu5dfiDimeMvayUNrn1Edp3WzCCKY0vdnQB5lskJ826Mwey/hgphKTB8VsZyk2M+1t87ERYwFcxugH4dAoE8SYtIVPgYXA9QhlabV//bPg8zQkG6iW00mwW8/Em6t/txMpozPRt1pUMlZSKa0MTuGe5Vt+qgJQJj+xKa1fUFobxC7IZe46B/UPOJ5BomCMPMSXuzqxGp7sXCYdCejLMHF8pxMgJaLSe/xzg56kc/iaEpmwra219n7kLkEww7Ht4pj/n/D2HdGUKcWfb1bL4BaQygF24RFGOuzwhKxuSdtpAiwrUDTQTPheQMzODMCUDIIK/J0Fnyr/PBKm5M17YqGW81lAWycddnmsyDkv+b8co0V9DD8ihVVYif2jf1+XdXsROclQC8xGZSfehR+Mpgc+Kq5/6wzHaoG5gXC+UL/jTFkdpyZoi22rS0SVma/2f1Jh8scOT282ULXL9Xy3xX7ogmfr0bQVtqj4lyR1lB+Bw9Efv7cp7lBrzWPZEa5uR1RnboCytTuAG4LsU4LNt8bt5bcXOP0Ew877uI5BipoSET46mGmFygjjsh5QEq4e2IZL4HuSx7EP2G1mGXG7JT4/BleDiDUTVLhK6OpwWhJycaJRg5dhUVPYbGoshjGJGtiu1P9FgG7Tb7AlcMKmbi2xYVqU5W+rt2TSrbNvJADgZX+T2p7fvKJaFbEWIIXbFuWkg/pBX4Zsd/MaxWYMT95+pih6f61Vqc+qJ+J1wUCWWrokPnO+yMYtWM5Es0iCHJ/uxuwK+4IDJmn1qwMeYPvqBFgM8SmS7Tv5HIv2DKstCrXEIW2vapVSUoGBHJgRCG1F9cAjl3VUxJDs9ojP0pxgylxsh6qOGLGFG/B/0C4LdnVlPhI/j6yO5AUn1RKv9E5xn1vlPTSuQuuOc1fW44PrPKIeRd2cVxH4T/FprmeaKbdjm1b7dMHnud8UGShO1YP9Z3Pqm1004JzdnpdyJ9wkREyRgAhxOTEUiVKioImuUH2WO7o8aFo1Bw1ipiYhRD3zXUlGVYehmPr4WX6uCCkXnRrnjVMTCRm7oKDi2zei1sqoJ0HtIwbIURsDAJBIX0FjPBZCejDuMhgZhWdPhKFj0mZ1wX26E50T6IWTsF7Zp6HmeHjsqQeSewScT1DHOi6sLHz8C+yeP+mvAPfzsnGXK+io6jTVV6cu7t50iIdXJA5gFom7dlob10jkQu4jks38cQ+YjOwzphrgy9E3SsE/rF5v4kgXqKMQ5lxuMVlHwYC4glJV63l1Hxa+FgZ/OkofBrStqAbNuMitWOW4zokVGHAmT6AFFDBqP4cVz51Pn1Cd9Ix+6nvuGS5OxIq6m4ALddoayzTpjtFkRsQREQJcEqorIZByGFhCEY2LgGr51CRxFNvln3u1wnTc94Dvkkjh1QFbCqNh61N5MYdrFppZQogQbsRva8NBVQxdksqiqMnOx3r09drmEC9JPDcDTsw6pL6m2De4mFK764eFB9J1HRCnRk623pGyIsdbJiEZebdPuW7ztb9veU0l5pHerkNirEilh4ilyt8SkZeOuIguG8N1lhpHzUJOwiJe0Oav99o9eoY/4xv3nz+gMlypRgfgV9RetK6Vsm3VuHhG1En+U4gPlUl5HMP4g5OLtO7ytYw0PpLTV6oY/bOKiRTdx/PrZMuiJp76X+LSIOE2LzY7SzhPuL34jSmneXYecPvXJNzpJ3gxajITKa9fMJOJG53YYPh7Ds+Yxr4izQzDW0mdgaaqmJqXboL4N3vIEh93u/JwVzbXEOZDHCFsKxkyYvy26WTi7T2U/L5vgnE03ZbuQ+NAKxXCKWhk7BCQla8AHvb1l4iLDMfbpaWne3kppcg9PzWCWL5ZX3UUm8vzsOQvd9VP6p4tTfWusMQAyx7faP4yAmE72wGmHjmI/+rAR+xTlVlAKEvTBgS0m8DrSwL6JXrlzxBQhMRSGIFVsk6ggwyhgyvrhSjoFC5aRpqAs8hPuGoH30UVTDk1F2G8ltcZG5Re762F8JFUV2TapYAQVcZrOse1wMNxApgWkpObdTAqlk923j3kZMR7rJiiEXKvi2TZPv/cqUKj2oaebvJ/hP1VZYfk+E3FPamKdIfFHD1NitRuLTWYROxoXS14howE+efxf044OnXOi4k1Jy2RRbLTR4lxM0+Zv4l2MU4mhwD0PCwBdj4JXZZMkKdnxzIJFq2XUW06Bcow3cR4n3rAaTk2xBjH03R9SrCuXNP0syMNLF1yMsjm/5lmSELd+GkN8oUKFMe3V//Zjnq79rCyBUpo36Si4nkntHb+HFt+N45Hyldhz4FogAq1ka4ONV6ANV1A6aG0H0CzFTJtnkuzScapZ2KP6lmicrh9n/AiSgvdqa5iVlgD0M/KU9I42TG/jHXv2KuKCDr0Qk0fgfQX07MMYE70IHnJq/1XB0YOVh0sO9ohiu2xKgIoHA+hd6KXIpk7GUC1elDIsh6Z3nqc9qlvbucK1pHRcW/lhrasxbXNJqMcYBlHY9ZCxajO/cD/4YkxDYznZuswAgYjv3T6xlFcx/Eah/u0tUM2Qnpy17jkkerz4qt6w8zifVSGEwtg0kVLSGbOsdChiputIntZyXuO+0RVNvBFzlUlMqVJ4WdErnYDY0r8TylU9wcb8NMEMM8nOYUDdyzEhNzXG2YbMz6J4CQU2jyLGaa6LZWN+rUE+Sbu76TkxWg77fsKAWdYFn07tEz/+92Mz2n5KiAyfOiOagD+8Vrvu1LX/D/QNP9iPrA2L5c8vRdgyrygp/HWYlcipDn36daE7Tl541ovVB7uYFPO6MdGWN9+qrL93rE7iwqD1kTD3HTZAFucTsEWIH1bp1y8hSaTgeaAprO360i56BZXP+s8pZt+2o2qB6KuXk1A9oNVJBUZPDXq6EzVa9hby0XmblI96w3ufxR5JCiT27sYpz2krEpnXcIEmkhzsJNSj2nmMJpYcfQhAfyjYvkI9oUr24zraxtP8s2jU4fKBhUJVoOiX0wBNxSJ6amfun4Hi09F9BAg7TJKOj2XXDc52hL6ITXr3m5XfNk1La+YEUahFYJIiI4wqFO3OzfBiuN6aBmZW18OpOD4y7sl3Mun8ZbYNkDulSlyhz/7OeF2qw9KeKZBvkUn0P3fQytQa6zc/WGyDArXM6+UnRseYQhA48brwGRkYyadNs4VeK7z0UJH+AXJbIeHx73L14biMrpWrLeaa64sUGF5JPptfbKrtQOSbSo7dJVVVAc+6ThDLbD4OqJ9LPn3n3Sn0fMBxuhYBzpSjYvp/J6kSMj/Yz8c+sjffzCBcYDhNLGEuYsETMjfAithc+Xf8JP/xeuWIg1YczQ9zeZ4zzFCROigWSAUK3fnaXwN0zZD+D3ZnvSpCzk8nz3T8Pp//+ru629Kraoe9KLKO5ThYKbwBq0fUFhQ6rqskopYGQJWlECFMnkA2RSeXw9Ilm8fmCfojNM7S5YfVedQR9Vq4SjzfvQaVC4bcwozJWm+VpHKAFu2rZZVJ42l7kbGdzT+W7N+s4FVOZwaiCtn/mBYiQde/s90b8HdvQ+bVZC9g3Q7rVkp9Adtx8+dYkzlJ7VJWBFYnOm82j/ytu9Cwh5UVY8xyVhEVY3t6yb03FgvHC8Wp7hOTPSXpnS8C7NKq+Ad8rLo+DxYfm+gWqaRA+LtfUq0HM4GC/X1iHmUpZ8p91Hx/t5hub8a3czP/cB+kpXxMku9yXiHLdabL0M/VafrrluwvcckAR38149LJTwCUrP3vK6ZbCA5agb2gleeftbQguwztpNdrKQMukDq2tH5snRRn9XfgS4suLTv7uDeFU70Z2UBpAp37sn+a+YO16wPtLbDUTwSgOd/GKF4sK0/rcE4XfHaVk9sCPA2wmHelUMOSYtKo2PA435xSkOVXc7NO72Mu2LVjYd15IFDWN0dmbotcjbWCtEI5e2mNU17aD1z65xq9hI5IcsHHcUjOTLS0RfxUsYim3CZVblQJnYc0L+mDBA6wFWvVZRygHkocHYgeMgsw74OASkyO7KY0MZg6rjlg3SlsTla2PsWHKNVGWw9XMxYeBrplEgRwWvXiMppc0JaaWXPZo3o2qAPA/UbsVL6E41kMrdfMcqKfCbRz4FBzWuDl01UJWh4ruhbeFrk/yey4+RkowXYlk42uTQez6Wek9ZquF5ro8hq0PU0RLcHwyk4lw+nZns8KBhgo3tZ+AgpU2+ya12D2GPOdPc6C5UZt3q455KxAtkeMesKu6QCLTaRaU7UaQCqrq3EB2P4xkxe0eVZVRYTC4JX55MtyS+EiM9a1ul1iQFIOVnrZ6dwMCCfxj51scJlwOFU0sIIC04yU2TroNiv5oC8NA42h5KDuVkeB3h8KuWndEZePTk48dnL5iX1RsWbwJGLMR/kTP8E34F0RyjIIxfhQWxtBN1NfRsWLN13fS6MkG95mT3XurNVCNtqFipFZp46DkX/FPolDvpySZtMf/HRPzde/umD6PpF5Keu/7+4HQNhdWERkTGosMNVDZfHfZ7f/k4uZWGGvGGJMtHNWhCLgO/o6DbGAPfjtfcLoijiZxXaSVI71YP/BtGuRRVtdPFQdjmUUfWF03Q5/x5BA3g6BcsqzhHWzXzi/0G9B8TmRH96rqAyB4UffA7ZYJCTIOAetHNcr0psaDYelJ10SLFXx3ZuNvqjv+n2e9J+ed5lE8ibgldAt+qO3Wof25v7w+mEHlp30Fxge5VQg1kWe3q2JtMs5kQb78p8r6+Ak03fZbR7MJrbhL9XI8E5SXxasZnJNnkDZtEH4Nm8aKMRvmCyrjK6HZtkEeCL/OrlBkSzZLZOykSUVpcMLT5P+FuPXd0sqmTvLuNAVEA7LNgU6mpzncKQYAeWddN4UhQ5JjMJLHLsd1cZNVS2pvalALwnRicTRz7gcE3WQ1vLJbBRbwv51V821bD5eJr4XD0nv8AZyQrf4WcWBldCravjtcyCz49kQwoc4f4qqfcruaMbv0YH/G/W2OXyIVZuVWEj4JYpCsSL4OYQybe/IDN5bvHFUZyL32k85uipi9YPxi10E0UOU5eFqsuVuU6w4C4WS2rgexM4rljMU5OeE6jn6u8p5Z/CJ+u++LRxW5ceJ2MifHNoC8pejEuUv4GwX5IR9RBpGzFVuSvL51Z4p6YwpOpotU8vcGUz1S2a5XvCq81mOH4r6SGXPHVZswcRQpqorZXEVBJO6ym2bd+5VFJl7Jgl1GGg0dTzhmSPXs02nKusA0PW6ajquRv6P9LPQNf/jtA24v4wCUtkxdpQmkBPk95NzhEmhoZT5f73QWsneEvXUQo7lZ2BgzicmqPAZ320CDv9Kg2Z3dQ2VfXu/RU+xE2sIChPVLOYNHT/Fqbey0Wf91fiNlDk1amf1tOLKSlJu6Iv7oEd7TeCET57HAATTfQ3/+RM0JIYwLVKCSSmiCWj/K16995OHqp7VLbiM018+gu1q4DE85WJr+8Pph2Atk4WXW0PmhI3bVCIA3+9gr3oz5bYbgRoXml9uP6dOlSmeJrYVWX+skw/nydXSI7kkoUheHJgSRkoxB3iIWKWpAxcsDJ5a4OFLtlKgEfQP1WDmDXs+35++h4gc6z2/84uLBNeG+mvKtT8t2Yct4HovTS9CuiRwm+wqFVBddp8aahLJafCKTfD+En4+Do9qjIpaGfuyeCwjc+IRwnLpMiHf+fvHVq7ME4BFptwIVSQWwchSyNWWXCPPLN2GhZ5qV83PGLl8lsqyd3qMkLmtBVJAPvgIGZyzdr9Gjxl/dOscWd/pukBg4XBUEEnPRhMcZrBm5XK1EhW7hn3Ya/Pel4/JAAbEBOH+6h8twW2TC0DlcQkOngCJnVOSQw1nHh6lYg+fq1PHkltqv3fb8EdA9bm1ClPivAvbzg8IgW55puXO+89bEP+c/2Em48Bllmy78mGO8wirtedAM5OC+alIZ5wfzttvFQj+qXPpcKd/3REp6U6m4doJsJ9g9KdnhbINJcywfBOVO2LsB0QJkrbtc15KjrNNAzoH85tb/fbmmFOI/RVyXNw2cY+IeVUxW8Yr5cpMFtidL5wm79NUdmv9Cm6jF5KrCfak8igqiiUrtI7fc6ih3/mlKY49MQA+nz/c3NEVLQiTxSQuG0XhOWtNae4uNHZg2nhknlTDf4pZ2/VJolPTHD0hQiVpUkBHBYGAXPE/xsdbdLN91Qm8aawF73JPMCHAdwssDg3tLWuy0D8XSpAyx7Uk4ysqSvVraPOcAahVKcXSykiBl7vlJOHKVtUorX8x4Slr44MdZinggHgZgLBNGD5m52i+rNqbGwJZ9BeM7bZ10hrHAqG7tgy26igHmgVWvC598ekBrwBUlCCa5aswZwkW4OviMWNd2R24WgtjpQsOchAmJoj7kjiP0sH33QxWeLBtRQm9t/YraBBCE2qDOeQqZcUvVEZg22/WZGGPsWnfaR/jFVc8NaKAc7mZjMCvvJ2GrS8zYB9cmFxhHzCR5jOaDFbQrMQ8xWF8OYnOZd618G8QHupFaDdxfz1mznCs7DF5FTxDe+bcqk5x4dGFk7RRgG/Ve5mQEQ2tsyZfxeYnflZdQvZkhz2y9S26sMuFbm965+bKqPd9Co22scterECMTZPXvwsV2IsDWh0YC5ZAdA/5jeIUp7mL6J9LyazWNR1wby2n/JTjEg5IlkYIWF8CidyzhnfdSjKY9ZK/tLAIdkSJ3zxp1n/rhSINN8vjAJS11iWxnbrQRmw4PR2hYRDTICCU10Oqsvvo5xAJ6+15zv6M1rL5O0zDBqSFPoHK4lPh38vcW9Ng/WKtmoKtR+hdAUMIPvXETJXL4IcdSTkIDscqj3TPc4NBbupYelKHFMuVDULxkJk7JE2WZiLTs3hDHq/OFaInhjMTk8Hsu9imWiKIPlGNmyOSmLPCd91HibOI/VJ9XxD4/t9YHlw89UZFJ+9WpG7nc6TLmht78ouXyeeLkQdtmQ+ArTXMA11w6ehwN1Y+dBUsunJnlrbP8GgVKyDF/mj3yrMixYa6WEvFn5zDm97DhMnrBXHTj78tvYOOka0v/dVvIrD11GV6KMs1/XLtg7VOCQewTQzA69LeZvK3tlZ1101LjubkKgb8O9SswnWU+Q5JTqOh9FqEYmknSab0y3bTkoo4Pm3635bqvqB4WJXKteILdYYAOaXLXNZusCkRc3NaQhxJVJT28CFuFczg4me8N0jtzeHZa2twafp+W/W/qstIjnYwi7mVmJ+8M2a+Ucxoz1wzo38wcEsWHL8/s4f0qmhtzWC8sf5LdebOMEtgjdyFZjsPaskkWols8HQEsq0EXWCtSRmPV/svjDR1/M0WXCuW5pNCpPH7z87b+m7mwJOtEM/WkdQZrw9i376+gD3H4N/p04hQp5PEO3PImMrlLpFymL7QQlhlL8A1U2g5zArcvGuRoiklpZChnflKlGG3ac7/nSgxDJGq+jZWMp+vCG8rDeY1ybo/qM4h+gRXNJxx/56D0AsG9ahF9gi2jofW+QGcdircT03Vo9AGidvCqduu9degy20i4SqzA2yizcA3Do3i9XlgqaR6SHSPbVFdtVZC94S9rHEr9Hj7O4cFOas+BIFCyoRENl6+g8gVlRx8rnubPDVAe/8P8jsjQbF/CLTa6GmsvGsS8M8vaZx9iQayfqJmXMT9cvAKE1lOirBcPsOQ7YI5gjsTDJOXXHtsu/exBtoOXBiQoCDo+Gk3n+AVtl0YlzVHc1pjhiio+riK6q0Hi/7tpGD7fIi1i2vPjO5Q8+CydDanBwDCuYt2OShSJJfq6/aFjl/YMmdbruFPfTab9wFT9u2zLWJ7l65oQTwgOYOEGsagSdvddg/O/d+V/7sEgwIzF6ljW7MTSYrRZ7Hi1QE+Di7Zdgzq47WTI1dIzGRA7CAqTI2NPxStvm68+pOSBA0EIkiGldMPBqG5RdXNx2eFe35lwtU1Hj9r7EFh2Gw2MuOWJvd5H2Y/tj2zAammiEFaQs0vXOCEs4cAuKQhLD1H31XBkMeXIFravjLQ72kfbqdlQ1JcUbNZuqg2fSR6aW6KTmQVjAzk6uRgg2GlGXzOFc8QLZlJvRiQhShPVr5a/Bn5rnII1lWPk4M4HOcpBUL9ICs3oVL6WFj/mei3p/E3KjbST9CInrU6XZnSDFepsI+YzqXW75Elyhy/p8O9857eUj6XbIGDUFobrXYlITWYLIAAXvVUOa0O2iQtsbVVeBqL/jgAHAtbvTNpxCMHhX2M/QOJFDGeNszpaN/RfA2AY69o1ZQSFbfGvhNU5aflMu3/xyr3OIeuTMHQWAhWBd5vUgJnEm7ICNLhsUa3tPrgMFbrs5+VeVF4rEeBNP5/AnOUzccOr8eowrSHDGFKFJ1b/ZnUYr9tr6EXuwAB6qJ34L1Wx1aIS7yAkdWietiFZYcmGouz0y+ujB2A9lISgqEiU83S1s2GDBqqRRQsz8050ebsxUpk28yxnxEyGjW41LAWwq9XN2/wC2NCV8WXqwIfEP9SlTMv9ClEKql1/+/20q7EB57/HMMGTIBlOpkWcRdNlA+kBePtdTA6BqpADMdo3CISBjYnwJJnof2x6fxh6aZ7QnDxlsJPzURXBL6w2Nenr47Wb02Rk9Orof+e3ul0Ea0fAPNA0HVw39FKo368OYow0Nm9ScNgIVyFhMUeaERc9W9RVldR6ywxgGZe+wV+BnRFpZbDIzvbR1iKCMUbHCSf4PsDm+4ZjBBx+RogZaJn5h31YPndKl9GRZwargDEuHIkPrlAJAEnNBm83lU9zytiMns6x/qYCdg1HQ9mhYIaBRX2JXKPFzy8ssZh7Z7pDRB+Q0vuaHM5FCA4hQ5BAjWM3JqQb+o81//zU6E0COSqq4gmsZSziSryfUzBrz1FgXq8CmIDxPQqpOgFlY+KcpfGVP3uFz+b9RZl3kLwCCBBZRnq5iJlM8Q6k0+LVgNK9R1XE3f8LQFLUuqCnkgTfsSmE7If1YK1/BY8E0PyZBwxRqywDpcF6NXXXLDdYKll2X6bpUqVS8RGSDiibBlArt+vUEB9sNKSs0uZRsJFpzC4Ckugo3aNZ7O94meypH4BhCQ3xsZk4lxUFcD+kDl00aHqpnCB+VyLtSIeLpeK6bWywfxtzSOjmuWLRhdMjdlPSPlhBE4nyGKiC4wc/IC1aWuWwoOUR7RLtnPKh3hnBMBDDs4HYDAzkgpPBXtlhbo4qgThiHXINUM7OqXcKzu8Q4ACGu3LkJ856bXxKtucNZjMgZ7Zidd8ZKQ7OVQZzi6MJq7gxRF2I6nAl/toC+4pGdCeKV/kI5Jrkm0/K5M3VtaVRbDRBDxnzZuK1aL/ntgPk7d/QxXfXUW2HT8SI9KDa325aaDImc5+SuzxjIUw9oLFs6nFu2vbuxPX8EsfFcq11mx5yIRxhG/lAOKBPcjnG9ELX/aasDWlUfdJkLwidNKUPFfcXcn3hU52XtM1S7L6D8f37+bZUJ0g5lpYlL4YxwgZ6IJ8zbeBjgKbni+xI/00g3W5sjHad0AT+UEKwahWI7EK0BTSI7qFi5MGaL156Dp+7GU0ytCcT9VNXdNfT3/GvPSJonZ9Vp9a9HWq3+dLddJiLlAsGGa3EVJkN9WYx9C/sInm99NRhEGS21I+pHKq+gGLzz8g3dbg9fPV2DLpPSJ86wsS+nqQN67M+mpm2HS+mxneU5iil5waivPLWqe+3LfyNIzT3W22/uTacIYeLby4Hx6Hs8cs2AHw3tHJBsQMmUJgqNPS1feuASbarGNPtzMf/+u4h3qbqvfs27OBmNYTn69JdYMHdEzs1wsRotYXei452JoKlxXEXVp3WWztPlS+Z/d5qBtxybe75dSCURNp6S2Yuxct60fUX2TPi8XlftAnsrkG0pSAudp1pj4R6cmUbMbz5yg9vnVV/67ZcXGl0WILlpMfDsKioBvUYSwXBJKod/e03csKwMO2O1Q5VB0Z0b5sBHzsiWRku/p8sBHIinpDoiI0IZDbv29q6x3MrOxue3icUErhWCCez4fGmbzVQKNuUKfqKhkwMSSE1cZZXyvq+gqkeOvi5cIS1K3AnRyr3gDypkNEhXrdNL9Uy0mLC6tCHOVpcPT9pTQ2binJgkex1OnTOi49BWS2X08BOIoKILHEu6KGn1xNcKEE5DaefVEQm3EblJkEF4vniF8oPfDvPAELugqg1O4y2azFyO1VviBvBlTTkpxRSXzuEhBjbXto7olLMHh1EoUsKLVcxCizfMnkV03ZtDM00JVG3rbN7PbHy40NeTqJHYYwSCaIjLQRNmvTEFFr5TkAYNL1ZQUdPDbAs/GHx5YN2PsSP4eJ2/ArRCkqkZIzZa2rhz8kj2kfYkQ4dhcnqq7yVpJNH618s6wLY80rFcj6w4RBPZAVYLmlw8ugOamAL9k0o7YK7zsCn+ltTz24t3xobjCRkfPC7W9Jsctw5TN4/7Ir1ivAVO2b0nCNHnEaqiCfTBStPDrfGbsYQPYq+oHevlnbSnJymsylJSGLXED14hGz8qlab0tD8hhYQYDho4gBhVxP9sZZg+zaSc/jOyv47QJvzgC68KidutKNB8hOVxqhBY43WajQHRUUgfwCLy1sJNyeq0eEhnfA3YdBrRYhcShJT2jpX0le2GyZ4LFbdzXOM6Z70X5N3e/Xgo36lZZFKfmRhpEI+opbe+C3w7zu2ufdf3ugl3TZpV2RWP0zLiVw1fH/PFt/s8YMMgsyImvGpeVqXhJETBHwsRPR0x7AIKG65TSBLm3UOh6+bSxS68l6agbMQ9sbFKTkop1YfCqrnQFUydIkvSKAtMJAEBL+fKTzxZjKMloQfTjQcN+Lf9VA/jlyBjMU4eTdXKk53sZegzyFQpEjMilFVmBAjMdG4vOjoBvDFOkOb1woyw+rvryRR40OeJpU0QrwY9zztqWsqFBjUTUH8GrXKRf09+LxLG79WgNA2UZHkFzWmXYX74QLfAz8QOF2qsRk1ZmAdOdU3d5rsuliXjcGW9Dp5x51hCJElTJ8rZG6EJ4wEQMV3bTihiIe6YoCc1hucE7XtKGjscDSS9LO/AijE0m+pOM42VAW2ZZS2Kwbz8eY+KQpudP6jKdjAy4F7Zevv7jRccqdE7wGahHD5inM2sj4eP5EBzWX4Hv0EqMGrvuNt2uydVa/UEXaznf9FeOdH8Rj7LxpfGc5RzPK+zy8xmzmuWtzSfQVZXo5lBAQfNp0jJJJ+1W+6bDmpjZbF95ujb+ZTJaZ9J4Z8/1YLilzFf7DfrCkJJFliKg+EUoRVQUkIqIbiZr4nJKWEJ5YAHO1309/tUfq4m1I2TYE5rnt3U0iaHS9MyvVgErg+KipdmSP32e85Fcdxu+/ocPc+N3ihKIYo4VPO1Bf3/TYR1ycYm8yJtFFgcbW1c+q/MEIufejYDIjuF6fsN6Wmp9ulb06hlT3PeeUt+UzqWaFWplYXfzgIv1GTj3AQJ4nUcSsSyztesknwwbSbiSlCOhoocBtQXw75twiDN1GDKWndjS7SKO1xinXGdq3dGaVFoLIKwNLoubFDc9tIOT167aKFmAdpIaM0we7O5HdUj/9GOLZQtf4G6vdvulgcpcubJvMgVodGpeJEKLVtwZ3gboJhzYATtFTtJoWBwDOkJ3zkyU8CVtGnkGiS5BZMHlq7Zie7DeZJCFVQQRmaWonH8SOy+v5mFB9dsDYUDQtTz5+4PcF0gi33iPTYm6KH81oCtKKoTjBmU6oCerAS0mS5Y1zMYtbbr89C/Og3T08JPf3Y/kzzXvPcZ59HSZJDB1zsETadzT3yAca+iBwERvl1lQEGYVjkEoXvt9qR87LUVDrCuiz0Z3x3UlJYQLucTmIyBXQobEbffuBgNLIDrcgyC1ltTaOHs6x6gLVHYFM+gA02geyvfzgIlhR3ry6t0XPks//ABiItwczwkUtYQrhsTeuC+KQIPELXi3ixyKLVmLMMLUsj6CaGfuceYYudU2p2eIH/MZ/pU9C6WmG2gmXBjNsFFdGUWEGutlxPcmkDBjxsSCTbO3I0saoklMjxGHTD74jDgfvuqR0evk06jWkye3gvZ+nefaVm7Nna0NFR76lDqfcaiw2luUR0rc+LYbi8647LyQ+FDXcTsjhKE8KNOVDU3SMKkyRGkdvRk8Cv81j2nmZwOpWa/TT6lcc4loAg570kjkB+gSYNL7LSCDqGLGvcKKg5lT1+kqGWxJuBjAPMH9hycouuvSC42rTVGRi6H/Bs/E046oCCwUeF0y2ZOcjG5sxGufNyPeQMpvtBmyuDlH6NgdpjliRzSTJH0hjKRDtZXAsmPriIMckRq5vlIQnwz+Mm18ImqL/F9czv8u3Hbhsi4ImveV7ijYveQ3CKi9MYw1tAu0nejqOBohKKweYBZN3l5BwKXr0HDptGSwDonPmNezl/II7/eEjSC2Ox/SQP8gXHPm6nSTb3MZblc/EfiU099MtdWmbpUA6cljSFPlL72x4b+pUPTZ7w0hyuRuFLex8T8VFPqm5LpUnjTnkmC16UxqwccNRgfQ+WNGrBsnzA8Ys0cm/MqGjWMpbOIV8xAjWqk+kOwK9wCpb9clm7VPo8MeU0ZXhDcIT/TCVhg/B/yctkgVZTFCeFXxRiehk6MQ2HNMab4qb5Z7g4soKgbAnKdDIEYBz3c0c2wF5Dtm+Ssc8KDiRZr9YnohA5XYaPE4ccjDcjCTur3e/IVS4pV7083P/+bBJ02cMftca6DhNfICxc7MeALSgdOMEyjmWXSpg7x5/L+YCVtnnhJjCifUaAtS1WKxpoeJHp4nHBmj+wZt68gFBuGdxHTkbvmGEwAxWEco3vI2dbRWvT4N53F/jNsaCzgsW6hVpc4Xc3yKOjlhCGYarOfu12XN/qwjmXCNiAXBp/q0+gv6lU60AeUFE3cATPO2O/Q8PD/JeUVzYntghiljkvdc6CY5BHML8t0yAqj9IBEuCFvaZVXft1jOfbEG9cLppi1DFN1MpVM/S7WtvQg142HYPR2S4j35vWvfr207e6dPiovuGN8D1v0TdnQ+qhWDlFSJvdvBx8rc26QpnKu6qxn0as3VobdbZYAYJ8gk4Rg2FZTczhKZBxezD0vOFJpPPI8ucjjI63KAcfBg1pWVSia0hA7c6TjDbxPM7UsaU4mOSM2k1MzhM3//CHOzfkuBElv88t/et7HGDhvh1eP84UuvWde+xKCXtH1nynMnzCQi2oCIa36zbdbALSWApXGM+tAQetWfBJ4wcjiszNxzxdhJOB33njAG6zjimL9MRku2AFe8ahPXTH7dtDTfGVDQAYQFWnts/21y+WL0LCjm9LlNC90Vj55XN1tNxQuJqSnSLd3VNQrN74JXbczpo7qlvHY3SRC5xJXMytLiG6aVG7IENluKOb+ff1Zz00aohLTqT3MlQm5qv1lyXEGlxkgc/lyC2bilZK6O7gI2V2PoUaNDZiejpNTXhjFqEs5zzyLrMojz5RZJZ5wAQ53owghe+n+v7QsqaBgdMV+k+i+lKoOmBWk3c5KOyrGnmxCmABVThWHEshs3FPEIa+V7N5D42V2vS7ks4dlLtP615/dWgqyDi3KYKmIM0Q9mWB5ezmWBI9ru4+1glpy1OLBdlcn0dPpffX9iAo7qSDP/d+Bzgq+KtCQKO4Ui4KvLTrfCCtAfPpIrpdGZra5lcC3G9lDOD6fuJeUVnpizx/up0R3gjtgRSzyp2GMW+Vw071CWtvq6Jhlxebfr8AOHNMGvJaELLiPcYu+bdgDuXMKI5N03nkVWa8OyGNGu8bIJePeVScUCXrAt9ff0U7R1F0r052ggtca/66Nk7FBgdgP92Sk+M/tC/Jv+N6q45NnALwjJk5N/5FHoPCegwdiFSscKp2RgDx1SmsZxmjUO915y9UvfCsH5ysAwJxzeMd5jOZQhvCKJ9URprkiWOdTgYfDmJ/TUoZB6GpYqN47ddpL6FSDEoDXQzgaT6qVfv0R5CzuyWTykIXkFN3yGc9ukIaWKYIUa8UvqtzZMBY/tcVeVF4/AacZt9TaFB7NucblEQaqWUKRVE5TEczNZExhQL3xDk0uzfgZz9gNarU60+pecpt8DjunWUDWpft6LA4L9ZtWGbnOwPq+7O5xFRnyRgmSiG3t1OBiTxEXiDgTTCd/2St78n2pksTZz55fv+EITp6qpujCDwL8463DkEieD5S3eGf7EoLFG9K3ICZJIAIZuY2b6gUo0vdwQZ2+L59k+/KTF9sMc7yRFDO7efvCKYqhXe7XsvQt8WHm0nVDQrOH3lN/aWcGudaQiHyjNiR7cnuexMDt4eWVwBVXTY7QS4cOTtGGCXZHSQ1Hcpzy2AYv4ydfypbZ76Pl08+PZCndgu7kJhQ3+lDIiaKivR/8IDOLRpQBZuVl76zSKJaIBPUh0pk5L9sjjQ6vyT0hivh2EEXbBrNevO3z7myhNsj1JPJuu1FbaQu5eP/gq8C8VzBqpBcTlXC95DLFRrw3+UN3hrBkj9BFdG/I0kAEINo0pdu5jp1NUOwFrBDhKagnZEtkpgf6c8nz9rZpq2BGIhFhXWJXaVXO0IdOk6pZE1SHASGi7HPHxQT5eC4MnaZRYeOjn9dElfU6/aJS3U42YTCaHthKXWUbk/Oiwsf4S+d+y5kYKT2qE/dJxX5wR5zNIQLAZemV5Gv7mfTPZwimKkqmO9lhPk8onlAVUOowAeCBGNJ4iMnPgeVgOUIrzn45n1NHyUvI0gurMza7XAGlmgtvEfYbbsqBjWomuzHl2TYVuLEaAa4uHpXYLMqfhcCRpgzrI+OCrWiTexfnkuCaXN0xyudzbIwdhXYabZcIf6L0FpZGZdMGYDpW6Z8DlaB1PEHzb01jvHqrEzGCV2Q9mpQhGHOmXgxe6JmbLo+Nk/oMd/7vlrTS5scMalHViuZL84QHUZ88PSN8bpl8rYrWAhV1Km/K9lychxlqavfyxfy/Suu2YtIDQekxyIB+9Nq2mf0Ez4/07uBSpLTeYffqI0vJug3OE/4sh9nJDhjBKZrfP7T8ziQb95MVPuleZZsT98INQS+EVT3wppm1X8MUVYC2/dIm5+I1+3NpoazCaoaOPMTIAZkoTma4AN0gjJvN0sXhlZFwm58U9Jpn7a0tf+QmXyTk8usm8hkYQzxIufJo5HYzt3yfbRrFRUnvfhXPBe0oLsDnktJcUoPzn8FDOSsde8Ua7Xqcjm/WXZFj6Ytu0N0kBybEgaiC3RDS0M9ONOIqvxcLzRlNoaObfBJFa3Jtyhb8kNy/+GIiN7JOUxvU3KeIeKhfyXoRYsSbqCCUU6Pf5bfQxIZWOtmz5V0wRo/tdd6a/gjwbP7viZjOCNCnq6gGOqYsEeR4YUFRWGiSTaV/eDd/NvYucngMQCMBd0kCNEAQGkcMzUlddclyEV3W6+08/9qhZaD5lQJjkgTAE1u8F9RZtgg6JB9YqEf8R2RVDregnBn68KZtk5IYKtUoqbJfQQdg3kvuXq1uEM3py060Fl5TsYmUQkEAgS0I29fzsnYFIU8CIu8e0YFdaqCnk83O80gQf8LMKjMfqBaFUR491Tp5gVMt0D84N1ieZsZcv6ZWCsMChaAOgxuBcuHNfl41fOs0rCFuIovs97VBKhNwcCfpq5ucrmFwi0KFJTe4zCr/JC+cKg3ztiGYVhx9S7KJcOfTXQT6za+CgYmMraxFLPSJAn/R/ZukLXA2ms/Arl15D3dVauRkmMTKx5I2tMnxTVfwcv8Q5HI0Cjp5RaV1Web+WweuJ+VMOoEHeKnSGQY/APmYSLRn8fmmMA5QR+Vly6HkRwzb03ihjxaYPQGcIA6i0QlPBzF2G/1fylhE7P9TTJX1C+jGtSfcWetvCLRi/oV/sIGujkoOnKigm50RkKcdDsdTh/yNFwt25o2MQy36mJHjoFVaIfQIj85Tq1OSFAP74zPDH/13qQeRLaw9yK8y47AwnTCwqcZ4yc2ful4j+1vKR9mpn6X2KfWlyAeVboPzbFOhB7HLEEbgljMyWvNFi8pJ5uK/gHslKATGvCXd0HO59VRtNUhoFjXzHzBfuoum2KOH4VX0WhB6vISgqrbOdINnS4UyYXNJJPXVJrYvIXT/HLbLncR9RThAsyjUX2VY4ELKJWm3NSk+gkEzpseddfFnLNCSNmRVd8s/Rz/hbVOtvF2psGsP84vqlSmrHuK4vweGcq3Low0XGKDrBa97bMaY8pp2Dy3VxCUGuw9VZJL94mPOxO+ex2NAAjnZJoGa+Wl+u1kETEiaIH+yNtg+bkIU/XNblAVh3Bobnx3CI2qxRc126/X3yrY/SlV+i/Rih2SFec9FXNvuijPLK09wVVTuUBV2FytBvx76EQswlkUSI8/VBBgHgTTJ8N6JlD/e2XW//tD1lX78aeZXQrTTQYghe79BisQeYUoV7b1D2gWrW0s/wkseb6OzkJBMhof68vqCJvX8+JmHqu3XsNS4cV0sLCfIOa8fjBezVcs5UD9shuralG4E5fT3E9MD4CRonizQbPhfrifM7yH60lfhdDLK/0y/HgSiw/ls8gvvl/mvZ2fWzxe/k4x+hamU4L191rgZBQ1sJgioqhb2eQqMF6kATdH8Fj+HIhffZ6FRpZK4y5iGXHSzUypy6EGN9nm8nsTPqI4Pt+x55JDF/7B74KdySMtqWAHHmjQnuE/iJSoRt22qcGXAkpu0SWs2S5rR2TXZY39y8qFoGcCkThDzhbfy8OjzO/HDqmR0FHL4dimfNLiKX7dNwFTWr6lI6c0GfdNMzulY5gMXa1ub6oOP3y4Jsus6yhVsRYMdm8ZdI00CIgVW9+alwOHSi8/97QKaGZZhLMY2hcK0zdP7/wghIjkezStDawdogMXk8eUfUvE4IVgQy8OdWnl4x1Nn0DkWq/sGj6603crQGvfOaUn8w4sXzVEUHj/+YtOiIernMjPwrUfoliCU3jWjW3l5kRh4QyII8FMMVSZA46vW1Ul8nEKkoKGips3eRPqX/OcEu8mLjZ22Pnx5d36rM+Zi3wr+4F3OPwOBpiWrAVjB/X55kbI6JDL0LeHFXxXFf10ZBTErjXe6Ap9GPH9WEVbAGPSij6A+rpErRy/FTvn01E+bsWnSHhChy95qYvdwNsX8bo0WFphskzeDhxSFN/X8ldRa1lpk14U9QzNJtu1gPfkQ10Wj/ZoYiyHiLqwWi3sG8HYm2l2b1a20XA0QF4cgsPmxU9ebchKJZdoqbuE/Cxd8RcrB9O1u/bbWMPsm8I/jw79dQZkIKdKtXTbU7lJQhiUqUf52Ft/IiVdlhjgu2c4+8eim3Dxp2rTO6vuS/emx/IF0/cXgk7prs36i/fzkwKNF3OLbZ5cf2uQGRYy4iBPO1o/0N3DmbwWhWg69Ivo3Gw2g7kIkTDP6KZWJKhKltHMrYbQDyksZRRx34pEkYNVt2kDkLKlNeKBggIuSgzwVdi460kGuZrf3cC2AyxYfdhplPhTDlYkh9Fs1kQrQLQSI3pGKceN+osRzQPdxAsRHxQSrHfnMGJvKykaWMbyLPfCrebM64r5APldjA8LgnURcuGbSWEX5XUjv5ZLjrWzYpKjD6oygJpWuyTOtmoBj6V1B2FoFyKwAIhxN+VzMVgj/6aGHQrhnmtxlChSlzBcVpLGK5HT3X7yOdCkFfdoNOKPxRNMdAWnVSS3Myck74Q/8BDPgtFhLkdaNymKkfzW2LnkORPoAL5FKKifldlFETrJflYg9XPLc3YuBlj5dN55LN32kZtpKjhRVkJuQNq57u0+Giyf6nt98qAEn9zkHQ0bxXUC+WA+jZ4AJAy0zUoCLSvNt89ewKFmbZKe6E4u5NPN9K5WuZ3Ddnr7VLcn2eDz9jRWetrUfHD0fTkEHdEB990PxFLoDk6r6PbvRksvlZ4wBGYgksipSzSGrRfz151Hn44tAeh+6kYSItiZG5wFfxLVg9/FK+ed3wOHxplzlQxBSq3aftGMGg9P1jsP9fCdCcznJRrPwFXAxZ/OUSPxgYVUI7k13Pp3SBxeRnTqPkcXlMjck21KvkFm0O4tIKacvm2f4pAbMNTXx7dliATK/HbQFi+bPJ6DczobRkao7Dkv86fatQsnhtLFdgl6+u2PiUSMt9oS1wSNgmQqkwbBmDeuUjcn8HNjCvd0VDnY8NIVL/O4T/15onggXQC1kRCHFv8vqa/e6yhIdw+cjPIdMjCobLvZOKxYfSyb0slIlbwe3deBD5DB7shhyxd9PuI8m9eZVvGRGwkiVMDaR71cPqZYileBErvsu69ahxFftzMoE3yibnATMj/4HY2WxHEww39N84r3P9HkQW9BP8be7iOQAJc8q5bvUEInnOQc8nP0rVMThbWAxjN1oqOYlNqA2m/WPztZl79+x0ijDUTsHRw3AZH0fM5rAcWFX1m8jPyzkqLXrU0o8OvBg+kZHSOiNR2Jo1tVB+eNCQWzfM9cSgMLf7nm5wQyCBGcFXFSD5if2PXTFfMfEcRFBfGO0KBvcLk4y3Qf93E1gCxcqEZwVSpjIUzmtTiwQsbFww/JSSmOxwaBKSXe6OTixGgDWYuSvXUK8WAxJHqW8vmLK7h9VOq39ktuzl63nmx2yXc2blugAyMpJDf/oOvpXQGTZrGD0xWtpivZSqcvhkfwx27hMG0s4Lxw1FNU2bXAQYEnYkCGwU0NydWgA3Od7qE8vBrZwanUcIpzlfwblbJEknqlGL5/wbnNfwS38qwf2lB8ivDeWG/oqQZhlXQUj+cPgnW6Hc3rBlV2aYfFEg/JECi1qCjPNgVGL12mAvy5iBDID315kkTQniIrTAU2OxeDOpqLZVF1kfnPaFojh17Aqqnawe/j62RxacByeFUhiplan78Le2ycYqzUzdaEa06A3lQOEob9UNb6sPvCoK9IT6NizzNjm+8BGs9DTvYEHQharcEg7TGnFMaYtII0C4MFyREOh+CRyHJtVQrdP8XTHuFQe2D+KeqzDlGnZpK8ifLgD4BlAi97aw2a5w0z6B2Pmfg5GLaNvO6tDNX4UH3aXwQE9K7ild2vEHVXXn4Vp1ujGiGxNCQMsbkwRvVLZivWU+OV1s4MEZmqYr+MTqcv2Iau9RqJ0IaudJScPFbpo3kRK2BZBTKE9TVK9tq9OBKyJS1U5jQuAm14Oyp7H7G00v8zqDInBKrObu2Eu7Q/RDnn8kNfBidLAn3i0Oe9h1sW+CeQ4DBp6hlMwow3iE85mSQrWKOxl5gMfKO6tVQCNRFbHb0UzbIR4pdZ7rMPB+bRYhYwJ/Dmrz5pm/z94wvDdelbGQVar2Qpu+/Jp/qct7QMBfbLBP58lm2nDihWDtUAAsXOntuy/E64rEYf39wRHAJs/8vvMuv5nGDYzGFyxEkvkxCS/vvlaVje7+cyRz0TsrF4nmTlXy995dCR9vcMVGO6Oneuo/AY5fkizQGNV6js4chGyldjK/LBzzzKfOvy+3xkAZefTq9OURQVuo6ER9KeZMgQ0J6hHQNl8rw87TL1k00S7vV1I/5uPDLFG6VgVAZV/sIrKlqNECTnQ3waTwfkzaDGAPvZk3BKGdEkWB7LF6USDp/RecfRORVxxcJ8mKB6Ghrhb3LBXv/ZCktqSpukK1pPAmRXhRcWnB5jKBmqqpUC1h8VfsoHIeWy6RPsoKBswnroElWf7rkA7O2GBwvgZYGBb8crv5cglS8LTNtJFmYCXlJxoRpMQ5ajPcGzjKg/Ls57jseRd4N/jhPaRQU6vYrbzzh9/5KUN8YAF8eSDk1bxVnyG+yLoCK+2VfxJ8Imzk+IiUsia4EV7fVCtPgVpi3dGaPXNwwVvBjg+i+NlgTinBzQ4Gbt2SuJ8e/mhalka2Umf+Wkggc75IAl9zjxQpudfckNwagFDzBpgaAGowNvleFRlxLQlSoGbUsRzHg0F+BSSrxx/VS5g/7rNrWdqXdeBVWqPk3ujDZtUgkqRx4fCs5PUwASelnZ7GPY4fbcxmYpOxkDWJ4iWD3gc96T5eTd2zMnLST5+cQ21lSmflKyWzWEvoU1v0Q2Z4V4nGWtoWwaiLVpCfGuIxQjoRr9PCFAh1MqT30+w7hoCk/rp986I4JVS/qm/T9uCANgRGLLdvAk7Hl/fvSF4wvKppRAgcLGJ670iKcjk9Biz1ZAewdATHBYO/asOOd2xXjmVLWq06/9myPoGAY/HaGd5RvKM6NG07slCurGYiJ+m249fZlKsxPlR+/MCuUEfEEbEq+VtRXgQjlibXWEYhGiZkH+exTFFAYBiRSOrGHsXMaOyecwco3BEvsVmDIwc+3XLdcO8V59c8l1VSK1UOgAFB7L65UnCURGnhnP8bCsUjlJVyik/WjMk32Gc3NotMwLZC/Y3wuorANvoWoJ4TeVlCWzgncKkfQ/OTCmwZPRPJwXUd10VWvUC06GVSIByjC0XS4kdomP9335yoO36JxMwPIkUOpH+q5Ok2MJGHWixDgXP5px4GpaDk+Wfwy1MxUS0a3gy7i3RsV/EfFZ6MrJA7aUPsu36Eb0sTKAewYIKv9ms8XE5rSmz6P01db7IlL5wV5kjgP2zUxBBHrzg/w3oZO0+LDKJqUFCJf7OI0Zkjgg5PESATxKZJ+ID0dR3cixqBN3USGG0OKXs8t6LvjtOu7j6BfYW5PBGozMCYCr7xpSmWa8v7/TDcBVuxQ05H6lyE9Fr6nCvz4ZJ+TIg0liIsOydKPoa0s0BdmwHSGPMjFTVjKB8IRlwml9KrgQrjt+AZsC6Am0RT3zBSLHqkmu5xg1MLy1ueOpOhEJbGy7T9claARF+xd8Yvl+NixjeGvfMRSx+ZvpYZ6aqLtdxObqNcW7OcUdks9R+K7Lr6P6Wv3zMP6jP3TaC4J+LqnMMbQhhOYtfe61EGqjcJg91O8lMl0o0oVvcSuxYYIvMj4L687bViWUkuOgK7C/+TBJ0wKeS9ZjSdvNMPnP25dBcsoau4x/C27HaMn2YA2g8EycFPFTXbrCp/pur0q/3nzyedYG1ToWBxKZWHAk+3NsqowKCYBDIfA+w7ucvcHqSsK81StYsO+Wm/xuQB/VMWxvyhSu8jtkwc1VrSdcDWIJmD5WENRq5NXXoaFnfLWEcecbXWogiTdvrzw9BLHkV/ywBsIlhZyM3ym2avMvfZmgo8lQi5aWGUJeZPV0cUQJrjtHlpuYAt73RSPchG4vRItV4hKlAaMeIToz/KSiraPYibZ4rLnNbouQS0nJwiNDNqDuT2FaVhZBSk70KKDijntGPRpeaIapdgLXkPeV6g+BHxxvrfYu8BMYOCnzc5XoR86jv8Qq95an0g3Oc7HNoy5dHpJM7IWTr07OcQwD3TD8WpjFYGz+f93TDLb18eb8e9d0bdx/jcNv+/Ukl6915rv3XOmY8iZvNpeEbrA/EAfXYOn0c7r8eANonVQWHEFDRv0KNvQtog7OGi+/TCmBdWVRuJuIHOtzexMYRzfy8u+fLANoEchqmNqaXfxcjZ5C5ibI140qqEa9c8kB+wCeG5p8ofZnkc7WwS6Ju/rlviA4O5VPfAhpA+I96qu5kInkJJPbSthJE0BzeQzwFz88qApXyPxkiWmw1f8aO9PlD/IxdHWLDuzZMl8jS4e/u3T+Txtm3Qt9rpKglIZW7BZ0Xw3CxDu1a9gT1OrgrnWlmyljiHV8uwbMSxD4L3TWoMveM+aKN9J7y9s5TCdr0srWnNC6QZEC9a+RwNGv+SpflYau654C162uxldjkeWBopvfRILH/1Ketrthp/l2Us3JAx8FSOQ+EIe4J49erTqWkpJRso8pt7NDYhtSwpqSEMISyqNX+4mHDe0d8bbhs1gcKK4pdJzdWDe+0JKYo5tVwEJULC2GqSAH8LFuYpsdnw2pearBMa5zhhUxlLDrC8Rl6Kv9dQaV4MxDMr/oXQg8g5XFJp1zibkbBzNnRa4aVIS7LBoRURe72yL/CbQdjS55F3NhO+iMGMxdeFUYXkDJnmIceaXf3K9GjeFHO7DhNJ3McvrTIUESNhUM6Gq+j3bkf32D/lzr8KqPL6bvNbscufy+2UEJYuHiLMJDzEMGemgDXCXDtjdeg9eklrZG8L0xOGY8wRbE785seLg54I2FEJwIJ0Z7YZ2nl121NYF57BSfUi6DZZsiY+orqitRWlYk9Aiaf3C2fwtmYA8jdIfun1e2BYu6HAHzFOBCSBxRPcoo42lIhRfxcqYpPNBz5BcNs7o0UwpJl83BKe6dLj6j8Og6PSLQtsEEy1nRbBQFOKxngb+B30fkqwxrd4inFk2yEU7GvTl2DsFI2tMH7KNkV0WRdsAq2FktZWVZAnR63Sub0ph80qxzhYmAo33HRLbpOzJzj5XkSF9pe5woaP8txtdAd+zDFEKCBbNq1WVwcN5qnhzjL3oQDcXGnJGUfOmPayNtWQeg+LDrOavQLjZUIc1aDSGr0SI1uut/eOQLHAIkIqwKDroLXcNbilgHUPUtmz6jzfWYM2ls1A1RvIpOspU3hUQwXS9bz0eoNET1pU46K5pj8iwJwK/q6mLZfjDu/nZ2E9GjwMo1aTK93mhWCu3j5jKM3gJXU0ywrPXmf8PXjkSECEb20Fs/7M9lsd7Z/67YXy9FIkA/jA2Le7/6f0Fzig/AQZlnVHYnrZdlYdAyORMrIokbjmj1tmf9VGxpx8Quf896HSfEPGY3Z85KHTWhv+T0+g/OaW1gs0laSTxWQjqn+/IlgRXsnx4+rV7M8ci/9OuZtormt1Qap2B8nIfYfMO9ZUtWYanrwwBeIh8w6FpZNp10rOrhV1JxoMLWgU3J7W7f0M8h9W2HnoEnsra0FLjMg43g+bYvE2vmrfDTu1Urejzfltn7twTB9BuQUpsqNZ70w2hR9qo3m/e1dsZFyApcdyI7nXJ6QxLVNjcEdLlI8cPUwDKyaB8g9XAVFatWMiYzC87k6y2JhSq+9n749CK5qpiVejX3V09B2mi8/YXtEfPngOp1xCy5W295ZyHleKO6RY4r2RkU2ay44n37/3T3sV1hW8X3LDGg+wk939E3iNBb9xSiaZiUQV5QuCRWq48lV0Y4qUcSH+JAybgPL7M4ZCwl+yf9LFQHtJlnygS4nO9LKr/LbB8gw/anflCUUZ+K+1g/i8nF9TYrJ9D+EBOqc4w3DSn7hp6E+H25Ms4zyddzlpZvOk8slGI9vTL5GPh0dc2qo2Gc+SJwF5H8TkroRf4PlAkhAIMMG43jLOO4+VU2eFgEDF/sFruCB152kwD5xPfmCo/VlRa2m84vI8gH8KaWWyNvRwE8VEefJHKn2a9huT/ivNXu8zvQpkCJdP11Wfr7CdNYVeRnmoXkKpyN5YzIKwqd5/wAIgER6wh58W6GBLrKgvpnH1HwKupAC8vGVD6/ptVN0E+82a3Qubdtvhh6dSMJjK1JnzxBeICOR5FFJ6/t/WOOeF2JxjTlJgtojx5LReHq+plxgsmNpIQknuL0Hog0skDlkdGOKH1TaWiT1sepez5IQ9F//jou0tISKfxhKVfHwYo2rJV7k8iOeYKKr/FL9y6qhS8yQsYBjCHNUEamfSI8UXI0EdcFNZSGzGTTVECjHdNptgAThL9k3ziQGpxiOKafauN/zj7CbWG+aAf1Ywq7JVZ/ciYV7MrvVLG+QUoQfu1cGkL00iFwoanhHqjQRoEwY8Tvb6p7l94dHOFpli2QmBB8YeG8vVSdZv7HnQ0nvYLjszuePaXAuWfDp0CKw2TRkyBPQMlBtpqV8NndHDPY7vGcIJ5FYLEt+MJoZ7uzCSLZz45jYUZwQ72aq5BebXj5vuAJ3hSSo9ZJey0Oasa0Il+Db3lJzUDsabkemRSYUvGRw6pQCTck5160s4raHIp67VQHTHMtRS7QpXYVX2ZVKGvp0KXhlBQlnKxLxSvLFW4O1Pp40a5a6llgWF/HV4nhLyNyLPi+mg5z0KT0aNONmW9ibPNa4XLdhf8VMyJ0nDp6ZWrZLaD0QKkPTgKCJ6djMM+BJJ8Zx4qolRNZ2e2GGvdFjY7PfvWHJLMH41ozc+3tdxY9TqHbPgk0HvNXyVo0Z1AjxCtsjCfav9cfnQKfrCNncZxt29krc20q03LePlYiyrMdFOCJtiOOeNs46Eqygne9ixW1/gmVmapWZFJej/743K5LN5vzefGPvZp4vV+5t3HvWNdjR5cuquX7bmtc4MgwU56qmO+1BYHFxVkIN0ObZoRZA70ej39ptsXTS5nojH+ux1mMOGkzkyleHNVFmSalylNPJxTZSXGm/XBE6y3ZqU2CvEF5qruesAp7FoYrL8LwEOsjGysrnpjKLnEOepkc/7kEbZByJyOqjTkm3hq9rqLpHfTwBJirTj91WMHYMCDZ81eZGE49eYv27U6sLG1n5m9x0TmFxLiDxt+hbuiSD338z6DPhsnylird9hHM512f9+U5hPxxQLXPz2v1q4FNBoefHd6dz/akiRSeItEVNVT0t4jdCh9PF+KuxPaEBRuIwK/5dz27KknhkmB1nPkkQpyWQt4pdbJRq4jxcdPGR/BccSp/Yk9X+pe/b0dOFgpV20Mr3sruo6PEPo0IkZhNfZ0/GauYs1VW/TmGJttdEZZfsfGRoQfJH6bsLn1tjUaKmTbWEdRV2FOwILnrWZY/XIG8+v+SLQdYfOXRt2uZ7b2hARMVVXl0Hp56cEbNx+mKX6v2ykUDzvNWw7uZHTQpihQOmPB+cAGu5KUbE1gKnzIR8I/3fGHEbDi/OfxPjnnOPd14S6e2RcAIcIQS7Dlgvi7ShDDDbwRLV+CNCdrxo9N4XFYYgq3P1uWW8QUobheQOeWeGDAyu/WpnrhqBzOGAPM9qqSqkhZtKvZETNTj3ul1q7K5B2ZEHi/Lj5nM6iRFLVksyRnsJ3f35IuPfqxfdKzbHWAeBQ8B4zHTZOHZ8x30H8U6CmOPs89p44wuo2KQEp19iX6yaLdHR3aiDs2tpAFossab93fsRoMguijlhnxEBEWHHV3urrUjm788kGUKooLK5lA8rt03dhT3JUfCUnbQL3Eop15yuUS+2XQ+7bCSapbsaPTO/fm+ET8L6b5tmzVCkrCHXaf92dvASlaKu5thfroksR1Ep+02K9fSkSr4LACW0jMtnBtL54+8iaDdcbhbn+XTNkKtpTCzgywrTyWpJ/BPc2dblffyQ0cqbgeY5Qarl0opQd1V8EJhFI3vhsyVOkgg3/9mEbm/V+5Z3KeWQxTi3jQwmzRagWEmrho/x021Ot4Fvm+cS7u6n2QetU/dj/AS5+V4aC/zb06AJmN18wpwArdwl/skD68+ds+kKewCmCswn8Cr2WR6ADM1Pd2yabGdgKhHMHX8SAg63FXUcVrXMQxXVcSo4efQw8YOp3vxUNbsvNhxBrSvzCbudR2/Rd4jtfpZmOw4yeYXuchwTJqJbXTtwZmA4BjjFW+XoVuvwDIsrkHECQLms/D4+YsZUnJSJL3XvO5coqqN4mRccpYWT8HiBoNkd8kRJq1eDLhYBrO7WB9C/Kru30n12WkDLyY49CM6kkN/caAKS+h6S9WBVihVsbysOhgc+Q6aL2+n2KjDE8n7agyuen4iiKgeRekJH7nitE1ks2XDcz8by6MNYdlg9murITssvBbs4pnOVxcOCw/0aBHGuEYNazfxaLC+e7SqW3EG2iZwkQe4f0mLLpigoiBXjVkEow9lZXjPejif0kubo0ia4HwYXRNdeMu6mmtYG62FSiOyJsy1VAl0CGqBQ/EtpG4efg+RogmcX7TCTBtBygY/2YYAzqon9h0LcXXaw6XCs/eBDrYfLrPtnhOeS+Y37827+8wJ+yK/UPgbH2CJabO7QLnruSNdo3GIvAX5/EvqvmzpyLZV2DkGvD+pqswYpDdMCekeHM2NmiahMK8XcJc1huk91wn9wN3Zfr4J5re6w7rJaW3VkUD2vJNbHFUWfO031B0C7pZKFOnjtFzSe3Cww1OmPM7f5kh3kpjKQQkQbsidJGTVyEoqbh1fqcBSQT18pLMXnFJ3pZaNOjcIiVqKVli4XYWyaX0LgWefhnGKm8+GByxd/e9uPrmHnrRj2PK4J/nK/ya3DZABgliis2fv4qbar0/eNXjP1U7Gq/VKF9eaGeWfBRwvQ1OXbHDMCDPTeGOkrdhr7vMYRZAhQaqTD8eVm/TiiZoJlG7x5QXLQmddA8OaU8oVt7pD0bOuqeaL3eVA5DUGqxUoPel/HyhsI72y5a1J0D6m1AO5Q0OOpe++toWrTTSCL8YBNpSHzqOMz4uj0SvfsBHGq27I/bExmx70OjcYM3T8E1d82UMeaUre6cdX2U2WCwfhsvoVa/7Wo4uFkirbkQFXMaHcDeFPQoFvSF1rB6j2c8Dd6CuPFP8MvIxPrT9ZcdwIxbxToQlJuUwziNs79mjshSha52RNSFLvM5FfEDY2AiElng18ViBiYcZu4s32ZfQkDk0/wkvlB0hnrZfAGIma+hnmETdiRk6/htt2+dBMoH5j/1/leQRvCf88pM6yXE0isQKaL5DT/vSBFhvuxT90PfUnZhGjhzNfrrnsVV/KMy6TDqRTbHVXVhf9lyERDwGBdChU4dsNkYwasP00YbBCDeNki6KYEgGCYPP80hZ+Jvs7vWpgCUP5T/DipAyvhojoHd7ic6k0eMJgspiQFFoOXIPwegednt11MR7lKGI0MgQaiFXU9b+G0h0lNwnxg7S7G7NsWxz3QyTvHA/ut1MnCmHufJCUAEiU9lpFiRC1C+XOl4Vto3871J/UBZLtI4+gHPJZLhlChOJo1/cguveZneXfSY+4w6C7UT5usGq1mMhj7SKHPnvqzmftHQ5bduChdNUH0eSSFbwU3iUpfCDFH2JPIDuj9ArhkvirtClOosQKVt06QJAfb0kNMMtz51CigcLNwt877e+Qww3L6EjRS9iSRnfLChF1Ff6Fx06cxyrrDTNF93jRGvre9uVgZFhvDY3t2Dv+195Y1j+6pht/fMfOBTGW2H7vCgpRb6vjjwB9pP9t0aPOTIebUVrlPl+t2ndYDsgDH58whDzzhqau6JHzqM3ckt3dTr64pvDatiNBAxOvouRjyPXi7wzjTia828LPeXpSvXhe/Y4PEzTEmuhOtb/wQ074epzR3Lif+s5lobVYFUfG4+H3Wmf8Y9kfdqp/A+3xYpNqrPHtsniwTYPfXHozFGIU0LXo6pMOyRFMlbA1ae2nTUCi/E1PKZhIl8Qd/ISldDbfY9KDEE33SV4/RbdMeZQJjJUbneTDO5FU7EVVy9vsOU676jg1Q9hjIw1QYBcN2HIs65hH6aZgqWUHODfiqmzRhTAYd/T0JegDLV0g8jm7xeowaF++7AoyUQOOZrXa3fP4oWRr5K/LOfqgDeCVhYfO2GSZaL5eBM/pJU1EljlnfUkxQ7kMwvXa84gWtoGgYcvBtjFw0Jf/TjnvGogQxcti7W9iDLGgPMkw9eGC30TedW+AWYf4Ys2gFctQjZVHzODpuvloJb/h/5aqK38ImnarSgsO3GAr6nsK0XpGYxC3BZGHR4Q/sLc7J4geQw8I1/bL7U4l+Kkhgg0Ls7JNLaGdT309KFAPMxjGKu6zZewLkAe6wsvfShCiKTLleqVA0BgnCDGex4k+r2/yerGmVbSPuPr1WDDNuhZcJxOdpnZXHikM8+My33HEPTjFcYWmlRuaia3KLsX9frlmTB0QzsEUCL1ZgTjXr8Gjqif0kS1NrYRY/NKESCNVtDgY5pfF5eyULxsdL5/WmkZTe9ByzhtZV2Yb1af09tAFCdAEpsG0ewfLDU+n+TBLPl8qeWQDRNiMNxPqKZVMw4uKrWA/pw9RAl7TSg7DYVpPBPoBeOTefdbsJvhKmmx1yunGCDh0FMFB0cYmvfxG/tcTZRobaQ+cE3PwllwiTazLOcxcJw1FnR2eXfFvNaafUOybPGYRd1gfYAQwHaZE2eASbwkkkOkuZio0DhMxs7hda1oyW2ublrNIipU51IZndKiQ7ezqYCir2HxZVH0fvuvt7RiuyGYBi+bMZpaDm/prVF5pTDT11NAxqi95Xv2QgtqQVajySISVbThWQKKeGaKZx71U9ufXPT2E1naRqHrYyhW+Q2fo9o8MCRY5DDW+fCzaC0XlEevlIbLy+/YmyWhaqKxHrCtZEPSba71kYchxxX6zkDrsZ9OAzoM4C2N0ahR+bUvYBVVr+QC4b+0shrEF4fd454formG+NxZlXfdGkmuDjf1nnTSyOQDR7slsO166pJiSaLK2UDunbHj2O0lLG/I1mGEfgS4dQQ4WIvF30i1K/7WePryaROHdETe7J6xWMYCGSwFY+f1SOYKd4I9rRgprMC2RzRCo9Lk2ddB3acqEbXQaCQH9GXH/+zEn6ImkEyS4gSIqP2BKmhbSWwEUzpbQpLulL1HDqNk0v37wNOXlbppwb8SZ5riRuds8PChSIEoIaauIUKTYh7uR8nNLstn5Yluu097/RtXissFfpR6/t7w1HmrgXEDh4ifxRSMXEvP269hGIDXy4YXi0kN0eXz7QT0B6zCDS18pYdGgiWNX5aYpmmCFq7GBdPWxiMnKbmuYDQ+kIpackgXOF9Dtl5e3WrKNGePCo6ox1vqsf1CvaWNksM5XY9J3mGfeu6D1qvNPIY2Bz9OuScSmfMDJ2NxTZtweg7ECdw37gf4dAjdHaxlRVssDTuDv0PuhO800ErycWct+EPH3+UtE4xF7T0Uba3JJgZw5fN4zttcR+ODOg4M+ziBSGOybCXm7zJQ+xtBbnWjK7cmf+x4Z9MN2bbJErn7Zwmg5iMCxDreY2X82Jyxtu74ev0gvVk6NCMpnlgukkk9V6mwFvJyjLLRWdcESG+6/bM95LWnPbH1BNM9adQt4Q6TCqGEb4Psgi90rLeK/jU4W9mN9n0RlZiZR2fxL5b2PLo3NyiEaQZkeo9USjjEX38WiQVZmS4BXFol9KlPoCc+qYcTqQUL9lItInPYVwlch3CSyl7WyeuGvNa/KMV06pstJNy4D3VDfuzFDvfTgvCtw5hSvebdGnc6W9gXBeRq8YcsH67N2iL9vhp1IG7hJ8yYeS2h/VlDc1jTOMjj6K11BDNAz7IeuWiiuVgKdSarbPYpj5XnkFW+5WL4GhadWEvPTisaINBzhOPf6JdDNxUyv+C3JfJo4vEgcrJtVSnmHOdoXQ6I3qQ++a8RhDq6x+PoU8RawC9arcumVGMSq/tPJVjSJtE8Z3+DzqYlKFrIJ05kX/kymkGWIuBNbhX+4KmQYVgAA/6slqy0e1kYmOTnWzpE1eKCplTDgbJSRZZWz3svs1eilq2opYKLYsU/YBDPzsVBT308aEIK0qAhep8MtAjW5JIh7hHGv2T0a9JynwdumaDr+HW2l7zs7TGtRWZZvcQI0Dho4AjhwCS8ROuo+IJec8x2+71a4VLSh5c509ybYS1EcJ8WF/mR4uNzKmio/MapmZZygjYeT9Zuk8v9bXymoXt6Q8l7Uh3UUUwe+CE5N3ojzB0npQPmGEMnwBnSMcwI4JBvPJ4cwID3/UFPRmsgYSLYn8Wf/fOXs+AHhXhs/Q7EnrC/p43as/Ipd1b023d39aYPk5zgd3yeHBC9PhAxg9qpoDDcv03trtuAfn67g9RcrD10EwgeZ3YJa21o9oYvF4trQhKvZ9iQUveOn7Shc/It5zJGqSUd//ERnzGuoW8OLCW+39a05p8JpH38wxy7jF1Zry5M1gORnc3KtqUvB2boLuDDjzrlGZ6k8PvmuWnlJj3Uh3/hDghBKHPg+5hs+2Qkjd4XrqtQXu1n5LDatmS4Ji+LBlePovGhKbtnUpns3IeOJdFt1cHoHuea4ZqYN15Ql+yGCmoJfn5dor1jiqv5QZnt5TvB8ptyDkLaVbFR9NaE3hmgZEgQKKG85gPzwzus9ot3sKCcIkoFZgf+okdIdQQrFlnKx3wTljN5UJ4PzQcchMBz7Cecf/pX3Jq5eC0aZny2o+voqJSX0k9qP/tI5QiZ/JXYUX3OFkD1w+N22y/C29no46sMEP7OpT8/eYx+w0rKachEIRVOh6xcc0fQh87DP2rlFsmJ+XEVOzyNl4FK7Od60weZbvkC1oUJwSb9thjOHBVYrC1TuufNOVxtBodnCxAJXmdD11sx/FgWqyhOPmbMAfAOD34wR5t9BWaaoJzVYfb7dGLin8Y0X/jSu4VMoRJl9Bb3VrUfPws8lekk8Sygi3jTWHvJvgocZ0y+wC9h9THaa7vOouN0pRuNaBVDoSzQqwLPLW6rVLgTPqsgeTghJdZ+TUQdhD1Vy7KqKLISKZp2yrLvx0/7Bw6cNQdyM0CwEG7bl5Zi71X/jmsEux3Lt2IBwPjNAUytQAM2rLshS5gHlzLkOmWeWTQqpyRK1DggtMiMUj02PhOhPR1xD4K9dQh2Lh+LHZUP0xK9Su2oo8g29cH3QusD1ATJzvhM8F1CRs1JnA68Nso8lbhD7XadwRBWTNJsbY9e0UI3Mc8wWM8q5brKx3LOB6+HWjad+RgdSOQi0HT5Wnf0YqmE4PW2ejof59DPYOLrtDasoenEaQyAmM9H4/VWg8HL5Kh69UCsy+ftaDNAAOgNZ0y6bSulfj1ibMxbL2BDmD1azRVW5PQOrYDOfOU7OQoGPrqEkFQKQ4hWwUC/Hz0BtF1/IOH3fdViF3s5PQoL0p+Mh3kKp1BZsO/NlzQO/tqvTQ2BPbIu7+V/V51mPfitXyyAlvRaJu4HW4w4DDhc3i3LAbFQjkxqyNz/f33g1HGmtgLI4t7GhcpOnUrnYl/zJHI5shoMzPdJAI836AWLe1qIscjHf3GQKTDM2mL9/+S16mrGJYhRysxMF+lmzafwbJ/60BGFtjIv8nLWwuyhnUORB+KLSd3/ei913Dt/iZL49UGKjVhQcD3LZkuY0MaKzWZJlsxDgJmkC4gcQBotinRkHrdNcDNc+6m0iSwglecZzk0WK6c8OStxMmgqFByIJNkezj911qcsasS4QWfaLzLvhTtbxiwCZ0kXNSNSYv1d4WX20G7P6GamZrjm6PuS/rLeY40UmBnjNDP+v5l0b++vFSCOyglmeL1r+sO9yrGvJPYD5iUJ6izYLFEpys7gea8hijqwMayqcoXCBq0CnEsrJ15OYv6CI3ULRHdmhYb+zioVgrq4anC3xjt+3oZPfEDh5sUOFtIfJ17PpTmGNbNtKsHdcIXFAcuGfQ0Pe7MWTYSwQam9EdA2xxzUqzbRSAWNzHyEF/FcZIgnpJFUVKeGp5bJxuEIsP4sG/rp5Cc52cKGLfYBpZdDaztnBBlXNUIxMAlvKHy2HgozsJt/DJyTyZjxf1WT2+kb4worSzJ63HwFFuc5OwRbPHJETcRT3IMhVxjbuniNDOa22R84cmNIpjLK+AzyW6E9/jgMXV9ce/ZpNoPG54NkTgDNzeECfHgCVZmo4l7fR9K3NESbuBgDdmVj0JvwDvoMUHjpoSoTxi4udjwopzRbwKnfAcNJ7IGynDAK63eU5xh7K7In8yulLJBTn1usP7Oj/eDCDlNQ6MtYofHB9x7p6ypVvthAXCl3rJmBTiCRI9sD553gWSw/iChnCgjgJszOMDUvXsF/alPV90MqmQWWxnV6vLdCMRNVLTClq8AAQCJEkfW69I1Q/4AhxeHxUG7sywGiAlSZU4/8x6Rj82pAO2JclSIhFTd9EMrfQu4cbh9P7heCwmXNAH3M6Tp1t3n8qyub47wZ84D8u/gK2FLPumOF5QQ6Y4N1uXVRK0sUE2ainxSJX6fIbB6rmLGf0J8mcH8Czfe8+Wwff3SXeH1hncPEu5sKhuaqGMKAMC2Vpe54mus8ulw">
            <a:extLst>
              <a:ext uri="{FF2B5EF4-FFF2-40B4-BE49-F238E27FC236}">
                <a16:creationId xmlns:a16="http://schemas.microsoft.com/office/drawing/2014/main" id="{8B4C8C31-82B0-B7A5-701D-FB67D7B32FCC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370804" y="1331835"/>
            <a:ext cx="9335230" cy="4991253"/>
          </a:xfrm>
          <a:prstGeom prst="rect">
            <a:avLst/>
          </a:prstGeom>
          <a:blipFill>
            <a:blip r:embed="rId40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57A5469D-763C-4F8A-9F70-2C927AC8F0E2}"/>
              </a:ext>
            </a:extLst>
          </p:cNvPr>
          <p:cNvGrpSpPr/>
          <p:nvPr/>
        </p:nvGrpSpPr>
        <p:grpSpPr>
          <a:xfrm>
            <a:off x="9987814" y="5367447"/>
            <a:ext cx="1850593" cy="672622"/>
            <a:chOff x="9998547" y="2171701"/>
            <a:chExt cx="1850593" cy="672622"/>
          </a:xfrm>
        </p:grpSpPr>
        <p:sp>
          <p:nvSpPr>
            <p:cNvPr id="88" name="Rounded Rectangle 7">
              <a:extLst>
                <a:ext uri="{FF2B5EF4-FFF2-40B4-BE49-F238E27FC236}">
                  <a16:creationId xmlns:a16="http://schemas.microsoft.com/office/drawing/2014/main" id="{058CB774-447B-4B98-9D42-9C838ABB3E4E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 bwMode="gray">
            <a:xfrm>
              <a:off x="10007560" y="2192245"/>
              <a:ext cx="408304" cy="333733"/>
            </a:xfrm>
            <a:custGeom>
              <a:avLst/>
              <a:gdLst>
                <a:gd name="connsiteX0" fmla="*/ 665548 w 795234"/>
                <a:gd name="connsiteY0" fmla="*/ 778101 h 778101"/>
                <a:gd name="connsiteX1" fmla="*/ 129686 w 795234"/>
                <a:gd name="connsiteY1" fmla="*/ 778101 h 778101"/>
                <a:gd name="connsiteX2" fmla="*/ 0 w 795234"/>
                <a:gd name="connsiteY2" fmla="*/ 648415 h 778101"/>
                <a:gd name="connsiteX3" fmla="*/ 0 w 795234"/>
                <a:gd name="connsiteY3" fmla="*/ 129686 h 778101"/>
                <a:gd name="connsiteX4" fmla="*/ 129686 w 795234"/>
                <a:gd name="connsiteY4" fmla="*/ 0 h 778101"/>
                <a:gd name="connsiteX5" fmla="*/ 665548 w 795234"/>
                <a:gd name="connsiteY5" fmla="*/ 0 h 778101"/>
                <a:gd name="connsiteX6" fmla="*/ 795234 w 795234"/>
                <a:gd name="connsiteY6" fmla="*/ 129686 h 778101"/>
                <a:gd name="connsiteX7" fmla="*/ 788986 w 795234"/>
                <a:gd name="connsiteY7" fmla="*/ 474662 h 778101"/>
                <a:gd name="connsiteX8" fmla="*/ 795234 w 795234"/>
                <a:gd name="connsiteY8" fmla="*/ 648415 h 77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234" h="778101">
                  <a:moveTo>
                    <a:pt x="665548" y="778101"/>
                  </a:moveTo>
                  <a:lnTo>
                    <a:pt x="129686" y="778101"/>
                  </a:lnTo>
                  <a:cubicBezTo>
                    <a:pt x="58062" y="778101"/>
                    <a:pt x="0" y="720039"/>
                    <a:pt x="0" y="648415"/>
                  </a:cubicBezTo>
                  <a:lnTo>
                    <a:pt x="0" y="129686"/>
                  </a:lnTo>
                  <a:cubicBezTo>
                    <a:pt x="0" y="58062"/>
                    <a:pt x="58062" y="0"/>
                    <a:pt x="129686" y="0"/>
                  </a:cubicBezTo>
                  <a:lnTo>
                    <a:pt x="665548" y="0"/>
                  </a:lnTo>
                  <a:cubicBezTo>
                    <a:pt x="737172" y="0"/>
                    <a:pt x="795234" y="58062"/>
                    <a:pt x="795234" y="129686"/>
                  </a:cubicBezTo>
                  <a:lnTo>
                    <a:pt x="788986" y="474662"/>
                  </a:lnTo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rgbClr val="858585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9" name="Graphic 88" descr="Laptop">
              <a:extLst>
                <a:ext uri="{FF2B5EF4-FFF2-40B4-BE49-F238E27FC236}">
                  <a16:creationId xmlns:a16="http://schemas.microsoft.com/office/drawing/2014/main" id="{A3A51766-71B4-4DC5-8CD5-04906E654E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10042010" y="2171701"/>
              <a:ext cx="339600" cy="339600"/>
            </a:xfrm>
            <a:prstGeom prst="rect">
              <a:avLst/>
            </a:prstGeom>
          </p:spPr>
        </p:pic>
        <p:sp>
          <p:nvSpPr>
            <p:cNvPr id="91" name="Rounded Rectangle 84">
              <a:extLst>
                <a:ext uri="{FF2B5EF4-FFF2-40B4-BE49-F238E27FC236}">
                  <a16:creationId xmlns:a16="http://schemas.microsoft.com/office/drawing/2014/main" id="{BBFE6892-4F08-41F2-940F-CADF06A31F69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 bwMode="gray">
            <a:xfrm>
              <a:off x="10042707" y="2198517"/>
              <a:ext cx="344474" cy="344474"/>
            </a:xfrm>
            <a:prstGeom prst="roundRect">
              <a:avLst/>
            </a:prstGeom>
            <a:solidFill>
              <a:srgbClr val="333333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63447BCE-D4FF-499E-8FA2-97AD20CCD18E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 bwMode="gray">
            <a:xfrm>
              <a:off x="9998547" y="2545129"/>
              <a:ext cx="1775571" cy="29919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to body technician, Body repair technician etc.</a:t>
              </a:r>
            </a:p>
          </p:txBody>
        </p: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0C4F23C7-2009-4FB5-B5F0-67A78E675C80}"/>
                </a:ext>
              </a:extLst>
            </p:cNvPr>
            <p:cNvCxnSpPr>
              <a:cxnSpLocks/>
            </p:cNvCxnSpPr>
            <p:nvPr>
              <p:custDataLst>
                <p:tags r:id="rId36"/>
              </p:custDataLst>
            </p:nvPr>
          </p:nvCxnSpPr>
          <p:spPr bwMode="gray">
            <a:xfrm>
              <a:off x="10020855" y="2570559"/>
              <a:ext cx="1828285" cy="0"/>
            </a:xfrm>
            <a:prstGeom prst="line">
              <a:avLst/>
            </a:prstGeom>
            <a:ln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btfpQuoteBox867437">
              <a:extLst>
                <a:ext uri="{FF2B5EF4-FFF2-40B4-BE49-F238E27FC236}">
                  <a16:creationId xmlns:a16="http://schemas.microsoft.com/office/drawing/2014/main" id="{BA426D13-C743-4D27-9B6B-962313226942}"/>
                </a:ext>
              </a:extLst>
            </p:cNvPr>
            <p:cNvSpPr txBox="1"/>
            <p:nvPr>
              <p:custDataLst>
                <p:tags r:id="rId37"/>
              </p:custDataLst>
            </p:nvPr>
          </p:nvSpPr>
          <p:spPr bwMode="gray">
            <a:xfrm>
              <a:off x="10395125" y="2209749"/>
              <a:ext cx="1410959" cy="25744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t">
              <a:spAutoFit/>
            </a:bodyPr>
            <a:lstStyle/>
            <a:p>
              <a:pPr marL="60325" marR="0" lvl="0" indent="-60325" algn="l" defTabSz="711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rPr>
                <a:t>Autobody tech.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DA07D1EB-5EB2-489F-BF8A-9ABC2CE1CC87}"/>
              </a:ext>
            </a:extLst>
          </p:cNvPr>
          <p:cNvGrpSpPr/>
          <p:nvPr/>
        </p:nvGrpSpPr>
        <p:grpSpPr>
          <a:xfrm>
            <a:off x="9982201" y="1512059"/>
            <a:ext cx="1889872" cy="787015"/>
            <a:chOff x="9982201" y="4567879"/>
            <a:chExt cx="1889872" cy="787015"/>
          </a:xfrm>
        </p:grpSpPr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D77A4DD6-D20C-4ED0-B41D-D4A2C07AE738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9992474" y="5012688"/>
              <a:ext cx="1879599" cy="34220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lvl="0" indent="0">
                <a:buNone/>
                <a:defRPr/>
              </a:pPr>
              <a:r>
                <a:rPr kumimoji="0" lang="en-US" sz="9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to </a:t>
              </a:r>
              <a:r>
                <a:rPr lang="en-US" sz="900" i="1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/>
                </a:rPr>
                <a:t>glass technicians, auto glass installers etc.</a:t>
              </a:r>
              <a:endPara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86CDBF5D-0584-4F31-AEDF-9929AC8FA32D}"/>
                </a:ext>
              </a:extLst>
            </p:cNvPr>
            <p:cNvCxnSpPr>
              <a:cxnSpLocks/>
            </p:cNvCxnSpPr>
            <p:nvPr>
              <p:custDataLst>
                <p:tags r:id="rId29"/>
              </p:custDataLst>
            </p:nvPr>
          </p:nvCxnSpPr>
          <p:spPr bwMode="gray">
            <a:xfrm>
              <a:off x="10014782" y="5014993"/>
              <a:ext cx="1842256" cy="0"/>
            </a:xfrm>
            <a:prstGeom prst="line">
              <a:avLst/>
            </a:prstGeom>
            <a:ln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9" name="btfpQuoteBox867437">
              <a:extLst>
                <a:ext uri="{FF2B5EF4-FFF2-40B4-BE49-F238E27FC236}">
                  <a16:creationId xmlns:a16="http://schemas.microsoft.com/office/drawing/2014/main" id="{8B8EA533-BB25-4C1B-88FB-5EC23347A95D}"/>
                </a:ext>
              </a:extLst>
            </p:cNvPr>
            <p:cNvSpPr txBox="1"/>
            <p:nvPr>
              <p:custDataLst>
                <p:tags r:id="rId30"/>
              </p:custDataLst>
            </p:nvPr>
          </p:nvSpPr>
          <p:spPr bwMode="gray">
            <a:xfrm>
              <a:off x="10421456" y="4639897"/>
              <a:ext cx="1409288" cy="25744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t">
              <a:spAutoFit/>
            </a:bodyPr>
            <a:lstStyle/>
            <a:p>
              <a:pPr marL="60325" lvl="0" indent="-60325">
                <a:spcBef>
                  <a:spcPts val="600"/>
                </a:spcBef>
                <a:buNone/>
                <a:defRPr/>
              </a:pPr>
              <a:r>
                <a:rPr lang="en-US" sz="1200" b="1">
                  <a:solidFill>
                    <a:srgbClr val="46647B"/>
                  </a:solidFill>
                </a:rPr>
                <a:t>Glass Technician</a:t>
              </a:r>
            </a:p>
          </p:txBody>
        </p:sp>
        <p:sp>
          <p:nvSpPr>
            <p:cNvPr id="180" name="Rounded Rectangle 7">
              <a:extLst>
                <a:ext uri="{FF2B5EF4-FFF2-40B4-BE49-F238E27FC236}">
                  <a16:creationId xmlns:a16="http://schemas.microsoft.com/office/drawing/2014/main" id="{73EA79A9-B283-4F0F-B169-335F1860083E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 bwMode="gray">
            <a:xfrm>
              <a:off x="9982201" y="4567879"/>
              <a:ext cx="437490" cy="428064"/>
            </a:xfrm>
            <a:custGeom>
              <a:avLst/>
              <a:gdLst>
                <a:gd name="connsiteX0" fmla="*/ 665548 w 795234"/>
                <a:gd name="connsiteY0" fmla="*/ 778101 h 778101"/>
                <a:gd name="connsiteX1" fmla="*/ 129686 w 795234"/>
                <a:gd name="connsiteY1" fmla="*/ 778101 h 778101"/>
                <a:gd name="connsiteX2" fmla="*/ 0 w 795234"/>
                <a:gd name="connsiteY2" fmla="*/ 648415 h 778101"/>
                <a:gd name="connsiteX3" fmla="*/ 0 w 795234"/>
                <a:gd name="connsiteY3" fmla="*/ 129686 h 778101"/>
                <a:gd name="connsiteX4" fmla="*/ 129686 w 795234"/>
                <a:gd name="connsiteY4" fmla="*/ 0 h 778101"/>
                <a:gd name="connsiteX5" fmla="*/ 665548 w 795234"/>
                <a:gd name="connsiteY5" fmla="*/ 0 h 778101"/>
                <a:gd name="connsiteX6" fmla="*/ 795234 w 795234"/>
                <a:gd name="connsiteY6" fmla="*/ 129686 h 778101"/>
                <a:gd name="connsiteX7" fmla="*/ 788986 w 795234"/>
                <a:gd name="connsiteY7" fmla="*/ 474662 h 778101"/>
                <a:gd name="connsiteX8" fmla="*/ 795234 w 795234"/>
                <a:gd name="connsiteY8" fmla="*/ 648415 h 77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234" h="778101">
                  <a:moveTo>
                    <a:pt x="665548" y="778101"/>
                  </a:moveTo>
                  <a:lnTo>
                    <a:pt x="129686" y="778101"/>
                  </a:lnTo>
                  <a:cubicBezTo>
                    <a:pt x="58062" y="778101"/>
                    <a:pt x="0" y="720039"/>
                    <a:pt x="0" y="648415"/>
                  </a:cubicBezTo>
                  <a:lnTo>
                    <a:pt x="0" y="129686"/>
                  </a:lnTo>
                  <a:cubicBezTo>
                    <a:pt x="0" y="58062"/>
                    <a:pt x="58062" y="0"/>
                    <a:pt x="129686" y="0"/>
                  </a:cubicBezTo>
                  <a:lnTo>
                    <a:pt x="665548" y="0"/>
                  </a:lnTo>
                  <a:cubicBezTo>
                    <a:pt x="737172" y="0"/>
                    <a:pt x="795234" y="58062"/>
                    <a:pt x="795234" y="129686"/>
                  </a:cubicBezTo>
                  <a:lnTo>
                    <a:pt x="788986" y="474662"/>
                  </a:lnTo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rgbClr val="2D475A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1" name="Rounded Rectangle 84">
              <a:extLst>
                <a:ext uri="{FF2B5EF4-FFF2-40B4-BE49-F238E27FC236}">
                  <a16:creationId xmlns:a16="http://schemas.microsoft.com/office/drawing/2014/main" id="{36CCBEF9-C190-4F5E-9D40-3455E136AAAC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 bwMode="gray">
            <a:xfrm>
              <a:off x="10028709" y="4631629"/>
              <a:ext cx="344474" cy="344474"/>
            </a:xfrm>
            <a:prstGeom prst="roundRect">
              <a:avLst/>
            </a:prstGeom>
            <a:solidFill>
              <a:srgbClr val="46647B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7686EE99-2036-4A9E-B0E7-6428F2E5BE9E}"/>
              </a:ext>
            </a:extLst>
          </p:cNvPr>
          <p:cNvGrpSpPr/>
          <p:nvPr/>
        </p:nvGrpSpPr>
        <p:grpSpPr>
          <a:xfrm>
            <a:off x="9986964" y="3768931"/>
            <a:ext cx="1900341" cy="749043"/>
            <a:chOff x="9986964" y="3768267"/>
            <a:chExt cx="1900341" cy="749043"/>
          </a:xfrm>
        </p:grpSpPr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8074E352-002D-457C-BCDF-672CFADC3933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gray">
            <a:xfrm>
              <a:off x="9997237" y="4164771"/>
              <a:ext cx="1775571" cy="35253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i="1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/>
                </a:rPr>
                <a:t>Painter helper, automotive painter, paint technician etc.</a:t>
              </a:r>
              <a:endParaRPr kumimoji="0" lang="en-US" sz="900" b="0" i="1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0" name="btfpQuoteBox867437">
              <a:extLst>
                <a:ext uri="{FF2B5EF4-FFF2-40B4-BE49-F238E27FC236}">
                  <a16:creationId xmlns:a16="http://schemas.microsoft.com/office/drawing/2014/main" id="{B12A0917-10BA-41D2-9FF7-10A5AEBE5F7B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10436356" y="3816681"/>
              <a:ext cx="1450949" cy="25744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</a:ln>
          </p:spPr>
          <p:txBody>
            <a:bodyPr vert="horz" wrap="square" lIns="36036" tIns="36036" rIns="36036" bIns="36036" rtlCol="0" anchor="t">
              <a:spAutoFit/>
            </a:bodyPr>
            <a:lstStyle/>
            <a:p>
              <a:pPr marL="60325" marR="0" lvl="0" indent="-60325" algn="l" defTabSz="711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85858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inter</a:t>
              </a:r>
            </a:p>
          </p:txBody>
        </p:sp>
        <p:sp>
          <p:nvSpPr>
            <p:cNvPr id="131" name="Rounded Rectangle 7">
              <a:extLst>
                <a:ext uri="{FF2B5EF4-FFF2-40B4-BE49-F238E27FC236}">
                  <a16:creationId xmlns:a16="http://schemas.microsoft.com/office/drawing/2014/main" id="{36512D6E-A83A-4018-A188-04BBC5AA0457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 bwMode="gray">
            <a:xfrm>
              <a:off x="9986964" y="3768267"/>
              <a:ext cx="437490" cy="428064"/>
            </a:xfrm>
            <a:custGeom>
              <a:avLst/>
              <a:gdLst>
                <a:gd name="connsiteX0" fmla="*/ 665548 w 795234"/>
                <a:gd name="connsiteY0" fmla="*/ 778101 h 778101"/>
                <a:gd name="connsiteX1" fmla="*/ 129686 w 795234"/>
                <a:gd name="connsiteY1" fmla="*/ 778101 h 778101"/>
                <a:gd name="connsiteX2" fmla="*/ 0 w 795234"/>
                <a:gd name="connsiteY2" fmla="*/ 648415 h 778101"/>
                <a:gd name="connsiteX3" fmla="*/ 0 w 795234"/>
                <a:gd name="connsiteY3" fmla="*/ 129686 h 778101"/>
                <a:gd name="connsiteX4" fmla="*/ 129686 w 795234"/>
                <a:gd name="connsiteY4" fmla="*/ 0 h 778101"/>
                <a:gd name="connsiteX5" fmla="*/ 665548 w 795234"/>
                <a:gd name="connsiteY5" fmla="*/ 0 h 778101"/>
                <a:gd name="connsiteX6" fmla="*/ 795234 w 795234"/>
                <a:gd name="connsiteY6" fmla="*/ 129686 h 778101"/>
                <a:gd name="connsiteX7" fmla="*/ 788986 w 795234"/>
                <a:gd name="connsiteY7" fmla="*/ 474662 h 778101"/>
                <a:gd name="connsiteX8" fmla="*/ 795234 w 795234"/>
                <a:gd name="connsiteY8" fmla="*/ 648415 h 77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234" h="778101">
                  <a:moveTo>
                    <a:pt x="665548" y="778101"/>
                  </a:moveTo>
                  <a:lnTo>
                    <a:pt x="129686" y="778101"/>
                  </a:lnTo>
                  <a:cubicBezTo>
                    <a:pt x="58062" y="778101"/>
                    <a:pt x="0" y="720039"/>
                    <a:pt x="0" y="648415"/>
                  </a:cubicBezTo>
                  <a:lnTo>
                    <a:pt x="0" y="129686"/>
                  </a:lnTo>
                  <a:cubicBezTo>
                    <a:pt x="0" y="58062"/>
                    <a:pt x="58062" y="0"/>
                    <a:pt x="129686" y="0"/>
                  </a:cubicBezTo>
                  <a:lnTo>
                    <a:pt x="665548" y="0"/>
                  </a:lnTo>
                  <a:cubicBezTo>
                    <a:pt x="737172" y="0"/>
                    <a:pt x="795234" y="58062"/>
                    <a:pt x="795234" y="129686"/>
                  </a:cubicBezTo>
                  <a:lnTo>
                    <a:pt x="788986" y="474662"/>
                  </a:lnTo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rgbClr val="858585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FD040DDB-E685-400A-8635-E17D7ADCC84A}"/>
                </a:ext>
              </a:extLst>
            </p:cNvPr>
            <p:cNvCxnSpPr>
              <a:cxnSpLocks/>
            </p:cNvCxnSpPr>
            <p:nvPr>
              <p:custDataLst>
                <p:tags r:id="rId26"/>
              </p:custDataLst>
            </p:nvPr>
          </p:nvCxnSpPr>
          <p:spPr bwMode="gray">
            <a:xfrm>
              <a:off x="10019545" y="4201784"/>
              <a:ext cx="1837493" cy="0"/>
            </a:xfrm>
            <a:prstGeom prst="line">
              <a:avLst/>
            </a:prstGeom>
            <a:ln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4" name="Rounded Rectangle 84">
              <a:extLst>
                <a:ext uri="{FF2B5EF4-FFF2-40B4-BE49-F238E27FC236}">
                  <a16:creationId xmlns:a16="http://schemas.microsoft.com/office/drawing/2014/main" id="{8D3D456E-4C8D-4AD6-ABB8-99B53434E129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 bwMode="gray">
            <a:xfrm>
              <a:off x="10033472" y="3811531"/>
              <a:ext cx="344474" cy="344474"/>
            </a:xfrm>
            <a:prstGeom prst="roundRect">
              <a:avLst/>
            </a:prstGeom>
            <a:solidFill>
              <a:srgbClr val="858585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btfpColumnIndicatorGroup2">
            <a:extLst>
              <a:ext uri="{FF2B5EF4-FFF2-40B4-BE49-F238E27FC236}">
                <a16:creationId xmlns:a16="http://schemas.microsoft.com/office/drawing/2014/main" id="{C5225C72-BB77-42F2-BF51-E29AC414DB8B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2" name="btfpColumnGapBlocker909650">
              <a:extLst>
                <a:ext uri="{FF2B5EF4-FFF2-40B4-BE49-F238E27FC236}">
                  <a16:creationId xmlns:a16="http://schemas.microsoft.com/office/drawing/2014/main" id="{D19BB9DA-F198-40AC-BE2F-FC41BF81A1E5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9" name="btfpColumnGapBlocker386074">
              <a:extLst>
                <a:ext uri="{FF2B5EF4-FFF2-40B4-BE49-F238E27FC236}">
                  <a16:creationId xmlns:a16="http://schemas.microsoft.com/office/drawing/2014/main" id="{95EB0244-7FCB-484C-9E70-A90508EA27F9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btfpColumnIndicator702680">
              <a:extLst>
                <a:ext uri="{FF2B5EF4-FFF2-40B4-BE49-F238E27FC236}">
                  <a16:creationId xmlns:a16="http://schemas.microsoft.com/office/drawing/2014/main" id="{B370FAD6-DA6F-4ED2-8EAC-CA352848C5D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btfpColumnIndicator960731">
              <a:extLst>
                <a:ext uri="{FF2B5EF4-FFF2-40B4-BE49-F238E27FC236}">
                  <a16:creationId xmlns:a16="http://schemas.microsoft.com/office/drawing/2014/main" id="{306378FD-C2FE-4A3A-8B7F-4C6F670F16F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btfpColumnIndicatorGroup1">
            <a:extLst>
              <a:ext uri="{FF2B5EF4-FFF2-40B4-BE49-F238E27FC236}">
                <a16:creationId xmlns:a16="http://schemas.microsoft.com/office/drawing/2014/main" id="{BD715B82-1AF2-41B3-B33C-1FB7379F5F2B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1" name="btfpColumnGapBlocker501994">
              <a:extLst>
                <a:ext uri="{FF2B5EF4-FFF2-40B4-BE49-F238E27FC236}">
                  <a16:creationId xmlns:a16="http://schemas.microsoft.com/office/drawing/2014/main" id="{B0D9D649-C3AC-42AC-95FB-73830CD68B02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8" name="btfpColumnGapBlocker628722">
              <a:extLst>
                <a:ext uri="{FF2B5EF4-FFF2-40B4-BE49-F238E27FC236}">
                  <a16:creationId xmlns:a16="http://schemas.microsoft.com/office/drawing/2014/main" id="{B6098F3E-DB7E-40CD-A93D-E34066431E3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6" name="btfpColumnIndicator497951">
              <a:extLst>
                <a:ext uri="{FF2B5EF4-FFF2-40B4-BE49-F238E27FC236}">
                  <a16:creationId xmlns:a16="http://schemas.microsoft.com/office/drawing/2014/main" id="{026FF3CE-CE7A-4E40-B57D-DBE03436C576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btfpColumnIndicator525811">
              <a:extLst>
                <a:ext uri="{FF2B5EF4-FFF2-40B4-BE49-F238E27FC236}">
                  <a16:creationId xmlns:a16="http://schemas.microsoft.com/office/drawing/2014/main" id="{AC8CA927-8F53-4AD0-AE86-BCC425C23FE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3" name="btfpNotesBox983380">
            <a:extLst>
              <a:ext uri="{FF2B5EF4-FFF2-40B4-BE49-F238E27FC236}">
                <a16:creationId xmlns:a16="http://schemas.microsoft.com/office/drawing/2014/main" id="{6A160EDA-59F8-4199-BB4A-E4C88FE781B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315437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Others include generic titles such as car washers, technical assistants etc.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lang="en-US" sz="800" dirty="0"/>
              <a:t>Aura, Bain analysis</a:t>
            </a:r>
          </a:p>
        </p:txBody>
      </p:sp>
      <p:sp>
        <p:nvSpPr>
          <p:cNvPr id="10" name="BainBulletsConfiguration" hidden="1"/>
          <p:cNvSpPr txBox="1"/>
          <p:nvPr/>
        </p:nvSpPr>
        <p:spPr>
          <a:xfrm>
            <a:off x="2022053" y="314726"/>
            <a:ext cx="7464126" cy="107722"/>
          </a:xfrm>
          <a:prstGeom prst="rect">
            <a:avLst/>
          </a:prstGeom>
          <a:noFill/>
        </p:spPr>
        <p:txBody>
          <a:bodyPr vert="horz" wrap="square" lIns="38387" rIns="38387" rtlCol="0">
            <a:spAutoFit/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_84 34_84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</p:spPr>
        <p:txBody>
          <a:bodyPr/>
          <a:lstStyle/>
          <a:p>
            <a:r>
              <a:rPr lang="en-US" dirty="0"/>
              <a:t>Auto body technician related roles constitute majority of the total technician/ field related job postings across most players followed by detailers and painters</a:t>
            </a:r>
          </a:p>
        </p:txBody>
      </p:sp>
      <p:sp>
        <p:nvSpPr>
          <p:cNvPr id="2" name="btfpLayoutConfig" hidden="1"/>
          <p:cNvSpPr txBox="1"/>
          <p:nvPr/>
        </p:nvSpPr>
        <p:spPr bwMode="gray">
          <a:xfrm>
            <a:off x="12700" y="12700"/>
            <a:ext cx="883823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ll_1_131720720489856601 columns_1_131921092878906898 25_1_131920958030844627 28_1_132390896554051139 18_1_132390896554051139 </a:t>
            </a:r>
          </a:p>
        </p:txBody>
      </p:sp>
      <p:grpSp>
        <p:nvGrpSpPr>
          <p:cNvPr id="18" name="btfpStatusSticker443151"/>
          <p:cNvGrpSpPr/>
          <p:nvPr>
            <p:custDataLst>
              <p:tags r:id="rId4"/>
            </p:custDataLst>
          </p:nvPr>
        </p:nvGrpSpPr>
        <p:grpSpPr>
          <a:xfrm>
            <a:off x="10102664" y="955344"/>
            <a:ext cx="1759136" cy="235611"/>
            <a:chOff x="10102664" y="955344"/>
            <a:chExt cx="1759136" cy="235611"/>
          </a:xfrm>
        </p:grpSpPr>
        <p:sp>
          <p:nvSpPr>
            <p:cNvPr id="20" name="btfpStatusStickerText443151"/>
            <p:cNvSpPr txBox="1"/>
            <p:nvPr/>
          </p:nvSpPr>
          <p:spPr bwMode="gray">
            <a:xfrm>
              <a:off x="10102664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rectional</a:t>
              </a:r>
            </a:p>
          </p:txBody>
        </p:sp>
        <p:cxnSp>
          <p:nvCxnSpPr>
            <p:cNvPr id="30" name="btfpStatusStickerLine443151"/>
            <p:cNvCxnSpPr/>
            <p:nvPr/>
          </p:nvCxnSpPr>
          <p:spPr bwMode="gray">
            <a:xfrm rot="720000" flipH="1">
              <a:off x="10102664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5" name="btfpRunningAgenda2Level228391">
            <a:extLst>
              <a:ext uri="{FF2B5EF4-FFF2-40B4-BE49-F238E27FC236}">
                <a16:creationId xmlns:a16="http://schemas.microsoft.com/office/drawing/2014/main" id="{F5FF1139-D908-4901-BA52-218C0A444779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" y="944429"/>
            <a:ext cx="4743985" cy="257442"/>
            <a:chOff x="0" y="876300"/>
            <a:chExt cx="4743985" cy="257442"/>
          </a:xfrm>
        </p:grpSpPr>
        <p:sp>
          <p:nvSpPr>
            <p:cNvPr id="136" name="btfpRunningAgenda2LevelBarLeft228391">
              <a:extLst>
                <a:ext uri="{FF2B5EF4-FFF2-40B4-BE49-F238E27FC236}">
                  <a16:creationId xmlns:a16="http://schemas.microsoft.com/office/drawing/2014/main" id="{CC9CF34D-0A92-412D-AD88-5639EF14E1F8}"/>
                </a:ext>
              </a:extLst>
            </p:cNvPr>
            <p:cNvSpPr/>
            <p:nvPr/>
          </p:nvSpPr>
          <p:spPr bwMode="gray">
            <a:xfrm>
              <a:off x="0" y="876300"/>
              <a:ext cx="2630748" cy="257442"/>
            </a:xfrm>
            <a:custGeom>
              <a:avLst/>
              <a:gdLst>
                <a:gd name="connsiteX0" fmla="*/ 986067 w 2696920"/>
                <a:gd name="connsiteY0" fmla="*/ 0 h 257442"/>
                <a:gd name="connsiteX1" fmla="*/ 2696920 w 2696920"/>
                <a:gd name="connsiteY1" fmla="*/ 0 h 257442"/>
                <a:gd name="connsiteX2" fmla="*/ 2642199 w 2696920"/>
                <a:gd name="connsiteY2" fmla="*/ 257442 h 257442"/>
                <a:gd name="connsiteX3" fmla="*/ 0 w 2696920"/>
                <a:gd name="connsiteY3" fmla="*/ 257442 h 257442"/>
                <a:gd name="connsiteX0" fmla="*/ 986067 w 2642199"/>
                <a:gd name="connsiteY0" fmla="*/ 0 h 257442"/>
                <a:gd name="connsiteX1" fmla="*/ 931346 w 2642199"/>
                <a:gd name="connsiteY1" fmla="*/ 257442 h 257442"/>
                <a:gd name="connsiteX2" fmla="*/ 2642199 w 2642199"/>
                <a:gd name="connsiteY2" fmla="*/ 257442 h 257442"/>
                <a:gd name="connsiteX3" fmla="*/ 0 w 2642199"/>
                <a:gd name="connsiteY3" fmla="*/ 257442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257442 h 257442"/>
                <a:gd name="connsiteX0" fmla="*/ 986066 w 986066"/>
                <a:gd name="connsiteY0" fmla="*/ 0 h 257442"/>
                <a:gd name="connsiteX1" fmla="*/ 931345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63999 w 1163999"/>
                <a:gd name="connsiteY0" fmla="*/ 0 h 257442"/>
                <a:gd name="connsiteX1" fmla="*/ 931345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3999 w 1163999"/>
                <a:gd name="connsiteY0" fmla="*/ 0 h 257442"/>
                <a:gd name="connsiteX1" fmla="*/ 1109278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164000 w 1277595"/>
                <a:gd name="connsiteY0" fmla="*/ 0 h 257442"/>
                <a:gd name="connsiteX1" fmla="*/ 1277595 w 1277595"/>
                <a:gd name="connsiteY1" fmla="*/ 257442 h 257442"/>
                <a:gd name="connsiteX2" fmla="*/ 0 w 1277595"/>
                <a:gd name="connsiteY2" fmla="*/ 257442 h 257442"/>
                <a:gd name="connsiteX3" fmla="*/ 0 w 1277595"/>
                <a:gd name="connsiteY3" fmla="*/ 0 h 257442"/>
                <a:gd name="connsiteX0" fmla="*/ 1164000 w 1164000"/>
                <a:gd name="connsiteY0" fmla="*/ 0 h 257442"/>
                <a:gd name="connsiteX1" fmla="*/ 1109280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0 w 1164000"/>
                <a:gd name="connsiteY0" fmla="*/ 0 h 257442"/>
                <a:gd name="connsiteX1" fmla="*/ 1109280 w 1164000"/>
                <a:gd name="connsiteY1" fmla="*/ 257442 h 257442"/>
                <a:gd name="connsiteX2" fmla="*/ 1 w 1164000"/>
                <a:gd name="connsiteY2" fmla="*/ 257442 h 257442"/>
                <a:gd name="connsiteX3" fmla="*/ 0 w 1164000"/>
                <a:gd name="connsiteY3" fmla="*/ 0 h 257442"/>
                <a:gd name="connsiteX0" fmla="*/ 1163999 w 1163999"/>
                <a:gd name="connsiteY0" fmla="*/ 0 h 257442"/>
                <a:gd name="connsiteX1" fmla="*/ 1109279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986067 w 1109279"/>
                <a:gd name="connsiteY0" fmla="*/ 0 h 257442"/>
                <a:gd name="connsiteX1" fmla="*/ 1109279 w 1109279"/>
                <a:gd name="connsiteY1" fmla="*/ 257442 h 257442"/>
                <a:gd name="connsiteX2" fmla="*/ 0 w 1109279"/>
                <a:gd name="connsiteY2" fmla="*/ 257442 h 257442"/>
                <a:gd name="connsiteX3" fmla="*/ 0 w 1109279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782550 w 931346"/>
                <a:gd name="connsiteY0" fmla="*/ 0 h 257442"/>
                <a:gd name="connsiteX1" fmla="*/ 931346 w 931346"/>
                <a:gd name="connsiteY1" fmla="*/ 257442 h 257442"/>
                <a:gd name="connsiteX2" fmla="*/ 0 w 931346"/>
                <a:gd name="connsiteY2" fmla="*/ 257442 h 257442"/>
                <a:gd name="connsiteX3" fmla="*/ 0 w 931346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0 w 782550"/>
                <a:gd name="connsiteY3" fmla="*/ 0 h 257442"/>
                <a:gd name="connsiteX0" fmla="*/ 986067 w 986067"/>
                <a:gd name="connsiteY0" fmla="*/ 0 h 257442"/>
                <a:gd name="connsiteX1" fmla="*/ 727829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1164000 w 1164000"/>
                <a:gd name="connsiteY0" fmla="*/ 0 h 257442"/>
                <a:gd name="connsiteX1" fmla="*/ 931346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0 w 1164000"/>
                <a:gd name="connsiteY0" fmla="*/ 0 h 257442"/>
                <a:gd name="connsiteX1" fmla="*/ 1109278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332317 w 1332317"/>
                <a:gd name="connsiteY0" fmla="*/ 0 h 257442"/>
                <a:gd name="connsiteX1" fmla="*/ 1109279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1 w 1332317"/>
                <a:gd name="connsiteY2" fmla="*/ 257442 h 257442"/>
                <a:gd name="connsiteX3" fmla="*/ 0 w 1332317"/>
                <a:gd name="connsiteY3" fmla="*/ 0 h 257442"/>
                <a:gd name="connsiteX0" fmla="*/ 1500632 w 1500632"/>
                <a:gd name="connsiteY0" fmla="*/ 0 h 257442"/>
                <a:gd name="connsiteX1" fmla="*/ 1277596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21231 w 1821231"/>
                <a:gd name="connsiteY0" fmla="*/ 0 h 257442"/>
                <a:gd name="connsiteX1" fmla="*/ 1598195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821231 w 1821231"/>
                <a:gd name="connsiteY0" fmla="*/ 0 h 257442"/>
                <a:gd name="connsiteX1" fmla="*/ 1766510 w 1821231"/>
                <a:gd name="connsiteY1" fmla="*/ 257442 h 257442"/>
                <a:gd name="connsiteX2" fmla="*/ 0 w 1821231"/>
                <a:gd name="connsiteY2" fmla="*/ 257442 h 257442"/>
                <a:gd name="connsiteX3" fmla="*/ 0 w 1821231"/>
                <a:gd name="connsiteY3" fmla="*/ 0 h 257442"/>
                <a:gd name="connsiteX0" fmla="*/ 1999165 w 1999165"/>
                <a:gd name="connsiteY0" fmla="*/ 0 h 257442"/>
                <a:gd name="connsiteX1" fmla="*/ 1766510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2167481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2167481 w 2167481"/>
                <a:gd name="connsiteY0" fmla="*/ 0 h 257442"/>
                <a:gd name="connsiteX1" fmla="*/ 2112760 w 2167481"/>
                <a:gd name="connsiteY1" fmla="*/ 257442 h 257442"/>
                <a:gd name="connsiteX2" fmla="*/ 1 w 2167481"/>
                <a:gd name="connsiteY2" fmla="*/ 257442 h 257442"/>
                <a:gd name="connsiteX3" fmla="*/ 0 w 2167481"/>
                <a:gd name="connsiteY3" fmla="*/ 0 h 257442"/>
                <a:gd name="connsiteX0" fmla="*/ 2167481 w 2167481"/>
                <a:gd name="connsiteY0" fmla="*/ 0 h 257442"/>
                <a:gd name="connsiteX1" fmla="*/ 2112760 w 2167481"/>
                <a:gd name="connsiteY1" fmla="*/ 257442 h 257442"/>
                <a:gd name="connsiteX2" fmla="*/ 2 w 2167481"/>
                <a:gd name="connsiteY2" fmla="*/ 257442 h 257442"/>
                <a:gd name="connsiteX3" fmla="*/ 0 w 2167481"/>
                <a:gd name="connsiteY3" fmla="*/ 0 h 257442"/>
                <a:gd name="connsiteX0" fmla="*/ 2167479 w 2167479"/>
                <a:gd name="connsiteY0" fmla="*/ 0 h 257442"/>
                <a:gd name="connsiteX1" fmla="*/ 2112758 w 2167479"/>
                <a:gd name="connsiteY1" fmla="*/ 257442 h 257442"/>
                <a:gd name="connsiteX2" fmla="*/ 0 w 2167479"/>
                <a:gd name="connsiteY2" fmla="*/ 257442 h 257442"/>
                <a:gd name="connsiteX3" fmla="*/ 0 w 2167479"/>
                <a:gd name="connsiteY3" fmla="*/ 0 h 257442"/>
                <a:gd name="connsiteX0" fmla="*/ 1999165 w 2112758"/>
                <a:gd name="connsiteY0" fmla="*/ 0 h 257442"/>
                <a:gd name="connsiteX1" fmla="*/ 2112758 w 2112758"/>
                <a:gd name="connsiteY1" fmla="*/ 257442 h 257442"/>
                <a:gd name="connsiteX2" fmla="*/ 0 w 2112758"/>
                <a:gd name="connsiteY2" fmla="*/ 257442 h 257442"/>
                <a:gd name="connsiteX3" fmla="*/ 0 w 2112758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1 w 1999165"/>
                <a:gd name="connsiteY2" fmla="*/ 257442 h 257442"/>
                <a:gd name="connsiteX3" fmla="*/ 0 w 1999165"/>
                <a:gd name="connsiteY3" fmla="*/ 0 h 257442"/>
                <a:gd name="connsiteX0" fmla="*/ 1999164 w 1999164"/>
                <a:gd name="connsiteY0" fmla="*/ 0 h 257442"/>
                <a:gd name="connsiteX1" fmla="*/ 1944443 w 1999164"/>
                <a:gd name="connsiteY1" fmla="*/ 257442 h 257442"/>
                <a:gd name="connsiteX2" fmla="*/ 0 w 1999164"/>
                <a:gd name="connsiteY2" fmla="*/ 257442 h 257442"/>
                <a:gd name="connsiteX3" fmla="*/ 0 w 1999164"/>
                <a:gd name="connsiteY3" fmla="*/ 0 h 257442"/>
                <a:gd name="connsiteX0" fmla="*/ 1821230 w 1944443"/>
                <a:gd name="connsiteY0" fmla="*/ 0 h 257442"/>
                <a:gd name="connsiteX1" fmla="*/ 1944443 w 1944443"/>
                <a:gd name="connsiteY1" fmla="*/ 257442 h 257442"/>
                <a:gd name="connsiteX2" fmla="*/ 0 w 1944443"/>
                <a:gd name="connsiteY2" fmla="*/ 257442 h 257442"/>
                <a:gd name="connsiteX3" fmla="*/ 0 w 1944443"/>
                <a:gd name="connsiteY3" fmla="*/ 0 h 257442"/>
                <a:gd name="connsiteX0" fmla="*/ 1821230 w 1821230"/>
                <a:gd name="connsiteY0" fmla="*/ 0 h 257442"/>
                <a:gd name="connsiteX1" fmla="*/ 1766510 w 1821230"/>
                <a:gd name="connsiteY1" fmla="*/ 257442 h 257442"/>
                <a:gd name="connsiteX2" fmla="*/ 0 w 1821230"/>
                <a:gd name="connsiteY2" fmla="*/ 257442 h 257442"/>
                <a:gd name="connsiteX3" fmla="*/ 0 w 1821230"/>
                <a:gd name="connsiteY3" fmla="*/ 0 h 257442"/>
                <a:gd name="connsiteX0" fmla="*/ 1821230 w 1821230"/>
                <a:gd name="connsiteY0" fmla="*/ 0 h 257442"/>
                <a:gd name="connsiteX1" fmla="*/ 1766510 w 1821230"/>
                <a:gd name="connsiteY1" fmla="*/ 257442 h 257442"/>
                <a:gd name="connsiteX2" fmla="*/ 0 w 1821230"/>
                <a:gd name="connsiteY2" fmla="*/ 257442 h 257442"/>
                <a:gd name="connsiteX3" fmla="*/ 0 w 1821230"/>
                <a:gd name="connsiteY3" fmla="*/ 0 h 257442"/>
                <a:gd name="connsiteX0" fmla="*/ 1821230 w 1821230"/>
                <a:gd name="connsiteY0" fmla="*/ 0 h 257442"/>
                <a:gd name="connsiteX1" fmla="*/ 1766510 w 1821230"/>
                <a:gd name="connsiteY1" fmla="*/ 257442 h 257442"/>
                <a:gd name="connsiteX2" fmla="*/ 0 w 1821230"/>
                <a:gd name="connsiteY2" fmla="*/ 257442 h 257442"/>
                <a:gd name="connsiteX3" fmla="*/ 0 w 1821230"/>
                <a:gd name="connsiteY3" fmla="*/ 0 h 257442"/>
                <a:gd name="connsiteX0" fmla="*/ 1652916 w 1766510"/>
                <a:gd name="connsiteY0" fmla="*/ 0 h 257442"/>
                <a:gd name="connsiteX1" fmla="*/ 1766510 w 1766510"/>
                <a:gd name="connsiteY1" fmla="*/ 257442 h 257442"/>
                <a:gd name="connsiteX2" fmla="*/ 0 w 1766510"/>
                <a:gd name="connsiteY2" fmla="*/ 257442 h 257442"/>
                <a:gd name="connsiteX3" fmla="*/ 0 w 1766510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30849 w 1830849"/>
                <a:gd name="connsiteY0" fmla="*/ 0 h 257442"/>
                <a:gd name="connsiteX1" fmla="*/ 1598195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960420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1 w 960420"/>
                <a:gd name="connsiteY2" fmla="*/ 257442 h 257442"/>
                <a:gd name="connsiteX3" fmla="*/ 0 w 960420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0 w 960419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06669 w 1306669"/>
                <a:gd name="connsiteY0" fmla="*/ 0 h 257442"/>
                <a:gd name="connsiteX1" fmla="*/ 1074013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0 w 1306669"/>
                <a:gd name="connsiteY2" fmla="*/ 257442 h 257442"/>
                <a:gd name="connsiteX3" fmla="*/ 1 w 1306669"/>
                <a:gd name="connsiteY3" fmla="*/ 0 h 257442"/>
                <a:gd name="connsiteX0" fmla="*/ 1306668 w 1306668"/>
                <a:gd name="connsiteY0" fmla="*/ 0 h 257442"/>
                <a:gd name="connsiteX1" fmla="*/ 1251947 w 1306668"/>
                <a:gd name="connsiteY1" fmla="*/ 257442 h 257442"/>
                <a:gd name="connsiteX2" fmla="*/ 0 w 1306668"/>
                <a:gd name="connsiteY2" fmla="*/ 257442 h 257442"/>
                <a:gd name="connsiteX3" fmla="*/ 0 w 1306668"/>
                <a:gd name="connsiteY3" fmla="*/ 0 h 257442"/>
                <a:gd name="connsiteX0" fmla="*/ 1306669 w 1306669"/>
                <a:gd name="connsiteY0" fmla="*/ 0 h 257442"/>
                <a:gd name="connsiteX1" fmla="*/ 1251948 w 1306669"/>
                <a:gd name="connsiteY1" fmla="*/ 257442 h 257442"/>
                <a:gd name="connsiteX2" fmla="*/ 1 w 1306669"/>
                <a:gd name="connsiteY2" fmla="*/ 257442 h 257442"/>
                <a:gd name="connsiteX3" fmla="*/ 0 w 1306669"/>
                <a:gd name="connsiteY3" fmla="*/ 0 h 257442"/>
                <a:gd name="connsiteX0" fmla="*/ 1407657 w 1407657"/>
                <a:gd name="connsiteY0" fmla="*/ 0 h 257442"/>
                <a:gd name="connsiteX1" fmla="*/ 1251948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407657 w 1407657"/>
                <a:gd name="connsiteY0" fmla="*/ 0 h 257442"/>
                <a:gd name="connsiteX1" fmla="*/ 1352936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407657 w 1407657"/>
                <a:gd name="connsiteY0" fmla="*/ 0 h 257442"/>
                <a:gd name="connsiteX1" fmla="*/ 1352936 w 1407657"/>
                <a:gd name="connsiteY1" fmla="*/ 257442 h 257442"/>
                <a:gd name="connsiteX2" fmla="*/ 1 w 1407657"/>
                <a:gd name="connsiteY2" fmla="*/ 257442 h 257442"/>
                <a:gd name="connsiteX3" fmla="*/ 0 w 1407657"/>
                <a:gd name="connsiteY3" fmla="*/ 0 h 257442"/>
                <a:gd name="connsiteX0" fmla="*/ 1407656 w 1407656"/>
                <a:gd name="connsiteY0" fmla="*/ 0 h 257442"/>
                <a:gd name="connsiteX1" fmla="*/ 1352935 w 1407656"/>
                <a:gd name="connsiteY1" fmla="*/ 257442 h 257442"/>
                <a:gd name="connsiteX2" fmla="*/ 0 w 1407656"/>
                <a:gd name="connsiteY2" fmla="*/ 257442 h 257442"/>
                <a:gd name="connsiteX3" fmla="*/ 0 w 1407656"/>
                <a:gd name="connsiteY3" fmla="*/ 0 h 257442"/>
                <a:gd name="connsiteX0" fmla="*/ 1585589 w 1585589"/>
                <a:gd name="connsiteY0" fmla="*/ 0 h 257442"/>
                <a:gd name="connsiteX1" fmla="*/ 1352935 w 1585589"/>
                <a:gd name="connsiteY1" fmla="*/ 257442 h 257442"/>
                <a:gd name="connsiteX2" fmla="*/ 0 w 1585589"/>
                <a:gd name="connsiteY2" fmla="*/ 257442 h 257442"/>
                <a:gd name="connsiteX3" fmla="*/ 0 w 1585589"/>
                <a:gd name="connsiteY3" fmla="*/ 0 h 257442"/>
                <a:gd name="connsiteX0" fmla="*/ 1585589 w 1585589"/>
                <a:gd name="connsiteY0" fmla="*/ 0 h 257442"/>
                <a:gd name="connsiteX1" fmla="*/ 1530868 w 1585589"/>
                <a:gd name="connsiteY1" fmla="*/ 257442 h 257442"/>
                <a:gd name="connsiteX2" fmla="*/ 0 w 1585589"/>
                <a:gd name="connsiteY2" fmla="*/ 257442 h 257442"/>
                <a:gd name="connsiteX3" fmla="*/ 0 w 1585589"/>
                <a:gd name="connsiteY3" fmla="*/ 0 h 257442"/>
                <a:gd name="connsiteX0" fmla="*/ 1585590 w 1585590"/>
                <a:gd name="connsiteY0" fmla="*/ 0 h 257442"/>
                <a:gd name="connsiteX1" fmla="*/ 1530869 w 1585590"/>
                <a:gd name="connsiteY1" fmla="*/ 257442 h 257442"/>
                <a:gd name="connsiteX2" fmla="*/ 0 w 1585590"/>
                <a:gd name="connsiteY2" fmla="*/ 257442 h 257442"/>
                <a:gd name="connsiteX3" fmla="*/ 1 w 1585590"/>
                <a:gd name="connsiteY3" fmla="*/ 0 h 257442"/>
                <a:gd name="connsiteX0" fmla="*/ 1585590 w 1585590"/>
                <a:gd name="connsiteY0" fmla="*/ 0 h 257442"/>
                <a:gd name="connsiteX1" fmla="*/ 1530869 w 1585590"/>
                <a:gd name="connsiteY1" fmla="*/ 257442 h 257442"/>
                <a:gd name="connsiteX2" fmla="*/ 0 w 1585590"/>
                <a:gd name="connsiteY2" fmla="*/ 257442 h 257442"/>
                <a:gd name="connsiteX3" fmla="*/ 0 w 1585590"/>
                <a:gd name="connsiteY3" fmla="*/ 0 h 257442"/>
                <a:gd name="connsiteX0" fmla="*/ 1745891 w 1745891"/>
                <a:gd name="connsiteY0" fmla="*/ 0 h 257442"/>
                <a:gd name="connsiteX1" fmla="*/ 1530869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745891 w 1745891"/>
                <a:gd name="connsiteY0" fmla="*/ 0 h 257442"/>
                <a:gd name="connsiteX1" fmla="*/ 1691170 w 1745891"/>
                <a:gd name="connsiteY1" fmla="*/ 257442 h 257442"/>
                <a:gd name="connsiteX2" fmla="*/ 0 w 1745891"/>
                <a:gd name="connsiteY2" fmla="*/ 257442 h 257442"/>
                <a:gd name="connsiteX3" fmla="*/ 0 w 1745891"/>
                <a:gd name="connsiteY3" fmla="*/ 0 h 257442"/>
                <a:gd name="connsiteX0" fmla="*/ 1906191 w 1906191"/>
                <a:gd name="connsiteY0" fmla="*/ 0 h 257442"/>
                <a:gd name="connsiteX1" fmla="*/ 16911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1906191 w 1906191"/>
                <a:gd name="connsiteY0" fmla="*/ 0 h 257442"/>
                <a:gd name="connsiteX1" fmla="*/ 1851470 w 1906191"/>
                <a:gd name="connsiteY1" fmla="*/ 257442 h 257442"/>
                <a:gd name="connsiteX2" fmla="*/ 0 w 1906191"/>
                <a:gd name="connsiteY2" fmla="*/ 257442 h 257442"/>
                <a:gd name="connsiteX3" fmla="*/ 0 w 1906191"/>
                <a:gd name="connsiteY3" fmla="*/ 0 h 257442"/>
                <a:gd name="connsiteX0" fmla="*/ 2074506 w 2074506"/>
                <a:gd name="connsiteY0" fmla="*/ 0 h 257442"/>
                <a:gd name="connsiteX1" fmla="*/ 1851470 w 2074506"/>
                <a:gd name="connsiteY1" fmla="*/ 257442 h 257442"/>
                <a:gd name="connsiteX2" fmla="*/ 0 w 2074506"/>
                <a:gd name="connsiteY2" fmla="*/ 257442 h 257442"/>
                <a:gd name="connsiteX3" fmla="*/ 0 w 2074506"/>
                <a:gd name="connsiteY3" fmla="*/ 0 h 257442"/>
                <a:gd name="connsiteX0" fmla="*/ 2074506 w 2074506"/>
                <a:gd name="connsiteY0" fmla="*/ 0 h 257442"/>
                <a:gd name="connsiteX1" fmla="*/ 2019784 w 2074506"/>
                <a:gd name="connsiteY1" fmla="*/ 257442 h 257442"/>
                <a:gd name="connsiteX2" fmla="*/ 0 w 2074506"/>
                <a:gd name="connsiteY2" fmla="*/ 257442 h 257442"/>
                <a:gd name="connsiteX3" fmla="*/ 0 w 2074506"/>
                <a:gd name="connsiteY3" fmla="*/ 0 h 257442"/>
                <a:gd name="connsiteX0" fmla="*/ 2074507 w 2074507"/>
                <a:gd name="connsiteY0" fmla="*/ 0 h 257442"/>
                <a:gd name="connsiteX1" fmla="*/ 2019785 w 2074507"/>
                <a:gd name="connsiteY1" fmla="*/ 257442 h 257442"/>
                <a:gd name="connsiteX2" fmla="*/ 0 w 2074507"/>
                <a:gd name="connsiteY2" fmla="*/ 257442 h 257442"/>
                <a:gd name="connsiteX3" fmla="*/ 1 w 2074507"/>
                <a:gd name="connsiteY3" fmla="*/ 0 h 257442"/>
                <a:gd name="connsiteX0" fmla="*/ 2074507 w 2074507"/>
                <a:gd name="connsiteY0" fmla="*/ 0 h 257442"/>
                <a:gd name="connsiteX1" fmla="*/ 2019785 w 2074507"/>
                <a:gd name="connsiteY1" fmla="*/ 257442 h 257442"/>
                <a:gd name="connsiteX2" fmla="*/ 0 w 2074507"/>
                <a:gd name="connsiteY2" fmla="*/ 257442 h 257442"/>
                <a:gd name="connsiteX3" fmla="*/ 1 w 2074507"/>
                <a:gd name="connsiteY3" fmla="*/ 0 h 257442"/>
                <a:gd name="connsiteX0" fmla="*/ 2232050 w 2232050"/>
                <a:gd name="connsiteY0" fmla="*/ 0 h 257442"/>
                <a:gd name="connsiteX1" fmla="*/ 2019785 w 2232050"/>
                <a:gd name="connsiteY1" fmla="*/ 257442 h 257442"/>
                <a:gd name="connsiteX2" fmla="*/ 0 w 2232050"/>
                <a:gd name="connsiteY2" fmla="*/ 257442 h 257442"/>
                <a:gd name="connsiteX3" fmla="*/ 1 w 2232050"/>
                <a:gd name="connsiteY3" fmla="*/ 0 h 257442"/>
                <a:gd name="connsiteX0" fmla="*/ 2232050 w 2232050"/>
                <a:gd name="connsiteY0" fmla="*/ 0 h 257442"/>
                <a:gd name="connsiteX1" fmla="*/ 2177328 w 2232050"/>
                <a:gd name="connsiteY1" fmla="*/ 257442 h 257442"/>
                <a:gd name="connsiteX2" fmla="*/ 0 w 2232050"/>
                <a:gd name="connsiteY2" fmla="*/ 257442 h 257442"/>
                <a:gd name="connsiteX3" fmla="*/ 1 w 2232050"/>
                <a:gd name="connsiteY3" fmla="*/ 0 h 257442"/>
                <a:gd name="connsiteX0" fmla="*/ 2232050 w 2232050"/>
                <a:gd name="connsiteY0" fmla="*/ 0 h 257442"/>
                <a:gd name="connsiteX1" fmla="*/ 2177328 w 2232050"/>
                <a:gd name="connsiteY1" fmla="*/ 257442 h 257442"/>
                <a:gd name="connsiteX2" fmla="*/ 0 w 2232050"/>
                <a:gd name="connsiteY2" fmla="*/ 257442 h 257442"/>
                <a:gd name="connsiteX3" fmla="*/ 1 w 2232050"/>
                <a:gd name="connsiteY3" fmla="*/ 0 h 257442"/>
                <a:gd name="connsiteX0" fmla="*/ 2232050 w 2232050"/>
                <a:gd name="connsiteY0" fmla="*/ 0 h 257442"/>
                <a:gd name="connsiteX1" fmla="*/ 2177328 w 2232050"/>
                <a:gd name="connsiteY1" fmla="*/ 257442 h 257442"/>
                <a:gd name="connsiteX2" fmla="*/ 0 w 2232050"/>
                <a:gd name="connsiteY2" fmla="*/ 257442 h 257442"/>
                <a:gd name="connsiteX3" fmla="*/ 0 w 2232050"/>
                <a:gd name="connsiteY3" fmla="*/ 0 h 257442"/>
                <a:gd name="connsiteX0" fmla="*/ 2333038 w 2333038"/>
                <a:gd name="connsiteY0" fmla="*/ 0 h 257442"/>
                <a:gd name="connsiteX1" fmla="*/ 2177328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333038 w 2333038"/>
                <a:gd name="connsiteY0" fmla="*/ 0 h 257442"/>
                <a:gd name="connsiteX1" fmla="*/ 2278317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333038 w 2333038"/>
                <a:gd name="connsiteY0" fmla="*/ 0 h 257442"/>
                <a:gd name="connsiteX1" fmla="*/ 2278317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333038 w 2333038"/>
                <a:gd name="connsiteY0" fmla="*/ 0 h 257442"/>
                <a:gd name="connsiteX1" fmla="*/ 2278317 w 2333038"/>
                <a:gd name="connsiteY1" fmla="*/ 257442 h 257442"/>
                <a:gd name="connsiteX2" fmla="*/ 0 w 2333038"/>
                <a:gd name="connsiteY2" fmla="*/ 257442 h 257442"/>
                <a:gd name="connsiteX3" fmla="*/ 0 w 2333038"/>
                <a:gd name="connsiteY3" fmla="*/ 0 h 257442"/>
                <a:gd name="connsiteX0" fmla="*/ 2493338 w 2493338"/>
                <a:gd name="connsiteY0" fmla="*/ 0 h 257442"/>
                <a:gd name="connsiteX1" fmla="*/ 22783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493338 w 2493338"/>
                <a:gd name="connsiteY0" fmla="*/ 0 h 257442"/>
                <a:gd name="connsiteX1" fmla="*/ 24386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493338 w 2493338"/>
                <a:gd name="connsiteY0" fmla="*/ 0 h 257442"/>
                <a:gd name="connsiteX1" fmla="*/ 24386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493338 w 2493338"/>
                <a:gd name="connsiteY0" fmla="*/ 0 h 257442"/>
                <a:gd name="connsiteX1" fmla="*/ 2438617 w 2493338"/>
                <a:gd name="connsiteY1" fmla="*/ 257442 h 257442"/>
                <a:gd name="connsiteX2" fmla="*/ 0 w 2493338"/>
                <a:gd name="connsiteY2" fmla="*/ 257442 h 257442"/>
                <a:gd name="connsiteX3" fmla="*/ 0 w 2493338"/>
                <a:gd name="connsiteY3" fmla="*/ 0 h 257442"/>
                <a:gd name="connsiteX0" fmla="*/ 2696920 w 2696920"/>
                <a:gd name="connsiteY0" fmla="*/ 0 h 257442"/>
                <a:gd name="connsiteX1" fmla="*/ 2438617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2696920 w 2696920"/>
                <a:gd name="connsiteY0" fmla="*/ 0 h 257442"/>
                <a:gd name="connsiteX1" fmla="*/ 2642199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2696920 w 2696920"/>
                <a:gd name="connsiteY0" fmla="*/ 0 h 257442"/>
                <a:gd name="connsiteX1" fmla="*/ 2642199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2696920 w 2696920"/>
                <a:gd name="connsiteY0" fmla="*/ 0 h 257442"/>
                <a:gd name="connsiteX1" fmla="*/ 2642199 w 2696920"/>
                <a:gd name="connsiteY1" fmla="*/ 257442 h 257442"/>
                <a:gd name="connsiteX2" fmla="*/ 0 w 2696920"/>
                <a:gd name="connsiteY2" fmla="*/ 257442 h 257442"/>
                <a:gd name="connsiteX3" fmla="*/ 0 w 2696920"/>
                <a:gd name="connsiteY3" fmla="*/ 0 h 257442"/>
                <a:gd name="connsiteX0" fmla="*/ 986067 w 2642199"/>
                <a:gd name="connsiteY0" fmla="*/ 0 h 257442"/>
                <a:gd name="connsiteX1" fmla="*/ 2642199 w 2642199"/>
                <a:gd name="connsiteY1" fmla="*/ 257442 h 257442"/>
                <a:gd name="connsiteX2" fmla="*/ 0 w 2642199"/>
                <a:gd name="connsiteY2" fmla="*/ 257442 h 257442"/>
                <a:gd name="connsiteX3" fmla="*/ 0 w 2642199"/>
                <a:gd name="connsiteY3" fmla="*/ 0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0 h 257442"/>
                <a:gd name="connsiteX0" fmla="*/ 986066 w 986066"/>
                <a:gd name="connsiteY0" fmla="*/ 0 h 257442"/>
                <a:gd name="connsiteX1" fmla="*/ 931346 w 986066"/>
                <a:gd name="connsiteY1" fmla="*/ 257442 h 257442"/>
                <a:gd name="connsiteX2" fmla="*/ 0 w 986066"/>
                <a:gd name="connsiteY2" fmla="*/ 257442 h 257442"/>
                <a:gd name="connsiteX3" fmla="*/ 0 w 986066"/>
                <a:gd name="connsiteY3" fmla="*/ 0 h 257442"/>
                <a:gd name="connsiteX0" fmla="*/ 1163999 w 1163999"/>
                <a:gd name="connsiteY0" fmla="*/ 0 h 257442"/>
                <a:gd name="connsiteX1" fmla="*/ 931346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3999 w 1163999"/>
                <a:gd name="connsiteY0" fmla="*/ 0 h 257442"/>
                <a:gd name="connsiteX1" fmla="*/ 1109278 w 1163999"/>
                <a:gd name="connsiteY1" fmla="*/ 257442 h 257442"/>
                <a:gd name="connsiteX2" fmla="*/ 0 w 1163999"/>
                <a:gd name="connsiteY2" fmla="*/ 257442 h 257442"/>
                <a:gd name="connsiteX3" fmla="*/ 0 w 1163999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500631 w 1500631"/>
                <a:gd name="connsiteY0" fmla="*/ 0 h 257442"/>
                <a:gd name="connsiteX1" fmla="*/ 1277595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4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830850 w 1830850"/>
                <a:gd name="connsiteY0" fmla="*/ 0 h 257442"/>
                <a:gd name="connsiteX1" fmla="*/ 1598195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1 w 1830850"/>
                <a:gd name="connsiteY3" fmla="*/ 0 h 257442"/>
                <a:gd name="connsiteX0" fmla="*/ 1830850 w 1830850"/>
                <a:gd name="connsiteY0" fmla="*/ 0 h 257442"/>
                <a:gd name="connsiteX1" fmla="*/ 1776128 w 1830850"/>
                <a:gd name="connsiteY1" fmla="*/ 257442 h 257442"/>
                <a:gd name="connsiteX2" fmla="*/ 0 w 1830850"/>
                <a:gd name="connsiteY2" fmla="*/ 257442 h 257442"/>
                <a:gd name="connsiteX3" fmla="*/ 0 w 1830850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925154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925154 w 925154"/>
                <a:gd name="connsiteY0" fmla="*/ 0 h 257442"/>
                <a:gd name="connsiteX1" fmla="*/ 870433 w 925154"/>
                <a:gd name="connsiteY1" fmla="*/ 257442 h 257442"/>
                <a:gd name="connsiteX2" fmla="*/ 1 w 925154"/>
                <a:gd name="connsiteY2" fmla="*/ 257442 h 257442"/>
                <a:gd name="connsiteX3" fmla="*/ 0 w 925154"/>
                <a:gd name="connsiteY3" fmla="*/ 0 h 257442"/>
                <a:gd name="connsiteX0" fmla="*/ 925154 w 925154"/>
                <a:gd name="connsiteY0" fmla="*/ 0 h 257442"/>
                <a:gd name="connsiteX1" fmla="*/ 870433 w 925154"/>
                <a:gd name="connsiteY1" fmla="*/ 257442 h 257442"/>
                <a:gd name="connsiteX2" fmla="*/ 1 w 925154"/>
                <a:gd name="connsiteY2" fmla="*/ 257442 h 257442"/>
                <a:gd name="connsiteX3" fmla="*/ 0 w 925154"/>
                <a:gd name="connsiteY3" fmla="*/ 0 h 257442"/>
                <a:gd name="connsiteX0" fmla="*/ 925153 w 925153"/>
                <a:gd name="connsiteY0" fmla="*/ 0 h 257442"/>
                <a:gd name="connsiteX1" fmla="*/ 870432 w 925153"/>
                <a:gd name="connsiteY1" fmla="*/ 257442 h 257442"/>
                <a:gd name="connsiteX2" fmla="*/ 0 w 925153"/>
                <a:gd name="connsiteY2" fmla="*/ 257442 h 257442"/>
                <a:gd name="connsiteX3" fmla="*/ 0 w 925153"/>
                <a:gd name="connsiteY3" fmla="*/ 0 h 257442"/>
                <a:gd name="connsiteX0" fmla="*/ 1103086 w 1103086"/>
                <a:gd name="connsiteY0" fmla="*/ 0 h 257442"/>
                <a:gd name="connsiteX1" fmla="*/ 870432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6 w 1103086"/>
                <a:gd name="connsiteY0" fmla="*/ 0 h 257442"/>
                <a:gd name="connsiteX1" fmla="*/ 1048364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1 w 1103087"/>
                <a:gd name="connsiteY3" fmla="*/ 0 h 257442"/>
                <a:gd name="connsiteX0" fmla="*/ 1103087 w 1103087"/>
                <a:gd name="connsiteY0" fmla="*/ 0 h 257442"/>
                <a:gd name="connsiteX1" fmla="*/ 1048365 w 1103087"/>
                <a:gd name="connsiteY1" fmla="*/ 257442 h 257442"/>
                <a:gd name="connsiteX2" fmla="*/ 0 w 1103087"/>
                <a:gd name="connsiteY2" fmla="*/ 257442 h 257442"/>
                <a:gd name="connsiteX3" fmla="*/ 1 w 1103087"/>
                <a:gd name="connsiteY3" fmla="*/ 0 h 257442"/>
                <a:gd name="connsiteX0" fmla="*/ 1271403 w 1271403"/>
                <a:gd name="connsiteY0" fmla="*/ 0 h 257442"/>
                <a:gd name="connsiteX1" fmla="*/ 1048365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0 w 1271403"/>
                <a:gd name="connsiteY2" fmla="*/ 257442 h 257442"/>
                <a:gd name="connsiteX3" fmla="*/ 1 w 1271403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3 w 1271403"/>
                <a:gd name="connsiteY0" fmla="*/ 0 h 257442"/>
                <a:gd name="connsiteX1" fmla="*/ 1216682 w 1271403"/>
                <a:gd name="connsiteY1" fmla="*/ 257442 h 257442"/>
                <a:gd name="connsiteX2" fmla="*/ 1 w 1271403"/>
                <a:gd name="connsiteY2" fmla="*/ 257442 h 257442"/>
                <a:gd name="connsiteX3" fmla="*/ 0 w 1271403"/>
                <a:gd name="connsiteY3" fmla="*/ 0 h 257442"/>
                <a:gd name="connsiteX0" fmla="*/ 1372391 w 1372391"/>
                <a:gd name="connsiteY0" fmla="*/ 0 h 257442"/>
                <a:gd name="connsiteX1" fmla="*/ 1216682 w 1372391"/>
                <a:gd name="connsiteY1" fmla="*/ 257442 h 257442"/>
                <a:gd name="connsiteX2" fmla="*/ 1 w 1372391"/>
                <a:gd name="connsiteY2" fmla="*/ 257442 h 257442"/>
                <a:gd name="connsiteX3" fmla="*/ 0 w 1372391"/>
                <a:gd name="connsiteY3" fmla="*/ 0 h 257442"/>
                <a:gd name="connsiteX0" fmla="*/ 1372391 w 1372391"/>
                <a:gd name="connsiteY0" fmla="*/ 0 h 257442"/>
                <a:gd name="connsiteX1" fmla="*/ 1317670 w 1372391"/>
                <a:gd name="connsiteY1" fmla="*/ 257442 h 257442"/>
                <a:gd name="connsiteX2" fmla="*/ 1 w 1372391"/>
                <a:gd name="connsiteY2" fmla="*/ 257442 h 257442"/>
                <a:gd name="connsiteX3" fmla="*/ 0 w 1372391"/>
                <a:gd name="connsiteY3" fmla="*/ 0 h 257442"/>
                <a:gd name="connsiteX0" fmla="*/ 1372391 w 1372391"/>
                <a:gd name="connsiteY0" fmla="*/ 0 h 257442"/>
                <a:gd name="connsiteX1" fmla="*/ 1317670 w 1372391"/>
                <a:gd name="connsiteY1" fmla="*/ 257442 h 257442"/>
                <a:gd name="connsiteX2" fmla="*/ 1 w 1372391"/>
                <a:gd name="connsiteY2" fmla="*/ 257442 h 257442"/>
                <a:gd name="connsiteX3" fmla="*/ 0 w 1372391"/>
                <a:gd name="connsiteY3" fmla="*/ 0 h 257442"/>
                <a:gd name="connsiteX0" fmla="*/ 1372390 w 1372390"/>
                <a:gd name="connsiteY0" fmla="*/ 0 h 257442"/>
                <a:gd name="connsiteX1" fmla="*/ 1317669 w 1372390"/>
                <a:gd name="connsiteY1" fmla="*/ 257442 h 257442"/>
                <a:gd name="connsiteX2" fmla="*/ 0 w 1372390"/>
                <a:gd name="connsiteY2" fmla="*/ 257442 h 257442"/>
                <a:gd name="connsiteX3" fmla="*/ 0 w 1372390"/>
                <a:gd name="connsiteY3" fmla="*/ 0 h 257442"/>
                <a:gd name="connsiteX0" fmla="*/ 1532690 w 1532690"/>
                <a:gd name="connsiteY0" fmla="*/ 0 h 257442"/>
                <a:gd name="connsiteX1" fmla="*/ 1317669 w 1532690"/>
                <a:gd name="connsiteY1" fmla="*/ 257442 h 257442"/>
                <a:gd name="connsiteX2" fmla="*/ 0 w 1532690"/>
                <a:gd name="connsiteY2" fmla="*/ 257442 h 257442"/>
                <a:gd name="connsiteX3" fmla="*/ 0 w 1532690"/>
                <a:gd name="connsiteY3" fmla="*/ 0 h 257442"/>
                <a:gd name="connsiteX0" fmla="*/ 1532690 w 1532690"/>
                <a:gd name="connsiteY0" fmla="*/ 0 h 257442"/>
                <a:gd name="connsiteX1" fmla="*/ 1477969 w 1532690"/>
                <a:gd name="connsiteY1" fmla="*/ 257442 h 257442"/>
                <a:gd name="connsiteX2" fmla="*/ 0 w 1532690"/>
                <a:gd name="connsiteY2" fmla="*/ 257442 h 257442"/>
                <a:gd name="connsiteX3" fmla="*/ 0 w 1532690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1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1 w 1532691"/>
                <a:gd name="connsiteY3" fmla="*/ 0 h 257442"/>
                <a:gd name="connsiteX0" fmla="*/ 1710626 w 1710626"/>
                <a:gd name="connsiteY0" fmla="*/ 0 h 257442"/>
                <a:gd name="connsiteX1" fmla="*/ 1477970 w 1710626"/>
                <a:gd name="connsiteY1" fmla="*/ 257442 h 257442"/>
                <a:gd name="connsiteX2" fmla="*/ 0 w 1710626"/>
                <a:gd name="connsiteY2" fmla="*/ 257442 h 257442"/>
                <a:gd name="connsiteX3" fmla="*/ 1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1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1 w 1710626"/>
                <a:gd name="connsiteY3" fmla="*/ 0 h 257442"/>
                <a:gd name="connsiteX0" fmla="*/ 1710626 w 1710626"/>
                <a:gd name="connsiteY0" fmla="*/ 0 h 257442"/>
                <a:gd name="connsiteX1" fmla="*/ 1655904 w 1710626"/>
                <a:gd name="connsiteY1" fmla="*/ 257442 h 257442"/>
                <a:gd name="connsiteX2" fmla="*/ 0 w 1710626"/>
                <a:gd name="connsiteY2" fmla="*/ 257442 h 257442"/>
                <a:gd name="connsiteX3" fmla="*/ 0 w 1710626"/>
                <a:gd name="connsiteY3" fmla="*/ 0 h 257442"/>
                <a:gd name="connsiteX0" fmla="*/ 1870925 w 1870925"/>
                <a:gd name="connsiteY0" fmla="*/ 0 h 257442"/>
                <a:gd name="connsiteX1" fmla="*/ 16559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2023210 w 2023210"/>
                <a:gd name="connsiteY0" fmla="*/ 0 h 257442"/>
                <a:gd name="connsiteX1" fmla="*/ 1816204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8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1 w 2023211"/>
                <a:gd name="connsiteY0" fmla="*/ 0 h 257442"/>
                <a:gd name="connsiteX1" fmla="*/ 1968489 w 2023211"/>
                <a:gd name="connsiteY1" fmla="*/ 257442 h 257442"/>
                <a:gd name="connsiteX2" fmla="*/ 0 w 2023211"/>
                <a:gd name="connsiteY2" fmla="*/ 257442 h 257442"/>
                <a:gd name="connsiteX3" fmla="*/ 1 w 2023211"/>
                <a:gd name="connsiteY3" fmla="*/ 0 h 257442"/>
                <a:gd name="connsiteX0" fmla="*/ 2023211 w 2023211"/>
                <a:gd name="connsiteY0" fmla="*/ 0 h 257442"/>
                <a:gd name="connsiteX1" fmla="*/ 1968489 w 2023211"/>
                <a:gd name="connsiteY1" fmla="*/ 257442 h 257442"/>
                <a:gd name="connsiteX2" fmla="*/ 0 w 2023211"/>
                <a:gd name="connsiteY2" fmla="*/ 257442 h 257442"/>
                <a:gd name="connsiteX3" fmla="*/ 1 w 2023211"/>
                <a:gd name="connsiteY3" fmla="*/ 0 h 257442"/>
                <a:gd name="connsiteX0" fmla="*/ 2124200 w 2124200"/>
                <a:gd name="connsiteY0" fmla="*/ 0 h 257442"/>
                <a:gd name="connsiteX1" fmla="*/ 1968489 w 2124200"/>
                <a:gd name="connsiteY1" fmla="*/ 257442 h 257442"/>
                <a:gd name="connsiteX2" fmla="*/ 0 w 2124200"/>
                <a:gd name="connsiteY2" fmla="*/ 257442 h 257442"/>
                <a:gd name="connsiteX3" fmla="*/ 1 w 2124200"/>
                <a:gd name="connsiteY3" fmla="*/ 0 h 257442"/>
                <a:gd name="connsiteX0" fmla="*/ 2124200 w 2124200"/>
                <a:gd name="connsiteY0" fmla="*/ 0 h 257442"/>
                <a:gd name="connsiteX1" fmla="*/ 2069478 w 2124200"/>
                <a:gd name="connsiteY1" fmla="*/ 257442 h 257442"/>
                <a:gd name="connsiteX2" fmla="*/ 0 w 2124200"/>
                <a:gd name="connsiteY2" fmla="*/ 257442 h 257442"/>
                <a:gd name="connsiteX3" fmla="*/ 1 w 2124200"/>
                <a:gd name="connsiteY3" fmla="*/ 0 h 257442"/>
                <a:gd name="connsiteX0" fmla="*/ 2124200 w 2124200"/>
                <a:gd name="connsiteY0" fmla="*/ 0 h 257442"/>
                <a:gd name="connsiteX1" fmla="*/ 2069478 w 2124200"/>
                <a:gd name="connsiteY1" fmla="*/ 257442 h 257442"/>
                <a:gd name="connsiteX2" fmla="*/ 0 w 2124200"/>
                <a:gd name="connsiteY2" fmla="*/ 257442 h 257442"/>
                <a:gd name="connsiteX3" fmla="*/ 1 w 2124200"/>
                <a:gd name="connsiteY3" fmla="*/ 0 h 257442"/>
                <a:gd name="connsiteX0" fmla="*/ 2124200 w 2124200"/>
                <a:gd name="connsiteY0" fmla="*/ 0 h 257442"/>
                <a:gd name="connsiteX1" fmla="*/ 2069478 w 2124200"/>
                <a:gd name="connsiteY1" fmla="*/ 257442 h 257442"/>
                <a:gd name="connsiteX2" fmla="*/ 0 w 2124200"/>
                <a:gd name="connsiteY2" fmla="*/ 257442 h 257442"/>
                <a:gd name="connsiteX3" fmla="*/ 0 w 2124200"/>
                <a:gd name="connsiteY3" fmla="*/ 0 h 257442"/>
                <a:gd name="connsiteX0" fmla="*/ 2292514 w 2292514"/>
                <a:gd name="connsiteY0" fmla="*/ 0 h 257442"/>
                <a:gd name="connsiteX1" fmla="*/ 2069478 w 2292514"/>
                <a:gd name="connsiteY1" fmla="*/ 257442 h 257442"/>
                <a:gd name="connsiteX2" fmla="*/ 0 w 2292514"/>
                <a:gd name="connsiteY2" fmla="*/ 257442 h 257442"/>
                <a:gd name="connsiteX3" fmla="*/ 0 w 2292514"/>
                <a:gd name="connsiteY3" fmla="*/ 0 h 257442"/>
                <a:gd name="connsiteX0" fmla="*/ 2292514 w 2292514"/>
                <a:gd name="connsiteY0" fmla="*/ 0 h 257442"/>
                <a:gd name="connsiteX1" fmla="*/ 2237793 w 2292514"/>
                <a:gd name="connsiteY1" fmla="*/ 257442 h 257442"/>
                <a:gd name="connsiteX2" fmla="*/ 0 w 2292514"/>
                <a:gd name="connsiteY2" fmla="*/ 257442 h 257442"/>
                <a:gd name="connsiteX3" fmla="*/ 0 w 2292514"/>
                <a:gd name="connsiteY3" fmla="*/ 0 h 257442"/>
                <a:gd name="connsiteX0" fmla="*/ 2292514 w 2292514"/>
                <a:gd name="connsiteY0" fmla="*/ 0 h 257442"/>
                <a:gd name="connsiteX1" fmla="*/ 2237793 w 2292514"/>
                <a:gd name="connsiteY1" fmla="*/ 257442 h 257442"/>
                <a:gd name="connsiteX2" fmla="*/ 0 w 2292514"/>
                <a:gd name="connsiteY2" fmla="*/ 257442 h 257442"/>
                <a:gd name="connsiteX3" fmla="*/ 0 w 2292514"/>
                <a:gd name="connsiteY3" fmla="*/ 0 h 257442"/>
                <a:gd name="connsiteX0" fmla="*/ 2292514 w 2292514"/>
                <a:gd name="connsiteY0" fmla="*/ 0 h 257442"/>
                <a:gd name="connsiteX1" fmla="*/ 2237793 w 2292514"/>
                <a:gd name="connsiteY1" fmla="*/ 257442 h 257442"/>
                <a:gd name="connsiteX2" fmla="*/ 0 w 2292514"/>
                <a:gd name="connsiteY2" fmla="*/ 257442 h 257442"/>
                <a:gd name="connsiteX3" fmla="*/ 0 w 2292514"/>
                <a:gd name="connsiteY3" fmla="*/ 0 h 257442"/>
                <a:gd name="connsiteX0" fmla="*/ 2470448 w 2470448"/>
                <a:gd name="connsiteY0" fmla="*/ 0 h 257442"/>
                <a:gd name="connsiteX1" fmla="*/ 2237793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630748 w 2630748"/>
                <a:gd name="connsiteY0" fmla="*/ 0 h 257442"/>
                <a:gd name="connsiteX1" fmla="*/ 2415727 w 2630748"/>
                <a:gd name="connsiteY1" fmla="*/ 257442 h 257442"/>
                <a:gd name="connsiteX2" fmla="*/ 0 w 2630748"/>
                <a:gd name="connsiteY2" fmla="*/ 257442 h 257442"/>
                <a:gd name="connsiteX3" fmla="*/ 0 w 2630748"/>
                <a:gd name="connsiteY3" fmla="*/ 0 h 257442"/>
                <a:gd name="connsiteX0" fmla="*/ 2630748 w 2630748"/>
                <a:gd name="connsiteY0" fmla="*/ 0 h 257442"/>
                <a:gd name="connsiteX1" fmla="*/ 2576027 w 2630748"/>
                <a:gd name="connsiteY1" fmla="*/ 257442 h 257442"/>
                <a:gd name="connsiteX2" fmla="*/ 0 w 2630748"/>
                <a:gd name="connsiteY2" fmla="*/ 257442 h 257442"/>
                <a:gd name="connsiteX3" fmla="*/ 0 w 2630748"/>
                <a:gd name="connsiteY3" fmla="*/ 0 h 257442"/>
                <a:gd name="connsiteX0" fmla="*/ 2630748 w 2630748"/>
                <a:gd name="connsiteY0" fmla="*/ 0 h 257442"/>
                <a:gd name="connsiteX1" fmla="*/ 2576027 w 2630748"/>
                <a:gd name="connsiteY1" fmla="*/ 257442 h 257442"/>
                <a:gd name="connsiteX2" fmla="*/ 0 w 2630748"/>
                <a:gd name="connsiteY2" fmla="*/ 257442 h 257442"/>
                <a:gd name="connsiteX3" fmla="*/ 0 w 2630748"/>
                <a:gd name="connsiteY3" fmla="*/ 0 h 257442"/>
                <a:gd name="connsiteX0" fmla="*/ 2630748 w 2630748"/>
                <a:gd name="connsiteY0" fmla="*/ 0 h 257442"/>
                <a:gd name="connsiteX1" fmla="*/ 2576027 w 2630748"/>
                <a:gd name="connsiteY1" fmla="*/ 257442 h 257442"/>
                <a:gd name="connsiteX2" fmla="*/ 0 w 2630748"/>
                <a:gd name="connsiteY2" fmla="*/ 257442 h 257442"/>
                <a:gd name="connsiteX3" fmla="*/ 0 w 263074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30748" h="257442">
                  <a:moveTo>
                    <a:pt x="2630748" y="0"/>
                  </a:moveTo>
                  <a:lnTo>
                    <a:pt x="2576027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37" name="btfpRunningAgenda2LevelTextLeft228391">
              <a:extLst>
                <a:ext uri="{FF2B5EF4-FFF2-40B4-BE49-F238E27FC236}">
                  <a16:creationId xmlns:a16="http://schemas.microsoft.com/office/drawing/2014/main" id="{D92A56FE-79CA-4006-A034-2A75689D7DD5}"/>
                </a:ext>
              </a:extLst>
            </p:cNvPr>
            <p:cNvSpPr txBox="1"/>
            <p:nvPr/>
          </p:nvSpPr>
          <p:spPr bwMode="gray">
            <a:xfrm>
              <a:off x="0" y="876300"/>
              <a:ext cx="257602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Job postings</a:t>
              </a:r>
            </a:p>
          </p:txBody>
        </p:sp>
        <p:sp>
          <p:nvSpPr>
            <p:cNvPr id="138" name="btfpRunningAgenda2LevelBarRight228391">
              <a:extLst>
                <a:ext uri="{FF2B5EF4-FFF2-40B4-BE49-F238E27FC236}">
                  <a16:creationId xmlns:a16="http://schemas.microsoft.com/office/drawing/2014/main" id="{91BD77C9-3598-4D86-8BEF-7A16D7226E7C}"/>
                </a:ext>
              </a:extLst>
            </p:cNvPr>
            <p:cNvSpPr/>
            <p:nvPr/>
          </p:nvSpPr>
          <p:spPr bwMode="gray">
            <a:xfrm>
              <a:off x="2495906" y="876300"/>
              <a:ext cx="2248079" cy="257442"/>
            </a:xfrm>
            <a:custGeom>
              <a:avLst/>
              <a:gdLst>
                <a:gd name="connsiteX0" fmla="*/ 93477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34771 w 2313135"/>
                <a:gd name="connsiteY0" fmla="*/ 0 h 257442"/>
                <a:gd name="connsiteX1" fmla="*/ 88005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257442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54721 w 934770"/>
                <a:gd name="connsiteY3" fmla="*/ 0 h 257442"/>
                <a:gd name="connsiteX0" fmla="*/ 1103085 w 1103085"/>
                <a:gd name="connsiteY0" fmla="*/ 0 h 257442"/>
                <a:gd name="connsiteX1" fmla="*/ 880049 w 1103085"/>
                <a:gd name="connsiteY1" fmla="*/ 257442 h 257442"/>
                <a:gd name="connsiteX2" fmla="*/ 0 w 1103085"/>
                <a:gd name="connsiteY2" fmla="*/ 257442 h 257442"/>
                <a:gd name="connsiteX3" fmla="*/ 54721 w 1103085"/>
                <a:gd name="connsiteY3" fmla="*/ 0 h 257442"/>
                <a:gd name="connsiteX0" fmla="*/ 1103085 w 1103085"/>
                <a:gd name="connsiteY0" fmla="*/ 0 h 257442"/>
                <a:gd name="connsiteX1" fmla="*/ 1048364 w 1103085"/>
                <a:gd name="connsiteY1" fmla="*/ 257442 h 257442"/>
                <a:gd name="connsiteX2" fmla="*/ 0 w 1103085"/>
                <a:gd name="connsiteY2" fmla="*/ 257442 h 257442"/>
                <a:gd name="connsiteX3" fmla="*/ 54721 w 1103085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2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439717 w 1439717"/>
                <a:gd name="connsiteY0" fmla="*/ 0 h 257442"/>
                <a:gd name="connsiteX1" fmla="*/ 1216681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692991 w 1692991"/>
                <a:gd name="connsiteY0" fmla="*/ 0 h 257442"/>
                <a:gd name="connsiteX1" fmla="*/ 1384996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692991 w 1692991"/>
                <a:gd name="connsiteY0" fmla="*/ 0 h 257442"/>
                <a:gd name="connsiteX1" fmla="*/ 1638270 w 1692991"/>
                <a:gd name="connsiteY1" fmla="*/ 257442 h 257442"/>
                <a:gd name="connsiteX2" fmla="*/ 0 w 1692991"/>
                <a:gd name="connsiteY2" fmla="*/ 257442 h 257442"/>
                <a:gd name="connsiteX3" fmla="*/ 54721 w 1692991"/>
                <a:gd name="connsiteY3" fmla="*/ 0 h 257442"/>
                <a:gd name="connsiteX0" fmla="*/ 1870925 w 1870925"/>
                <a:gd name="connsiteY0" fmla="*/ 0 h 257442"/>
                <a:gd name="connsiteX1" fmla="*/ 1638270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2039240 w 2039240"/>
                <a:gd name="connsiteY0" fmla="*/ 0 h 257442"/>
                <a:gd name="connsiteX1" fmla="*/ 1816204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0 w 2039240"/>
                <a:gd name="connsiteY0" fmla="*/ 0 h 257442"/>
                <a:gd name="connsiteX1" fmla="*/ 1984518 w 2039240"/>
                <a:gd name="connsiteY1" fmla="*/ 257442 h 257442"/>
                <a:gd name="connsiteX2" fmla="*/ 0 w 2039240"/>
                <a:gd name="connsiteY2" fmla="*/ 257442 h 257442"/>
                <a:gd name="connsiteX3" fmla="*/ 54721 w 2039240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54722 w 2039241"/>
                <a:gd name="connsiteY3" fmla="*/ 0 h 257442"/>
                <a:gd name="connsiteX0" fmla="*/ 2039241 w 2039241"/>
                <a:gd name="connsiteY0" fmla="*/ 0 h 257442"/>
                <a:gd name="connsiteX1" fmla="*/ 1984519 w 2039241"/>
                <a:gd name="connsiteY1" fmla="*/ 257442 h 257442"/>
                <a:gd name="connsiteX2" fmla="*/ 0 w 2039241"/>
                <a:gd name="connsiteY2" fmla="*/ 257442 h 257442"/>
                <a:gd name="connsiteX3" fmla="*/ 54722 w 2039241"/>
                <a:gd name="connsiteY3" fmla="*/ 0 h 257442"/>
                <a:gd name="connsiteX0" fmla="*/ 2300530 w 2300530"/>
                <a:gd name="connsiteY0" fmla="*/ 0 h 257442"/>
                <a:gd name="connsiteX1" fmla="*/ 1984519 w 2300530"/>
                <a:gd name="connsiteY1" fmla="*/ 257442 h 257442"/>
                <a:gd name="connsiteX2" fmla="*/ 0 w 2300530"/>
                <a:gd name="connsiteY2" fmla="*/ 257442 h 257442"/>
                <a:gd name="connsiteX3" fmla="*/ 54722 w 2300530"/>
                <a:gd name="connsiteY3" fmla="*/ 0 h 257442"/>
                <a:gd name="connsiteX0" fmla="*/ 2300530 w 2300530"/>
                <a:gd name="connsiteY0" fmla="*/ 0 h 257442"/>
                <a:gd name="connsiteX1" fmla="*/ 2245808 w 2300530"/>
                <a:gd name="connsiteY1" fmla="*/ 257442 h 257442"/>
                <a:gd name="connsiteX2" fmla="*/ 0 w 2300530"/>
                <a:gd name="connsiteY2" fmla="*/ 257442 h 257442"/>
                <a:gd name="connsiteX3" fmla="*/ 54722 w 2300530"/>
                <a:gd name="connsiteY3" fmla="*/ 0 h 257442"/>
                <a:gd name="connsiteX0" fmla="*/ 2300531 w 2300531"/>
                <a:gd name="connsiteY0" fmla="*/ 0 h 257442"/>
                <a:gd name="connsiteX1" fmla="*/ 2245809 w 2300531"/>
                <a:gd name="connsiteY1" fmla="*/ 257442 h 257442"/>
                <a:gd name="connsiteX2" fmla="*/ 0 w 2300531"/>
                <a:gd name="connsiteY2" fmla="*/ 257442 h 257442"/>
                <a:gd name="connsiteX3" fmla="*/ 54723 w 2300531"/>
                <a:gd name="connsiteY3" fmla="*/ 0 h 257442"/>
                <a:gd name="connsiteX0" fmla="*/ 2300531 w 2300531"/>
                <a:gd name="connsiteY0" fmla="*/ 0 h 257442"/>
                <a:gd name="connsiteX1" fmla="*/ 2245809 w 2300531"/>
                <a:gd name="connsiteY1" fmla="*/ 257442 h 257442"/>
                <a:gd name="connsiteX2" fmla="*/ 0 w 2300531"/>
                <a:gd name="connsiteY2" fmla="*/ 257442 h 257442"/>
                <a:gd name="connsiteX3" fmla="*/ 54722 w 2300531"/>
                <a:gd name="connsiteY3" fmla="*/ 0 h 257442"/>
                <a:gd name="connsiteX0" fmla="*/ 2460831 w 2460831"/>
                <a:gd name="connsiteY0" fmla="*/ 0 h 257442"/>
                <a:gd name="connsiteX1" fmla="*/ 2245809 w 2460831"/>
                <a:gd name="connsiteY1" fmla="*/ 257442 h 257442"/>
                <a:gd name="connsiteX2" fmla="*/ 0 w 2460831"/>
                <a:gd name="connsiteY2" fmla="*/ 257442 h 257442"/>
                <a:gd name="connsiteX3" fmla="*/ 54722 w 2460831"/>
                <a:gd name="connsiteY3" fmla="*/ 0 h 257442"/>
                <a:gd name="connsiteX0" fmla="*/ 2460831 w 2460831"/>
                <a:gd name="connsiteY0" fmla="*/ 0 h 257442"/>
                <a:gd name="connsiteX1" fmla="*/ 2406110 w 2460831"/>
                <a:gd name="connsiteY1" fmla="*/ 257442 h 257442"/>
                <a:gd name="connsiteX2" fmla="*/ 0 w 2460831"/>
                <a:gd name="connsiteY2" fmla="*/ 257442 h 257442"/>
                <a:gd name="connsiteX3" fmla="*/ 54722 w 2460831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54721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54720 w 2460830"/>
                <a:gd name="connsiteY3" fmla="*/ 0 h 257442"/>
                <a:gd name="connsiteX0" fmla="*/ 2714103 w 2714103"/>
                <a:gd name="connsiteY0" fmla="*/ 0 h 257442"/>
                <a:gd name="connsiteX1" fmla="*/ 2406109 w 2714103"/>
                <a:gd name="connsiteY1" fmla="*/ 257442 h 257442"/>
                <a:gd name="connsiteX2" fmla="*/ 0 w 2714103"/>
                <a:gd name="connsiteY2" fmla="*/ 257442 h 257442"/>
                <a:gd name="connsiteX3" fmla="*/ 54720 w 2714103"/>
                <a:gd name="connsiteY3" fmla="*/ 0 h 257442"/>
                <a:gd name="connsiteX0" fmla="*/ 2714103 w 2714103"/>
                <a:gd name="connsiteY0" fmla="*/ 0 h 257442"/>
                <a:gd name="connsiteX1" fmla="*/ 2659382 w 2714103"/>
                <a:gd name="connsiteY1" fmla="*/ 257442 h 257442"/>
                <a:gd name="connsiteX2" fmla="*/ 0 w 2714103"/>
                <a:gd name="connsiteY2" fmla="*/ 257442 h 257442"/>
                <a:gd name="connsiteX3" fmla="*/ 54720 w 2714103"/>
                <a:gd name="connsiteY3" fmla="*/ 0 h 257442"/>
                <a:gd name="connsiteX0" fmla="*/ 2714104 w 2714104"/>
                <a:gd name="connsiteY0" fmla="*/ 0 h 257442"/>
                <a:gd name="connsiteX1" fmla="*/ 2659383 w 2714104"/>
                <a:gd name="connsiteY1" fmla="*/ 257442 h 257442"/>
                <a:gd name="connsiteX2" fmla="*/ 0 w 2714104"/>
                <a:gd name="connsiteY2" fmla="*/ 257442 h 257442"/>
                <a:gd name="connsiteX3" fmla="*/ 54721 w 2714104"/>
                <a:gd name="connsiteY3" fmla="*/ 0 h 257442"/>
                <a:gd name="connsiteX0" fmla="*/ 2714104 w 2714104"/>
                <a:gd name="connsiteY0" fmla="*/ 0 h 257442"/>
                <a:gd name="connsiteX1" fmla="*/ 2659383 w 2714104"/>
                <a:gd name="connsiteY1" fmla="*/ 257442 h 257442"/>
                <a:gd name="connsiteX2" fmla="*/ 0 w 2714104"/>
                <a:gd name="connsiteY2" fmla="*/ 257442 h 257442"/>
                <a:gd name="connsiteX3" fmla="*/ 54721 w 2714104"/>
                <a:gd name="connsiteY3" fmla="*/ 0 h 257442"/>
                <a:gd name="connsiteX0" fmla="*/ 3026689 w 3026689"/>
                <a:gd name="connsiteY0" fmla="*/ 0 h 257442"/>
                <a:gd name="connsiteX1" fmla="*/ 2659383 w 3026689"/>
                <a:gd name="connsiteY1" fmla="*/ 257442 h 257442"/>
                <a:gd name="connsiteX2" fmla="*/ 0 w 3026689"/>
                <a:gd name="connsiteY2" fmla="*/ 257442 h 257442"/>
                <a:gd name="connsiteX3" fmla="*/ 54721 w 3026689"/>
                <a:gd name="connsiteY3" fmla="*/ 0 h 257442"/>
                <a:gd name="connsiteX0" fmla="*/ 3026689 w 3026689"/>
                <a:gd name="connsiteY0" fmla="*/ 0 h 257442"/>
                <a:gd name="connsiteX1" fmla="*/ 2971968 w 3026689"/>
                <a:gd name="connsiteY1" fmla="*/ 257442 h 257442"/>
                <a:gd name="connsiteX2" fmla="*/ 0 w 3026689"/>
                <a:gd name="connsiteY2" fmla="*/ 257442 h 257442"/>
                <a:gd name="connsiteX3" fmla="*/ 54721 w 3026689"/>
                <a:gd name="connsiteY3" fmla="*/ 0 h 257442"/>
                <a:gd name="connsiteX0" fmla="*/ 3026689 w 3026689"/>
                <a:gd name="connsiteY0" fmla="*/ 0 h 257442"/>
                <a:gd name="connsiteX1" fmla="*/ 2971968 w 3026689"/>
                <a:gd name="connsiteY1" fmla="*/ 257442 h 257442"/>
                <a:gd name="connsiteX2" fmla="*/ 0 w 3026689"/>
                <a:gd name="connsiteY2" fmla="*/ 257442 h 257442"/>
                <a:gd name="connsiteX3" fmla="*/ 54721 w 3026689"/>
                <a:gd name="connsiteY3" fmla="*/ 0 h 257442"/>
                <a:gd name="connsiteX0" fmla="*/ 3026689 w 3026689"/>
                <a:gd name="connsiteY0" fmla="*/ 0 h 257442"/>
                <a:gd name="connsiteX1" fmla="*/ 2971968 w 3026689"/>
                <a:gd name="connsiteY1" fmla="*/ 257442 h 257442"/>
                <a:gd name="connsiteX2" fmla="*/ 0 w 3026689"/>
                <a:gd name="connsiteY2" fmla="*/ 257442 h 257442"/>
                <a:gd name="connsiteX3" fmla="*/ 54721 w 3026689"/>
                <a:gd name="connsiteY3" fmla="*/ 0 h 257442"/>
                <a:gd name="connsiteX0" fmla="*/ 3195005 w 3195005"/>
                <a:gd name="connsiteY0" fmla="*/ 0 h 257442"/>
                <a:gd name="connsiteX1" fmla="*/ 2971968 w 3195005"/>
                <a:gd name="connsiteY1" fmla="*/ 257442 h 257442"/>
                <a:gd name="connsiteX2" fmla="*/ 0 w 3195005"/>
                <a:gd name="connsiteY2" fmla="*/ 257442 h 257442"/>
                <a:gd name="connsiteX3" fmla="*/ 54721 w 3195005"/>
                <a:gd name="connsiteY3" fmla="*/ 0 h 257442"/>
                <a:gd name="connsiteX0" fmla="*/ 3195005 w 3195005"/>
                <a:gd name="connsiteY0" fmla="*/ 0 h 257442"/>
                <a:gd name="connsiteX1" fmla="*/ 3140284 w 3195005"/>
                <a:gd name="connsiteY1" fmla="*/ 257442 h 257442"/>
                <a:gd name="connsiteX2" fmla="*/ 0 w 3195005"/>
                <a:gd name="connsiteY2" fmla="*/ 257442 h 257442"/>
                <a:gd name="connsiteX3" fmla="*/ 54721 w 3195005"/>
                <a:gd name="connsiteY3" fmla="*/ 0 h 257442"/>
                <a:gd name="connsiteX0" fmla="*/ 3195005 w 3195005"/>
                <a:gd name="connsiteY0" fmla="*/ 0 h 257442"/>
                <a:gd name="connsiteX1" fmla="*/ 3140284 w 3195005"/>
                <a:gd name="connsiteY1" fmla="*/ 257442 h 257442"/>
                <a:gd name="connsiteX2" fmla="*/ 0 w 3195005"/>
                <a:gd name="connsiteY2" fmla="*/ 257442 h 257442"/>
                <a:gd name="connsiteX3" fmla="*/ 54721 w 3195005"/>
                <a:gd name="connsiteY3" fmla="*/ 0 h 257442"/>
                <a:gd name="connsiteX0" fmla="*/ 3195005 w 3195005"/>
                <a:gd name="connsiteY0" fmla="*/ 0 h 257442"/>
                <a:gd name="connsiteX1" fmla="*/ 3140284 w 3195005"/>
                <a:gd name="connsiteY1" fmla="*/ 257442 h 257442"/>
                <a:gd name="connsiteX2" fmla="*/ 0 w 3195005"/>
                <a:gd name="connsiteY2" fmla="*/ 257442 h 257442"/>
                <a:gd name="connsiteX3" fmla="*/ 54721 w 3195005"/>
                <a:gd name="connsiteY3" fmla="*/ 0 h 257442"/>
                <a:gd name="connsiteX0" fmla="*/ 3363320 w 3363320"/>
                <a:gd name="connsiteY0" fmla="*/ 0 h 257442"/>
                <a:gd name="connsiteX1" fmla="*/ 3140284 w 3363320"/>
                <a:gd name="connsiteY1" fmla="*/ 257442 h 257442"/>
                <a:gd name="connsiteX2" fmla="*/ 0 w 3363320"/>
                <a:gd name="connsiteY2" fmla="*/ 257442 h 257442"/>
                <a:gd name="connsiteX3" fmla="*/ 54721 w 3363320"/>
                <a:gd name="connsiteY3" fmla="*/ 0 h 257442"/>
                <a:gd name="connsiteX0" fmla="*/ 3363320 w 3363320"/>
                <a:gd name="connsiteY0" fmla="*/ 0 h 257442"/>
                <a:gd name="connsiteX1" fmla="*/ 3308598 w 3363320"/>
                <a:gd name="connsiteY1" fmla="*/ 257442 h 257442"/>
                <a:gd name="connsiteX2" fmla="*/ 0 w 3363320"/>
                <a:gd name="connsiteY2" fmla="*/ 257442 h 257442"/>
                <a:gd name="connsiteX3" fmla="*/ 54721 w 3363320"/>
                <a:gd name="connsiteY3" fmla="*/ 0 h 257442"/>
                <a:gd name="connsiteX0" fmla="*/ 3363321 w 3363321"/>
                <a:gd name="connsiteY0" fmla="*/ 0 h 257442"/>
                <a:gd name="connsiteX1" fmla="*/ 3308599 w 3363321"/>
                <a:gd name="connsiteY1" fmla="*/ 257442 h 257442"/>
                <a:gd name="connsiteX2" fmla="*/ 0 w 3363321"/>
                <a:gd name="connsiteY2" fmla="*/ 257442 h 257442"/>
                <a:gd name="connsiteX3" fmla="*/ 54722 w 3363321"/>
                <a:gd name="connsiteY3" fmla="*/ 0 h 257442"/>
                <a:gd name="connsiteX0" fmla="*/ 3363321 w 3363321"/>
                <a:gd name="connsiteY0" fmla="*/ 0 h 257442"/>
                <a:gd name="connsiteX1" fmla="*/ 3308599 w 3363321"/>
                <a:gd name="connsiteY1" fmla="*/ 257442 h 257442"/>
                <a:gd name="connsiteX2" fmla="*/ 0 w 3363321"/>
                <a:gd name="connsiteY2" fmla="*/ 257442 h 257442"/>
                <a:gd name="connsiteX3" fmla="*/ 54722 w 3363321"/>
                <a:gd name="connsiteY3" fmla="*/ 0 h 257442"/>
                <a:gd name="connsiteX0" fmla="*/ 950801 w 3308599"/>
                <a:gd name="connsiteY0" fmla="*/ 0 h 257442"/>
                <a:gd name="connsiteX1" fmla="*/ 3308599 w 3308599"/>
                <a:gd name="connsiteY1" fmla="*/ 257442 h 257442"/>
                <a:gd name="connsiteX2" fmla="*/ 0 w 3308599"/>
                <a:gd name="connsiteY2" fmla="*/ 257442 h 257442"/>
                <a:gd name="connsiteX3" fmla="*/ 54722 w 3308599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2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2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377648 w 1377648"/>
                <a:gd name="connsiteY0" fmla="*/ 0 h 257442"/>
                <a:gd name="connsiteX1" fmla="*/ 1056380 w 1377648"/>
                <a:gd name="connsiteY1" fmla="*/ 257442 h 257442"/>
                <a:gd name="connsiteX2" fmla="*/ 0 w 1377648"/>
                <a:gd name="connsiteY2" fmla="*/ 257442 h 257442"/>
                <a:gd name="connsiteX3" fmla="*/ 54721 w 1377648"/>
                <a:gd name="connsiteY3" fmla="*/ 0 h 257442"/>
                <a:gd name="connsiteX0" fmla="*/ 1377648 w 1377648"/>
                <a:gd name="connsiteY0" fmla="*/ 0 h 257442"/>
                <a:gd name="connsiteX1" fmla="*/ 1322926 w 1377648"/>
                <a:gd name="connsiteY1" fmla="*/ 257442 h 257442"/>
                <a:gd name="connsiteX2" fmla="*/ 0 w 1377648"/>
                <a:gd name="connsiteY2" fmla="*/ 257442 h 257442"/>
                <a:gd name="connsiteX3" fmla="*/ 54721 w 1377648"/>
                <a:gd name="connsiteY3" fmla="*/ 0 h 257442"/>
                <a:gd name="connsiteX0" fmla="*/ 1377649 w 1377649"/>
                <a:gd name="connsiteY0" fmla="*/ 0 h 257442"/>
                <a:gd name="connsiteX1" fmla="*/ 1322927 w 1377649"/>
                <a:gd name="connsiteY1" fmla="*/ 257442 h 257442"/>
                <a:gd name="connsiteX2" fmla="*/ 0 w 1377649"/>
                <a:gd name="connsiteY2" fmla="*/ 257442 h 257442"/>
                <a:gd name="connsiteX3" fmla="*/ 54722 w 1377649"/>
                <a:gd name="connsiteY3" fmla="*/ 0 h 257442"/>
                <a:gd name="connsiteX0" fmla="*/ 1377649 w 1377649"/>
                <a:gd name="connsiteY0" fmla="*/ 0 h 257442"/>
                <a:gd name="connsiteX1" fmla="*/ 1322927 w 1377649"/>
                <a:gd name="connsiteY1" fmla="*/ 257442 h 257442"/>
                <a:gd name="connsiteX2" fmla="*/ 0 w 1377649"/>
                <a:gd name="connsiteY2" fmla="*/ 257442 h 257442"/>
                <a:gd name="connsiteX3" fmla="*/ 54722 w 1377649"/>
                <a:gd name="connsiteY3" fmla="*/ 0 h 257442"/>
                <a:gd name="connsiteX0" fmla="*/ 1537950 w 1537950"/>
                <a:gd name="connsiteY0" fmla="*/ 0 h 257442"/>
                <a:gd name="connsiteX1" fmla="*/ 1322927 w 1537950"/>
                <a:gd name="connsiteY1" fmla="*/ 257442 h 257442"/>
                <a:gd name="connsiteX2" fmla="*/ 0 w 1537950"/>
                <a:gd name="connsiteY2" fmla="*/ 257442 h 257442"/>
                <a:gd name="connsiteX3" fmla="*/ 54722 w 1537950"/>
                <a:gd name="connsiteY3" fmla="*/ 0 h 257442"/>
                <a:gd name="connsiteX0" fmla="*/ 1537950 w 1537950"/>
                <a:gd name="connsiteY0" fmla="*/ 0 h 257442"/>
                <a:gd name="connsiteX1" fmla="*/ 1483228 w 1537950"/>
                <a:gd name="connsiteY1" fmla="*/ 257442 h 257442"/>
                <a:gd name="connsiteX2" fmla="*/ 0 w 1537950"/>
                <a:gd name="connsiteY2" fmla="*/ 257442 h 257442"/>
                <a:gd name="connsiteX3" fmla="*/ 54722 w 1537950"/>
                <a:gd name="connsiteY3" fmla="*/ 0 h 257442"/>
                <a:gd name="connsiteX0" fmla="*/ 1537950 w 1537950"/>
                <a:gd name="connsiteY0" fmla="*/ 0 h 257442"/>
                <a:gd name="connsiteX1" fmla="*/ 1483228 w 1537950"/>
                <a:gd name="connsiteY1" fmla="*/ 257442 h 257442"/>
                <a:gd name="connsiteX2" fmla="*/ 0 w 1537950"/>
                <a:gd name="connsiteY2" fmla="*/ 257442 h 257442"/>
                <a:gd name="connsiteX3" fmla="*/ 54722 w 1537950"/>
                <a:gd name="connsiteY3" fmla="*/ 0 h 257442"/>
                <a:gd name="connsiteX0" fmla="*/ 1537950 w 1537950"/>
                <a:gd name="connsiteY0" fmla="*/ 0 h 257442"/>
                <a:gd name="connsiteX1" fmla="*/ 1483228 w 1537950"/>
                <a:gd name="connsiteY1" fmla="*/ 257442 h 257442"/>
                <a:gd name="connsiteX2" fmla="*/ 0 w 1537950"/>
                <a:gd name="connsiteY2" fmla="*/ 257442 h 257442"/>
                <a:gd name="connsiteX3" fmla="*/ 54721 w 1537950"/>
                <a:gd name="connsiteY3" fmla="*/ 0 h 257442"/>
                <a:gd name="connsiteX0" fmla="*/ 1698249 w 1698249"/>
                <a:gd name="connsiteY0" fmla="*/ 0 h 257442"/>
                <a:gd name="connsiteX1" fmla="*/ 1483228 w 1698249"/>
                <a:gd name="connsiteY1" fmla="*/ 257442 h 257442"/>
                <a:gd name="connsiteX2" fmla="*/ 0 w 1698249"/>
                <a:gd name="connsiteY2" fmla="*/ 257442 h 257442"/>
                <a:gd name="connsiteX3" fmla="*/ 54721 w 1698249"/>
                <a:gd name="connsiteY3" fmla="*/ 0 h 257442"/>
                <a:gd name="connsiteX0" fmla="*/ 1698249 w 1698249"/>
                <a:gd name="connsiteY0" fmla="*/ 0 h 257442"/>
                <a:gd name="connsiteX1" fmla="*/ 1643528 w 1698249"/>
                <a:gd name="connsiteY1" fmla="*/ 257442 h 257442"/>
                <a:gd name="connsiteX2" fmla="*/ 0 w 1698249"/>
                <a:gd name="connsiteY2" fmla="*/ 257442 h 257442"/>
                <a:gd name="connsiteX3" fmla="*/ 54721 w 1698249"/>
                <a:gd name="connsiteY3" fmla="*/ 0 h 257442"/>
                <a:gd name="connsiteX0" fmla="*/ 1698249 w 1698249"/>
                <a:gd name="connsiteY0" fmla="*/ 0 h 257442"/>
                <a:gd name="connsiteX1" fmla="*/ 1643528 w 1698249"/>
                <a:gd name="connsiteY1" fmla="*/ 257442 h 257442"/>
                <a:gd name="connsiteX2" fmla="*/ 0 w 1698249"/>
                <a:gd name="connsiteY2" fmla="*/ 257442 h 257442"/>
                <a:gd name="connsiteX3" fmla="*/ 54721 w 1698249"/>
                <a:gd name="connsiteY3" fmla="*/ 0 h 257442"/>
                <a:gd name="connsiteX0" fmla="*/ 1698249 w 1698249"/>
                <a:gd name="connsiteY0" fmla="*/ 0 h 257442"/>
                <a:gd name="connsiteX1" fmla="*/ 1643528 w 1698249"/>
                <a:gd name="connsiteY1" fmla="*/ 257442 h 257442"/>
                <a:gd name="connsiteX2" fmla="*/ 0 w 1698249"/>
                <a:gd name="connsiteY2" fmla="*/ 257442 h 257442"/>
                <a:gd name="connsiteX3" fmla="*/ 54721 w 1698249"/>
                <a:gd name="connsiteY3" fmla="*/ 0 h 257442"/>
                <a:gd name="connsiteX0" fmla="*/ 1948767 w 1948767"/>
                <a:gd name="connsiteY0" fmla="*/ 0 h 257442"/>
                <a:gd name="connsiteX1" fmla="*/ 1643528 w 1948767"/>
                <a:gd name="connsiteY1" fmla="*/ 257442 h 257442"/>
                <a:gd name="connsiteX2" fmla="*/ 0 w 1948767"/>
                <a:gd name="connsiteY2" fmla="*/ 257442 h 257442"/>
                <a:gd name="connsiteX3" fmla="*/ 54721 w 1948767"/>
                <a:gd name="connsiteY3" fmla="*/ 0 h 257442"/>
                <a:gd name="connsiteX0" fmla="*/ 1948767 w 1948767"/>
                <a:gd name="connsiteY0" fmla="*/ 0 h 257442"/>
                <a:gd name="connsiteX1" fmla="*/ 1894046 w 1948767"/>
                <a:gd name="connsiteY1" fmla="*/ 257442 h 257442"/>
                <a:gd name="connsiteX2" fmla="*/ 0 w 1948767"/>
                <a:gd name="connsiteY2" fmla="*/ 257442 h 257442"/>
                <a:gd name="connsiteX3" fmla="*/ 54721 w 1948767"/>
                <a:gd name="connsiteY3" fmla="*/ 0 h 257442"/>
                <a:gd name="connsiteX0" fmla="*/ 1948767 w 1948767"/>
                <a:gd name="connsiteY0" fmla="*/ 0 h 257442"/>
                <a:gd name="connsiteX1" fmla="*/ 1894046 w 1948767"/>
                <a:gd name="connsiteY1" fmla="*/ 257442 h 257442"/>
                <a:gd name="connsiteX2" fmla="*/ 0 w 1948767"/>
                <a:gd name="connsiteY2" fmla="*/ 257442 h 257442"/>
                <a:gd name="connsiteX3" fmla="*/ 54721 w 1948767"/>
                <a:gd name="connsiteY3" fmla="*/ 0 h 257442"/>
                <a:gd name="connsiteX0" fmla="*/ 1948767 w 1948767"/>
                <a:gd name="connsiteY0" fmla="*/ 0 h 257442"/>
                <a:gd name="connsiteX1" fmla="*/ 1894046 w 1948767"/>
                <a:gd name="connsiteY1" fmla="*/ 257442 h 257442"/>
                <a:gd name="connsiteX2" fmla="*/ 0 w 1948767"/>
                <a:gd name="connsiteY2" fmla="*/ 257442 h 257442"/>
                <a:gd name="connsiteX3" fmla="*/ 54721 w 1948767"/>
                <a:gd name="connsiteY3" fmla="*/ 0 h 257442"/>
                <a:gd name="connsiteX0" fmla="*/ 2202041 w 2202041"/>
                <a:gd name="connsiteY0" fmla="*/ 0 h 257442"/>
                <a:gd name="connsiteX1" fmla="*/ 1894046 w 2202041"/>
                <a:gd name="connsiteY1" fmla="*/ 257442 h 257442"/>
                <a:gd name="connsiteX2" fmla="*/ 0 w 2202041"/>
                <a:gd name="connsiteY2" fmla="*/ 257442 h 257442"/>
                <a:gd name="connsiteX3" fmla="*/ 54721 w 2202041"/>
                <a:gd name="connsiteY3" fmla="*/ 0 h 257442"/>
                <a:gd name="connsiteX0" fmla="*/ 2202041 w 2202041"/>
                <a:gd name="connsiteY0" fmla="*/ 0 h 257442"/>
                <a:gd name="connsiteX1" fmla="*/ 2147320 w 2202041"/>
                <a:gd name="connsiteY1" fmla="*/ 257442 h 257442"/>
                <a:gd name="connsiteX2" fmla="*/ 0 w 2202041"/>
                <a:gd name="connsiteY2" fmla="*/ 257442 h 257442"/>
                <a:gd name="connsiteX3" fmla="*/ 54721 w 2202041"/>
                <a:gd name="connsiteY3" fmla="*/ 0 h 257442"/>
                <a:gd name="connsiteX0" fmla="*/ 2202041 w 2202041"/>
                <a:gd name="connsiteY0" fmla="*/ 0 h 257442"/>
                <a:gd name="connsiteX1" fmla="*/ 2147320 w 2202041"/>
                <a:gd name="connsiteY1" fmla="*/ 257442 h 257442"/>
                <a:gd name="connsiteX2" fmla="*/ 0 w 2202041"/>
                <a:gd name="connsiteY2" fmla="*/ 257442 h 257442"/>
                <a:gd name="connsiteX3" fmla="*/ 54721 w 2202041"/>
                <a:gd name="connsiteY3" fmla="*/ 0 h 257442"/>
                <a:gd name="connsiteX0" fmla="*/ 2202041 w 2202041"/>
                <a:gd name="connsiteY0" fmla="*/ 0 h 257442"/>
                <a:gd name="connsiteX1" fmla="*/ 2147320 w 2202041"/>
                <a:gd name="connsiteY1" fmla="*/ 257442 h 257442"/>
                <a:gd name="connsiteX2" fmla="*/ 0 w 2202041"/>
                <a:gd name="connsiteY2" fmla="*/ 257442 h 257442"/>
                <a:gd name="connsiteX3" fmla="*/ 54721 w 2202041"/>
                <a:gd name="connsiteY3" fmla="*/ 0 h 257442"/>
                <a:gd name="connsiteX0" fmla="*/ 2514626 w 2514626"/>
                <a:gd name="connsiteY0" fmla="*/ 0 h 257442"/>
                <a:gd name="connsiteX1" fmla="*/ 2147320 w 2514626"/>
                <a:gd name="connsiteY1" fmla="*/ 257442 h 257442"/>
                <a:gd name="connsiteX2" fmla="*/ 0 w 2514626"/>
                <a:gd name="connsiteY2" fmla="*/ 257442 h 257442"/>
                <a:gd name="connsiteX3" fmla="*/ 54721 w 2514626"/>
                <a:gd name="connsiteY3" fmla="*/ 0 h 257442"/>
                <a:gd name="connsiteX0" fmla="*/ 2514626 w 2514626"/>
                <a:gd name="connsiteY0" fmla="*/ 0 h 257442"/>
                <a:gd name="connsiteX1" fmla="*/ 2459904 w 2514626"/>
                <a:gd name="connsiteY1" fmla="*/ 257442 h 257442"/>
                <a:gd name="connsiteX2" fmla="*/ 0 w 2514626"/>
                <a:gd name="connsiteY2" fmla="*/ 257442 h 257442"/>
                <a:gd name="connsiteX3" fmla="*/ 54721 w 2514626"/>
                <a:gd name="connsiteY3" fmla="*/ 0 h 257442"/>
                <a:gd name="connsiteX0" fmla="*/ 2514627 w 2514627"/>
                <a:gd name="connsiteY0" fmla="*/ 0 h 257442"/>
                <a:gd name="connsiteX1" fmla="*/ 2459905 w 2514627"/>
                <a:gd name="connsiteY1" fmla="*/ 257442 h 257442"/>
                <a:gd name="connsiteX2" fmla="*/ 0 w 2514627"/>
                <a:gd name="connsiteY2" fmla="*/ 257442 h 257442"/>
                <a:gd name="connsiteX3" fmla="*/ 54722 w 2514627"/>
                <a:gd name="connsiteY3" fmla="*/ 0 h 257442"/>
                <a:gd name="connsiteX0" fmla="*/ 2514627 w 2514627"/>
                <a:gd name="connsiteY0" fmla="*/ 0 h 257442"/>
                <a:gd name="connsiteX1" fmla="*/ 2459905 w 2514627"/>
                <a:gd name="connsiteY1" fmla="*/ 257442 h 257442"/>
                <a:gd name="connsiteX2" fmla="*/ 0 w 2514627"/>
                <a:gd name="connsiteY2" fmla="*/ 257442 h 257442"/>
                <a:gd name="connsiteX3" fmla="*/ 54722 w 2514627"/>
                <a:gd name="connsiteY3" fmla="*/ 0 h 257442"/>
                <a:gd name="connsiteX0" fmla="*/ 2674927 w 2674927"/>
                <a:gd name="connsiteY0" fmla="*/ 0 h 257442"/>
                <a:gd name="connsiteX1" fmla="*/ 2459905 w 2674927"/>
                <a:gd name="connsiteY1" fmla="*/ 257442 h 257442"/>
                <a:gd name="connsiteX2" fmla="*/ 0 w 2674927"/>
                <a:gd name="connsiteY2" fmla="*/ 257442 h 257442"/>
                <a:gd name="connsiteX3" fmla="*/ 54722 w 2674927"/>
                <a:gd name="connsiteY3" fmla="*/ 0 h 257442"/>
                <a:gd name="connsiteX0" fmla="*/ 2674927 w 2674927"/>
                <a:gd name="connsiteY0" fmla="*/ 0 h 257442"/>
                <a:gd name="connsiteX1" fmla="*/ 2620206 w 2674927"/>
                <a:gd name="connsiteY1" fmla="*/ 257442 h 257442"/>
                <a:gd name="connsiteX2" fmla="*/ 0 w 2674927"/>
                <a:gd name="connsiteY2" fmla="*/ 257442 h 257442"/>
                <a:gd name="connsiteX3" fmla="*/ 54722 w 2674927"/>
                <a:gd name="connsiteY3" fmla="*/ 0 h 257442"/>
                <a:gd name="connsiteX0" fmla="*/ 2674926 w 2674926"/>
                <a:gd name="connsiteY0" fmla="*/ 0 h 257442"/>
                <a:gd name="connsiteX1" fmla="*/ 2620205 w 2674926"/>
                <a:gd name="connsiteY1" fmla="*/ 257442 h 257442"/>
                <a:gd name="connsiteX2" fmla="*/ 0 w 2674926"/>
                <a:gd name="connsiteY2" fmla="*/ 257442 h 257442"/>
                <a:gd name="connsiteX3" fmla="*/ 54721 w 2674926"/>
                <a:gd name="connsiteY3" fmla="*/ 0 h 257442"/>
                <a:gd name="connsiteX0" fmla="*/ 2674926 w 2674926"/>
                <a:gd name="connsiteY0" fmla="*/ 0 h 257442"/>
                <a:gd name="connsiteX1" fmla="*/ 2620205 w 2674926"/>
                <a:gd name="connsiteY1" fmla="*/ 257442 h 257442"/>
                <a:gd name="connsiteX2" fmla="*/ 0 w 2674926"/>
                <a:gd name="connsiteY2" fmla="*/ 257442 h 257442"/>
                <a:gd name="connsiteX3" fmla="*/ 54720 w 2674926"/>
                <a:gd name="connsiteY3" fmla="*/ 0 h 257442"/>
                <a:gd name="connsiteX0" fmla="*/ 2506611 w 2620205"/>
                <a:gd name="connsiteY0" fmla="*/ 0 h 257442"/>
                <a:gd name="connsiteX1" fmla="*/ 2620205 w 2620205"/>
                <a:gd name="connsiteY1" fmla="*/ 257442 h 257442"/>
                <a:gd name="connsiteX2" fmla="*/ 0 w 2620205"/>
                <a:gd name="connsiteY2" fmla="*/ 257442 h 257442"/>
                <a:gd name="connsiteX3" fmla="*/ 54720 w 2620205"/>
                <a:gd name="connsiteY3" fmla="*/ 0 h 257442"/>
                <a:gd name="connsiteX0" fmla="*/ 2506611 w 2506611"/>
                <a:gd name="connsiteY0" fmla="*/ 0 h 257442"/>
                <a:gd name="connsiteX1" fmla="*/ 2451891 w 2506611"/>
                <a:gd name="connsiteY1" fmla="*/ 257442 h 257442"/>
                <a:gd name="connsiteX2" fmla="*/ 0 w 2506611"/>
                <a:gd name="connsiteY2" fmla="*/ 257442 h 257442"/>
                <a:gd name="connsiteX3" fmla="*/ 54720 w 2506611"/>
                <a:gd name="connsiteY3" fmla="*/ 0 h 257442"/>
                <a:gd name="connsiteX0" fmla="*/ 2506611 w 2506611"/>
                <a:gd name="connsiteY0" fmla="*/ 0 h 257442"/>
                <a:gd name="connsiteX1" fmla="*/ 2451891 w 2506611"/>
                <a:gd name="connsiteY1" fmla="*/ 257442 h 257442"/>
                <a:gd name="connsiteX2" fmla="*/ 0 w 2506611"/>
                <a:gd name="connsiteY2" fmla="*/ 257442 h 257442"/>
                <a:gd name="connsiteX3" fmla="*/ 54720 w 2506611"/>
                <a:gd name="connsiteY3" fmla="*/ 0 h 257442"/>
                <a:gd name="connsiteX0" fmla="*/ 2506611 w 2506611"/>
                <a:gd name="connsiteY0" fmla="*/ 0 h 257442"/>
                <a:gd name="connsiteX1" fmla="*/ 2451891 w 2506611"/>
                <a:gd name="connsiteY1" fmla="*/ 257442 h 257442"/>
                <a:gd name="connsiteX2" fmla="*/ 0 w 2506611"/>
                <a:gd name="connsiteY2" fmla="*/ 257442 h 257442"/>
                <a:gd name="connsiteX3" fmla="*/ 54721 w 2506611"/>
                <a:gd name="connsiteY3" fmla="*/ 0 h 257442"/>
                <a:gd name="connsiteX0" fmla="*/ 2248079 w 2451891"/>
                <a:gd name="connsiteY0" fmla="*/ 0 h 257442"/>
                <a:gd name="connsiteX1" fmla="*/ 2451891 w 2451891"/>
                <a:gd name="connsiteY1" fmla="*/ 257442 h 257442"/>
                <a:gd name="connsiteX2" fmla="*/ 0 w 2451891"/>
                <a:gd name="connsiteY2" fmla="*/ 257442 h 257442"/>
                <a:gd name="connsiteX3" fmla="*/ 54721 w 2451891"/>
                <a:gd name="connsiteY3" fmla="*/ 0 h 257442"/>
                <a:gd name="connsiteX0" fmla="*/ 2248079 w 2248079"/>
                <a:gd name="connsiteY0" fmla="*/ 0 h 257442"/>
                <a:gd name="connsiteX1" fmla="*/ 2193358 w 2248079"/>
                <a:gd name="connsiteY1" fmla="*/ 257442 h 257442"/>
                <a:gd name="connsiteX2" fmla="*/ 0 w 2248079"/>
                <a:gd name="connsiteY2" fmla="*/ 257442 h 257442"/>
                <a:gd name="connsiteX3" fmla="*/ 54721 w 2248079"/>
                <a:gd name="connsiteY3" fmla="*/ 0 h 257442"/>
                <a:gd name="connsiteX0" fmla="*/ 2248079 w 2248079"/>
                <a:gd name="connsiteY0" fmla="*/ 0 h 257442"/>
                <a:gd name="connsiteX1" fmla="*/ 2193358 w 2248079"/>
                <a:gd name="connsiteY1" fmla="*/ 257442 h 257442"/>
                <a:gd name="connsiteX2" fmla="*/ 0 w 2248079"/>
                <a:gd name="connsiteY2" fmla="*/ 257442 h 257442"/>
                <a:gd name="connsiteX3" fmla="*/ 54721 w 2248079"/>
                <a:gd name="connsiteY3" fmla="*/ 0 h 257442"/>
                <a:gd name="connsiteX0" fmla="*/ 2248079 w 2248079"/>
                <a:gd name="connsiteY0" fmla="*/ 0 h 257442"/>
                <a:gd name="connsiteX1" fmla="*/ 2193358 w 2248079"/>
                <a:gd name="connsiteY1" fmla="*/ 257442 h 257442"/>
                <a:gd name="connsiteX2" fmla="*/ 0 w 2248079"/>
                <a:gd name="connsiteY2" fmla="*/ 257442 h 257442"/>
                <a:gd name="connsiteX3" fmla="*/ 54721 w 224807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48079" h="257442">
                  <a:moveTo>
                    <a:pt x="2248079" y="0"/>
                  </a:moveTo>
                  <a:lnTo>
                    <a:pt x="2193358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39" name="btfpRunningAgenda2LevelTextRight228391">
              <a:extLst>
                <a:ext uri="{FF2B5EF4-FFF2-40B4-BE49-F238E27FC236}">
                  <a16:creationId xmlns:a16="http://schemas.microsoft.com/office/drawing/2014/main" id="{DED2D17E-94AF-4CBE-A0C3-0635776E70B2}"/>
                </a:ext>
              </a:extLst>
            </p:cNvPr>
            <p:cNvSpPr txBox="1"/>
            <p:nvPr/>
          </p:nvSpPr>
          <p:spPr bwMode="gray">
            <a:xfrm>
              <a:off x="2495906" y="876300"/>
              <a:ext cx="219335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key titles</a:t>
              </a:r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37E458D2-1EFD-4DF9-A9BF-6BA1C167DF1B}"/>
              </a:ext>
            </a:extLst>
          </p:cNvPr>
          <p:cNvGrpSpPr/>
          <p:nvPr/>
        </p:nvGrpSpPr>
        <p:grpSpPr>
          <a:xfrm>
            <a:off x="9996489" y="4558246"/>
            <a:ext cx="1920337" cy="817788"/>
            <a:chOff x="9996489" y="2897115"/>
            <a:chExt cx="1920337" cy="817788"/>
          </a:xfrm>
        </p:grpSpPr>
        <p:sp>
          <p:nvSpPr>
            <p:cNvPr id="122" name="Rounded Rectangle 7">
              <a:extLst>
                <a:ext uri="{FF2B5EF4-FFF2-40B4-BE49-F238E27FC236}">
                  <a16:creationId xmlns:a16="http://schemas.microsoft.com/office/drawing/2014/main" id="{66E1C2E0-8473-41FE-8D01-F5FA630EC821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9996489" y="2897115"/>
              <a:ext cx="437490" cy="428064"/>
            </a:xfrm>
            <a:custGeom>
              <a:avLst/>
              <a:gdLst>
                <a:gd name="connsiteX0" fmla="*/ 665548 w 795234"/>
                <a:gd name="connsiteY0" fmla="*/ 778101 h 778101"/>
                <a:gd name="connsiteX1" fmla="*/ 129686 w 795234"/>
                <a:gd name="connsiteY1" fmla="*/ 778101 h 778101"/>
                <a:gd name="connsiteX2" fmla="*/ 0 w 795234"/>
                <a:gd name="connsiteY2" fmla="*/ 648415 h 778101"/>
                <a:gd name="connsiteX3" fmla="*/ 0 w 795234"/>
                <a:gd name="connsiteY3" fmla="*/ 129686 h 778101"/>
                <a:gd name="connsiteX4" fmla="*/ 129686 w 795234"/>
                <a:gd name="connsiteY4" fmla="*/ 0 h 778101"/>
                <a:gd name="connsiteX5" fmla="*/ 665548 w 795234"/>
                <a:gd name="connsiteY5" fmla="*/ 0 h 778101"/>
                <a:gd name="connsiteX6" fmla="*/ 795234 w 795234"/>
                <a:gd name="connsiteY6" fmla="*/ 129686 h 778101"/>
                <a:gd name="connsiteX7" fmla="*/ 788986 w 795234"/>
                <a:gd name="connsiteY7" fmla="*/ 474662 h 778101"/>
                <a:gd name="connsiteX8" fmla="*/ 795234 w 795234"/>
                <a:gd name="connsiteY8" fmla="*/ 648415 h 77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234" h="778101">
                  <a:moveTo>
                    <a:pt x="665548" y="778101"/>
                  </a:moveTo>
                  <a:lnTo>
                    <a:pt x="129686" y="778101"/>
                  </a:lnTo>
                  <a:cubicBezTo>
                    <a:pt x="58062" y="778101"/>
                    <a:pt x="0" y="720039"/>
                    <a:pt x="0" y="648415"/>
                  </a:cubicBezTo>
                  <a:lnTo>
                    <a:pt x="0" y="129686"/>
                  </a:lnTo>
                  <a:cubicBezTo>
                    <a:pt x="0" y="58062"/>
                    <a:pt x="58062" y="0"/>
                    <a:pt x="129686" y="0"/>
                  </a:cubicBezTo>
                  <a:lnTo>
                    <a:pt x="665548" y="0"/>
                  </a:lnTo>
                  <a:cubicBezTo>
                    <a:pt x="737172" y="0"/>
                    <a:pt x="795234" y="58062"/>
                    <a:pt x="795234" y="129686"/>
                  </a:cubicBezTo>
                  <a:lnTo>
                    <a:pt x="788986" y="474662"/>
                  </a:lnTo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rgbClr val="858585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Rounded Rectangle 84">
              <a:extLst>
                <a:ext uri="{FF2B5EF4-FFF2-40B4-BE49-F238E27FC236}">
                  <a16:creationId xmlns:a16="http://schemas.microsoft.com/office/drawing/2014/main" id="{3ED3856B-B4A0-4E47-922C-7B4DD556269E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gray">
            <a:xfrm>
              <a:off x="10042036" y="2953723"/>
              <a:ext cx="344474" cy="344474"/>
            </a:xfrm>
            <a:prstGeom prst="roundRect">
              <a:avLst/>
            </a:pr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55ED8581-DD81-45CE-9FD7-EA57A35D66F8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9998643" y="3353146"/>
              <a:ext cx="1918183" cy="36175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lvl="0" indent="0">
                <a:buNone/>
                <a:defRPr/>
              </a:pPr>
              <a:r>
                <a:rPr lang="en-US" sz="900" i="1">
                  <a:solidFill>
                    <a:schemeClr val="tx1"/>
                  </a:solidFill>
                </a:rPr>
                <a:t>Collision detailers, lead detailers etc. </a:t>
              </a:r>
            </a:p>
            <a:p>
              <a:pPr marL="0" lvl="0" indent="0">
                <a:buNone/>
                <a:defRPr/>
              </a:pPr>
              <a:r>
                <a:rPr lang="en-US" sz="900" i="1">
                  <a:solidFill>
                    <a:schemeClr val="tx1"/>
                  </a:solidFill>
                </a:rPr>
                <a:t>.</a:t>
              </a:r>
              <a:endParaRPr kumimoji="0" lang="en-US" sz="900" b="0" i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6" name="btfpQuoteBox867437">
              <a:extLst>
                <a:ext uri="{FF2B5EF4-FFF2-40B4-BE49-F238E27FC236}">
                  <a16:creationId xmlns:a16="http://schemas.microsoft.com/office/drawing/2014/main" id="{F96D457A-FD01-44E2-A44A-7B2CC25D1AC3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10438307" y="2967027"/>
              <a:ext cx="1394249" cy="25744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t">
              <a:spAutoFit/>
            </a:bodyPr>
            <a:lstStyle/>
            <a:p>
              <a:pPr marL="60325" marR="0" lvl="0" indent="-60325" algn="l" defTabSz="711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85858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tailer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90520BF2-CFC3-4F7A-B5A6-0387D14F6C04}"/>
                </a:ext>
              </a:extLst>
            </p:cNvPr>
            <p:cNvCxnSpPr>
              <a:cxnSpLocks/>
            </p:cNvCxnSpPr>
            <p:nvPr>
              <p:custDataLst>
                <p:tags r:id="rId22"/>
              </p:custDataLst>
            </p:nvPr>
          </p:nvCxnSpPr>
          <p:spPr bwMode="gray">
            <a:xfrm flipV="1">
              <a:off x="10022941" y="3325179"/>
              <a:ext cx="1842335" cy="14364"/>
            </a:xfrm>
            <a:prstGeom prst="line">
              <a:avLst/>
            </a:prstGeom>
            <a:ln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2DEEC37C-3B11-4AC1-8B87-A29E94FA1292}"/>
              </a:ext>
            </a:extLst>
          </p:cNvPr>
          <p:cNvGrpSpPr/>
          <p:nvPr/>
        </p:nvGrpSpPr>
        <p:grpSpPr>
          <a:xfrm>
            <a:off x="9974047" y="3054915"/>
            <a:ext cx="1998613" cy="644323"/>
            <a:chOff x="9891615" y="3434069"/>
            <a:chExt cx="1933894" cy="644323"/>
          </a:xfrm>
        </p:grpSpPr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868C438A-61E4-4BC0-9284-0D6071343937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9891615" y="3784986"/>
              <a:ext cx="1868197" cy="29340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lvl="0" indent="0">
                <a:buNone/>
                <a:defRPr/>
              </a:pP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pprentice auto body technician, painter apprentice etc.</a:t>
              </a:r>
            </a:p>
          </p:txBody>
        </p:sp>
        <p:sp>
          <p:nvSpPr>
            <p:cNvPr id="161" name="Rounded Rectangle 84">
              <a:extLst>
                <a:ext uri="{FF2B5EF4-FFF2-40B4-BE49-F238E27FC236}">
                  <a16:creationId xmlns:a16="http://schemas.microsoft.com/office/drawing/2014/main" id="{B840B00C-C65A-40F1-99BA-B3664B89466F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gray">
            <a:xfrm>
              <a:off x="9906812" y="3451660"/>
              <a:ext cx="314544" cy="306004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62" name="Graphic 161" descr="Money">
              <a:extLst>
                <a:ext uri="{FF2B5EF4-FFF2-40B4-BE49-F238E27FC236}">
                  <a16:creationId xmlns:a16="http://schemas.microsoft.com/office/drawing/2014/main" id="{DA65C2CE-EFA3-4085-9271-83E0F50970B7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9943887" y="3434069"/>
              <a:ext cx="310861" cy="302420"/>
            </a:xfrm>
            <a:prstGeom prst="rect">
              <a:avLst/>
            </a:prstGeom>
          </p:spPr>
        </p:pic>
        <p:sp>
          <p:nvSpPr>
            <p:cNvPr id="163" name="Rounded Rectangle 7">
              <a:extLst>
                <a:ext uri="{FF2B5EF4-FFF2-40B4-BE49-F238E27FC236}">
                  <a16:creationId xmlns:a16="http://schemas.microsoft.com/office/drawing/2014/main" id="{43EE1E38-8A1E-4DF9-A883-4CE4E21329E2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 bwMode="gray">
            <a:xfrm>
              <a:off x="9925897" y="3439264"/>
              <a:ext cx="372828" cy="345049"/>
            </a:xfrm>
            <a:custGeom>
              <a:avLst/>
              <a:gdLst>
                <a:gd name="connsiteX0" fmla="*/ 665548 w 795234"/>
                <a:gd name="connsiteY0" fmla="*/ 778101 h 778101"/>
                <a:gd name="connsiteX1" fmla="*/ 129686 w 795234"/>
                <a:gd name="connsiteY1" fmla="*/ 778101 h 778101"/>
                <a:gd name="connsiteX2" fmla="*/ 0 w 795234"/>
                <a:gd name="connsiteY2" fmla="*/ 648415 h 778101"/>
                <a:gd name="connsiteX3" fmla="*/ 0 w 795234"/>
                <a:gd name="connsiteY3" fmla="*/ 129686 h 778101"/>
                <a:gd name="connsiteX4" fmla="*/ 129686 w 795234"/>
                <a:gd name="connsiteY4" fmla="*/ 0 h 778101"/>
                <a:gd name="connsiteX5" fmla="*/ 665548 w 795234"/>
                <a:gd name="connsiteY5" fmla="*/ 0 h 778101"/>
                <a:gd name="connsiteX6" fmla="*/ 795234 w 795234"/>
                <a:gd name="connsiteY6" fmla="*/ 129686 h 778101"/>
                <a:gd name="connsiteX7" fmla="*/ 788986 w 795234"/>
                <a:gd name="connsiteY7" fmla="*/ 474662 h 778101"/>
                <a:gd name="connsiteX8" fmla="*/ 795234 w 795234"/>
                <a:gd name="connsiteY8" fmla="*/ 648415 h 77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234" h="778101">
                  <a:moveTo>
                    <a:pt x="665548" y="778101"/>
                  </a:moveTo>
                  <a:lnTo>
                    <a:pt x="129686" y="778101"/>
                  </a:lnTo>
                  <a:cubicBezTo>
                    <a:pt x="58062" y="778101"/>
                    <a:pt x="0" y="720039"/>
                    <a:pt x="0" y="648415"/>
                  </a:cubicBezTo>
                  <a:lnTo>
                    <a:pt x="0" y="129686"/>
                  </a:lnTo>
                  <a:cubicBezTo>
                    <a:pt x="0" y="58062"/>
                    <a:pt x="58062" y="0"/>
                    <a:pt x="129686" y="0"/>
                  </a:cubicBezTo>
                  <a:lnTo>
                    <a:pt x="665548" y="0"/>
                  </a:lnTo>
                  <a:cubicBezTo>
                    <a:pt x="737172" y="0"/>
                    <a:pt x="795234" y="58062"/>
                    <a:pt x="795234" y="129686"/>
                  </a:cubicBezTo>
                  <a:lnTo>
                    <a:pt x="788986" y="474662"/>
                  </a:lnTo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rgbClr val="858585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4" name="btfpQuoteBox867437">
              <a:extLst>
                <a:ext uri="{FF2B5EF4-FFF2-40B4-BE49-F238E27FC236}">
                  <a16:creationId xmlns:a16="http://schemas.microsoft.com/office/drawing/2014/main" id="{18F1CE12-9228-4AA1-B902-FF47083E5CF0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 bwMode="gray">
            <a:xfrm>
              <a:off x="10291533" y="3511983"/>
              <a:ext cx="1533976" cy="25744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</a:ln>
          </p:spPr>
          <p:txBody>
            <a:bodyPr vert="horz" wrap="square" lIns="36036" tIns="36036" rIns="36036" bIns="36036" rtlCol="0" anchor="t">
              <a:spAutoFit/>
            </a:bodyPr>
            <a:lstStyle/>
            <a:p>
              <a:pPr marL="60325" lvl="0" indent="-60325">
                <a:spcBef>
                  <a:spcPts val="600"/>
                </a:spcBef>
                <a:buNone/>
                <a:defRPr/>
              </a:pPr>
              <a:r>
                <a:rPr lang="en-US" sz="1200" b="1">
                  <a:solidFill>
                    <a:srgbClr val="B4B4B4"/>
                  </a:solidFill>
                </a:rPr>
                <a:t>Apprentices</a:t>
              </a:r>
            </a:p>
          </p:txBody>
        </p: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148B9CC9-443B-476D-8F6E-837BBE47BA41}"/>
                </a:ext>
              </a:extLst>
            </p:cNvPr>
            <p:cNvCxnSpPr>
              <a:cxnSpLocks/>
            </p:cNvCxnSpPr>
            <p:nvPr>
              <p:custDataLst>
                <p:tags r:id="rId16"/>
              </p:custDataLst>
            </p:nvPr>
          </p:nvCxnSpPr>
          <p:spPr bwMode="gray">
            <a:xfrm>
              <a:off x="9943887" y="3784313"/>
              <a:ext cx="1761154" cy="0"/>
            </a:xfrm>
            <a:prstGeom prst="line">
              <a:avLst/>
            </a:prstGeom>
            <a:ln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6" name="Rounded Rectangle 84">
              <a:extLst>
                <a:ext uri="{FF2B5EF4-FFF2-40B4-BE49-F238E27FC236}">
                  <a16:creationId xmlns:a16="http://schemas.microsoft.com/office/drawing/2014/main" id="{353F85AF-7C42-4B55-8753-40E927CDC0F1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9968144" y="3462245"/>
              <a:ext cx="314544" cy="306004"/>
            </a:xfrm>
            <a:prstGeom prst="roundRect">
              <a:avLst/>
            </a:pr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A7E8CEDA-0EFF-4118-AB46-71F1979E9CA2}"/>
              </a:ext>
            </a:extLst>
          </p:cNvPr>
          <p:cNvGrpSpPr/>
          <p:nvPr/>
        </p:nvGrpSpPr>
        <p:grpSpPr>
          <a:xfrm>
            <a:off x="9950867" y="2315428"/>
            <a:ext cx="1961918" cy="691477"/>
            <a:chOff x="9889408" y="2677363"/>
            <a:chExt cx="1978569" cy="691477"/>
          </a:xfrm>
        </p:grpSpPr>
        <p:sp>
          <p:nvSpPr>
            <p:cNvPr id="171" name="Rounded Rectangle 7">
              <a:extLst>
                <a:ext uri="{FF2B5EF4-FFF2-40B4-BE49-F238E27FC236}">
                  <a16:creationId xmlns:a16="http://schemas.microsoft.com/office/drawing/2014/main" id="{51A7133F-65BA-4FE3-B5FA-5556603A6D10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9937783" y="2677363"/>
              <a:ext cx="399478" cy="380259"/>
            </a:xfrm>
            <a:custGeom>
              <a:avLst/>
              <a:gdLst>
                <a:gd name="connsiteX0" fmla="*/ 665548 w 795234"/>
                <a:gd name="connsiteY0" fmla="*/ 778101 h 778101"/>
                <a:gd name="connsiteX1" fmla="*/ 129686 w 795234"/>
                <a:gd name="connsiteY1" fmla="*/ 778101 h 778101"/>
                <a:gd name="connsiteX2" fmla="*/ 0 w 795234"/>
                <a:gd name="connsiteY2" fmla="*/ 648415 h 778101"/>
                <a:gd name="connsiteX3" fmla="*/ 0 w 795234"/>
                <a:gd name="connsiteY3" fmla="*/ 129686 h 778101"/>
                <a:gd name="connsiteX4" fmla="*/ 129686 w 795234"/>
                <a:gd name="connsiteY4" fmla="*/ 0 h 778101"/>
                <a:gd name="connsiteX5" fmla="*/ 665548 w 795234"/>
                <a:gd name="connsiteY5" fmla="*/ 0 h 778101"/>
                <a:gd name="connsiteX6" fmla="*/ 795234 w 795234"/>
                <a:gd name="connsiteY6" fmla="*/ 129686 h 778101"/>
                <a:gd name="connsiteX7" fmla="*/ 788986 w 795234"/>
                <a:gd name="connsiteY7" fmla="*/ 474662 h 778101"/>
                <a:gd name="connsiteX8" fmla="*/ 795234 w 795234"/>
                <a:gd name="connsiteY8" fmla="*/ 648415 h 77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234" h="778101">
                  <a:moveTo>
                    <a:pt x="665548" y="778101"/>
                  </a:moveTo>
                  <a:lnTo>
                    <a:pt x="129686" y="778101"/>
                  </a:lnTo>
                  <a:cubicBezTo>
                    <a:pt x="58062" y="778101"/>
                    <a:pt x="0" y="720039"/>
                    <a:pt x="0" y="648415"/>
                  </a:cubicBezTo>
                  <a:lnTo>
                    <a:pt x="0" y="129686"/>
                  </a:lnTo>
                  <a:cubicBezTo>
                    <a:pt x="0" y="58062"/>
                    <a:pt x="58062" y="0"/>
                    <a:pt x="129686" y="0"/>
                  </a:cubicBezTo>
                  <a:lnTo>
                    <a:pt x="665548" y="0"/>
                  </a:lnTo>
                  <a:cubicBezTo>
                    <a:pt x="737172" y="0"/>
                    <a:pt x="795234" y="58062"/>
                    <a:pt x="795234" y="129686"/>
                  </a:cubicBezTo>
                  <a:lnTo>
                    <a:pt x="788986" y="474662"/>
                  </a:lnTo>
                </a:path>
              </a:pathLst>
            </a:custGeom>
            <a:solidFill>
              <a:schemeClr val="bg1"/>
            </a:solidFill>
            <a:ln w="9525" cap="flat" cmpd="sng" algn="ctr">
              <a:solidFill>
                <a:srgbClr val="2D475A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2" name="btfpQuoteBox867437">
              <a:extLst>
                <a:ext uri="{FF2B5EF4-FFF2-40B4-BE49-F238E27FC236}">
                  <a16:creationId xmlns:a16="http://schemas.microsoft.com/office/drawing/2014/main" id="{5321CDDC-EC84-4A8E-ACBF-9176A3856DAE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 bwMode="gray">
            <a:xfrm>
              <a:off x="10334001" y="2753035"/>
              <a:ext cx="1533976" cy="25744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</a:ln>
          </p:spPr>
          <p:txBody>
            <a:bodyPr vert="horz" wrap="square" lIns="36036" tIns="36036" rIns="36036" bIns="36036" rtlCol="0" anchor="t">
              <a:spAutoFit/>
            </a:bodyPr>
            <a:lstStyle/>
            <a:p>
              <a:pPr marL="60325" lvl="0" indent="-60325">
                <a:spcBef>
                  <a:spcPts val="600"/>
                </a:spcBef>
                <a:buNone/>
                <a:defRPr/>
              </a:pPr>
              <a:r>
                <a:rPr lang="en-US" sz="1200" b="1">
                  <a:solidFill>
                    <a:srgbClr val="2D475A"/>
                  </a:solidFill>
                </a:rPr>
                <a:t>Repair &amp; </a:t>
              </a:r>
              <a:r>
                <a:rPr lang="en-US" sz="1200" b="1" err="1">
                  <a:solidFill>
                    <a:srgbClr val="2D475A"/>
                  </a:solidFill>
                </a:rPr>
                <a:t>Maint</a:t>
              </a:r>
              <a:r>
                <a:rPr lang="en-US" sz="1200" b="1">
                  <a:solidFill>
                    <a:srgbClr val="2D475A"/>
                  </a:solidFill>
                </a:rPr>
                <a:t>.</a:t>
              </a: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DD2B5E1E-6EB7-4076-A206-B3C7549F9967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gray">
            <a:xfrm>
              <a:off x="9889408" y="3061140"/>
              <a:ext cx="1868197" cy="3077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lvl="0" indent="0">
                <a:buNone/>
                <a:defRPr/>
              </a:pPr>
              <a:r>
                <a:rPr kumimoji="0" lang="en-US" sz="9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ssemblers, Calibration technicians etc.</a:t>
              </a:r>
            </a:p>
          </p:txBody>
        </p: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F63EE504-F965-4109-98AD-41FFB0C352D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 bwMode="gray">
            <a:xfrm>
              <a:off x="9941680" y="3060467"/>
              <a:ext cx="1833932" cy="0"/>
            </a:xfrm>
            <a:prstGeom prst="line">
              <a:avLst/>
            </a:prstGeom>
            <a:ln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5" name="Rounded Rectangle 84">
              <a:extLst>
                <a:ext uri="{FF2B5EF4-FFF2-40B4-BE49-F238E27FC236}">
                  <a16:creationId xmlns:a16="http://schemas.microsoft.com/office/drawing/2014/main" id="{4D424045-0B62-4F0C-AD98-DE9E2E549E8E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gray">
            <a:xfrm>
              <a:off x="9965937" y="2723763"/>
              <a:ext cx="314544" cy="306004"/>
            </a:xfrm>
            <a:prstGeom prst="roundRect">
              <a:avLst/>
            </a:prstGeom>
            <a:solidFill>
              <a:srgbClr val="2D475A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43" name="Rectangle 242">
            <a:extLst>
              <a:ext uri="{FF2B5EF4-FFF2-40B4-BE49-F238E27FC236}">
                <a16:creationId xmlns:a16="http://schemas.microsoft.com/office/drawing/2014/main" id="{78C39C75-A871-4F22-9690-3E576A1C86EA}"/>
              </a:ext>
            </a:extLst>
          </p:cNvPr>
          <p:cNvSpPr/>
          <p:nvPr/>
        </p:nvSpPr>
        <p:spPr bwMode="gray">
          <a:xfrm>
            <a:off x="6882585" y="1845968"/>
            <a:ext cx="825167" cy="3709536"/>
          </a:xfrm>
          <a:prstGeom prst="rect">
            <a:avLst/>
          </a:prstGeom>
          <a:noFill/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pic>
        <p:nvPicPr>
          <p:cNvPr id="246" name="Picture 245">
            <a:extLst>
              <a:ext uri="{FF2B5EF4-FFF2-40B4-BE49-F238E27FC236}">
                <a16:creationId xmlns:a16="http://schemas.microsoft.com/office/drawing/2014/main" id="{58490644-658C-4201-B905-C49AEEBCE70F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10646654" y="6191366"/>
            <a:ext cx="1261892" cy="353608"/>
          </a:xfrm>
          <a:prstGeom prst="rect">
            <a:avLst/>
          </a:prstGeom>
        </p:spPr>
      </p:pic>
      <p:grpSp>
        <p:nvGrpSpPr>
          <p:cNvPr id="4" name="btfpStatusSticker149086">
            <a:extLst>
              <a:ext uri="{FF2B5EF4-FFF2-40B4-BE49-F238E27FC236}">
                <a16:creationId xmlns:a16="http://schemas.microsoft.com/office/drawing/2014/main" id="{D327DD13-82F2-9D49-02CE-4DFA08830923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632714" y="955344"/>
            <a:ext cx="2342950" cy="235611"/>
            <a:chOff x="-4859410" y="876300"/>
            <a:chExt cx="2342950" cy="235611"/>
          </a:xfrm>
        </p:grpSpPr>
        <p:sp>
          <p:nvSpPr>
            <p:cNvPr id="5" name="btfpStatusStickerText149086">
              <a:extLst>
                <a:ext uri="{FF2B5EF4-FFF2-40B4-BE49-F238E27FC236}">
                  <a16:creationId xmlns:a16="http://schemas.microsoft.com/office/drawing/2014/main" id="{856CA213-36BB-E5CC-DA60-B73B8CB7BADC}"/>
                </a:ext>
              </a:extLst>
            </p:cNvPr>
            <p:cNvSpPr txBox="1"/>
            <p:nvPr/>
          </p:nvSpPr>
          <p:spPr bwMode="gray">
            <a:xfrm>
              <a:off x="-4859410" y="876300"/>
              <a:ext cx="234295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Technician only</a:t>
              </a:r>
            </a:p>
          </p:txBody>
        </p:sp>
        <p:cxnSp>
          <p:nvCxnSpPr>
            <p:cNvPr id="6" name="btfpStatusStickerLine149086">
              <a:extLst>
                <a:ext uri="{FF2B5EF4-FFF2-40B4-BE49-F238E27FC236}">
                  <a16:creationId xmlns:a16="http://schemas.microsoft.com/office/drawing/2014/main" id="{BF475A4F-07D8-9929-5DDB-EF03DB33AE29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4859410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4" descr="Gerber Collision &amp;amp; Glass logo">
            <a:extLst>
              <a:ext uri="{FF2B5EF4-FFF2-40B4-BE49-F238E27FC236}">
                <a16:creationId xmlns:a16="http://schemas.microsoft.com/office/drawing/2014/main" id="{3EB1856E-4DBF-E213-CE84-7348CF223CC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6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011" b="28742"/>
          <a:stretch/>
        </p:blipFill>
        <p:spPr bwMode="auto">
          <a:xfrm>
            <a:off x="7867249" y="5603062"/>
            <a:ext cx="667690" cy="26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6" descr="Caliber Collision logo">
            <a:extLst>
              <a:ext uri="{FF2B5EF4-FFF2-40B4-BE49-F238E27FC236}">
                <a16:creationId xmlns:a16="http://schemas.microsoft.com/office/drawing/2014/main" id="{191E7273-57E5-3F0B-326A-2A9C5182A00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491" b="22714"/>
          <a:stretch/>
        </p:blipFill>
        <p:spPr bwMode="auto">
          <a:xfrm>
            <a:off x="793779" y="5580145"/>
            <a:ext cx="551810" cy="30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2" descr="Crash Champions">
            <a:extLst>
              <a:ext uri="{FF2B5EF4-FFF2-40B4-BE49-F238E27FC236}">
                <a16:creationId xmlns:a16="http://schemas.microsoft.com/office/drawing/2014/main" id="{37ADF68C-5BC9-5F49-6369-081075861B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3190" y="5626233"/>
            <a:ext cx="792601" cy="215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4" descr="Maaco Corporation logo">
            <a:extLst>
              <a:ext uri="{FF2B5EF4-FFF2-40B4-BE49-F238E27FC236}">
                <a16:creationId xmlns:a16="http://schemas.microsoft.com/office/drawing/2014/main" id="{11991248-F72F-D4A1-009F-F375B3398A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411" b="30469"/>
          <a:stretch/>
        </p:blipFill>
        <p:spPr bwMode="auto">
          <a:xfrm>
            <a:off x="3410208" y="5607869"/>
            <a:ext cx="645274" cy="252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69125F5-CDFE-C26D-8049-C8DA2A7314A3}"/>
              </a:ext>
            </a:extLst>
          </p:cNvPr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>
            <a:off x="5985461" y="5639686"/>
            <a:ext cx="858188" cy="188800"/>
          </a:xfrm>
          <a:prstGeom prst="rect">
            <a:avLst/>
          </a:prstGeom>
        </p:spPr>
      </p:pic>
      <p:pic>
        <p:nvPicPr>
          <p:cNvPr id="22" name="Picture 20" descr="Download Carstar Autopro Collision Chandler - Carstar Auto Body Logo - Full  Size PNG Image - PNGkit">
            <a:extLst>
              <a:ext uri="{FF2B5EF4-FFF2-40B4-BE49-F238E27FC236}">
                <a16:creationId xmlns:a16="http://schemas.microsoft.com/office/drawing/2014/main" id="{3B2771D0-B27F-4622-0DCB-9BC1BA81B6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694"/>
          <a:stretch/>
        </p:blipFill>
        <p:spPr bwMode="auto">
          <a:xfrm>
            <a:off x="1510234" y="5635069"/>
            <a:ext cx="858187" cy="198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15830456-DFD9-FF7D-F744-8196416F4E9F}"/>
              </a:ext>
            </a:extLst>
          </p:cNvPr>
          <p:cNvSpPr/>
          <p:nvPr/>
        </p:nvSpPr>
        <p:spPr bwMode="gray">
          <a:xfrm>
            <a:off x="6976154" y="5608658"/>
            <a:ext cx="691946" cy="232569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>
                <a:solidFill>
                  <a:schemeClr val="bg1"/>
                </a:solidFill>
              </a:rPr>
              <a:t>Swerve</a:t>
            </a:r>
          </a:p>
        </p:txBody>
      </p:sp>
      <p:pic>
        <p:nvPicPr>
          <p:cNvPr id="36" name="Picture 2" descr="Classic Collision – New Mountain Capital">
            <a:extLst>
              <a:ext uri="{FF2B5EF4-FFF2-40B4-BE49-F238E27FC236}">
                <a16:creationId xmlns:a16="http://schemas.microsoft.com/office/drawing/2014/main" id="{22F4651D-9E72-B0F5-E4ED-AC81BA4569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5420" y="5653281"/>
            <a:ext cx="608499" cy="161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7" descr="CollisionRight Acquires Repair Shops in Midwest, Mid-Atlantic">
            <a:extLst>
              <a:ext uri="{FF2B5EF4-FFF2-40B4-BE49-F238E27FC236}">
                <a16:creationId xmlns:a16="http://schemas.microsoft.com/office/drawing/2014/main" id="{601F4BEC-CFFB-73EA-9C1F-A6A2C56A2C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88" t="34059" r="19297" b="31237"/>
          <a:stretch/>
        </p:blipFill>
        <p:spPr bwMode="auto">
          <a:xfrm>
            <a:off x="4377129" y="5634974"/>
            <a:ext cx="511698" cy="198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2" descr="Full-Service Auto Body Repair | Key Collision Centers">
            <a:extLst>
              <a:ext uri="{FF2B5EF4-FFF2-40B4-BE49-F238E27FC236}">
                <a16:creationId xmlns:a16="http://schemas.microsoft.com/office/drawing/2014/main" id="{B821CF7E-B3FC-2C5F-24A7-7DECDBC8BF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6993" y="5618493"/>
            <a:ext cx="460920" cy="231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Graphic 48" descr="Robot Hand outline">
            <a:extLst>
              <a:ext uri="{FF2B5EF4-FFF2-40B4-BE49-F238E27FC236}">
                <a16:creationId xmlns:a16="http://schemas.microsoft.com/office/drawing/2014/main" id="{D1CAA8BC-0189-5D75-76CE-77AB01B2CFE0}"/>
              </a:ext>
            </a:extLst>
          </p:cNvPr>
          <p:cNvPicPr>
            <a:picLocks noChangeAspect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10059879" y="5420054"/>
            <a:ext cx="295182" cy="295182"/>
          </a:xfrm>
          <a:prstGeom prst="rect">
            <a:avLst/>
          </a:prstGeom>
        </p:spPr>
      </p:pic>
      <p:pic>
        <p:nvPicPr>
          <p:cNvPr id="51" name="Graphic 50" descr="Tools outline">
            <a:extLst>
              <a:ext uri="{FF2B5EF4-FFF2-40B4-BE49-F238E27FC236}">
                <a16:creationId xmlns:a16="http://schemas.microsoft.com/office/drawing/2014/main" id="{87D201FB-BBD0-1D76-E534-F983EA0A4546}"/>
              </a:ext>
            </a:extLst>
          </p:cNvPr>
          <p:cNvPicPr>
            <a:picLocks noChangeAspect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10059880" y="4638818"/>
            <a:ext cx="304061" cy="304061"/>
          </a:xfrm>
          <a:prstGeom prst="rect">
            <a:avLst/>
          </a:prstGeom>
        </p:spPr>
      </p:pic>
      <p:pic>
        <p:nvPicPr>
          <p:cNvPr id="53" name="Graphic 52" descr="Roller Paint Tool outline">
            <a:extLst>
              <a:ext uri="{FF2B5EF4-FFF2-40B4-BE49-F238E27FC236}">
                <a16:creationId xmlns:a16="http://schemas.microsoft.com/office/drawing/2014/main" id="{0822DD82-C173-3392-5A2B-734C010F55AC}"/>
              </a:ext>
            </a:extLst>
          </p:cNvPr>
          <p:cNvPicPr>
            <a:picLocks noChangeAspect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10058959" y="3827462"/>
            <a:ext cx="301282" cy="301282"/>
          </a:xfrm>
          <a:prstGeom prst="rect">
            <a:avLst/>
          </a:prstGeom>
        </p:spPr>
      </p:pic>
      <p:pic>
        <p:nvPicPr>
          <p:cNvPr id="60" name="Graphic 59" descr="Car Mechanic outline">
            <a:extLst>
              <a:ext uri="{FF2B5EF4-FFF2-40B4-BE49-F238E27FC236}">
                <a16:creationId xmlns:a16="http://schemas.microsoft.com/office/drawing/2014/main" id="{37529B85-12B1-674E-85D0-A4F3581A005E}"/>
              </a:ext>
            </a:extLst>
          </p:cNvPr>
          <p:cNvPicPr>
            <a:picLocks noChangeAspect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10042124" y="2382720"/>
            <a:ext cx="282605" cy="282605"/>
          </a:xfrm>
          <a:prstGeom prst="rect">
            <a:avLst/>
          </a:prstGeom>
        </p:spPr>
      </p:pic>
      <p:pic>
        <p:nvPicPr>
          <p:cNvPr id="62" name="Graphic 61" descr="Car Mechanic outline">
            <a:extLst>
              <a:ext uri="{FF2B5EF4-FFF2-40B4-BE49-F238E27FC236}">
                <a16:creationId xmlns:a16="http://schemas.microsoft.com/office/drawing/2014/main" id="{4C5FED4F-87F4-0283-18C7-165CE614BE52}"/>
              </a:ext>
            </a:extLst>
          </p:cNvPr>
          <p:cNvPicPr>
            <a:picLocks noChangeAspect="1"/>
          </p:cNvPicPr>
          <p:nvPr/>
        </p:nvPicPr>
        <p:blipFill>
          <a:blip r:embed="rId6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10062704" y="3084897"/>
            <a:ext cx="300100" cy="300100"/>
          </a:xfrm>
          <a:prstGeom prst="rect">
            <a:avLst/>
          </a:prstGeom>
        </p:spPr>
      </p:pic>
      <p:pic>
        <p:nvPicPr>
          <p:cNvPr id="64" name="Graphic 63" descr="Single gear outline">
            <a:extLst>
              <a:ext uri="{FF2B5EF4-FFF2-40B4-BE49-F238E27FC236}">
                <a16:creationId xmlns:a16="http://schemas.microsoft.com/office/drawing/2014/main" id="{3EBB32E6-3012-62F8-3823-A3296A5E6B98}"/>
              </a:ext>
            </a:extLst>
          </p:cNvPr>
          <p:cNvPicPr>
            <a:picLocks noChangeAspect="1"/>
          </p:cNvPicPr>
          <p:nvPr/>
        </p:nvPicPr>
        <p:blipFill>
          <a:blip r:embed="rId6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10020008" y="1582523"/>
            <a:ext cx="357171" cy="357171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EAB107CC-8E14-069B-1B7F-0304672D6C27}"/>
              </a:ext>
            </a:extLst>
          </p:cNvPr>
          <p:cNvSpPr txBox="1"/>
          <p:nvPr/>
        </p:nvSpPr>
        <p:spPr bwMode="gray">
          <a:xfrm>
            <a:off x="8841780" y="1646883"/>
            <a:ext cx="458600" cy="192003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900" i="1"/>
              <a:t>LOW N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787E26AE-559D-9BB3-00B7-D908884030D8}"/>
              </a:ext>
            </a:extLst>
          </p:cNvPr>
          <p:cNvSpPr/>
          <p:nvPr/>
        </p:nvSpPr>
        <p:spPr bwMode="gray">
          <a:xfrm>
            <a:off x="10603607" y="736640"/>
            <a:ext cx="1253430" cy="43007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BCN updated 06/08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053652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btfpMGChart34543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aYhHdubK/b9WYMbiqTQFZNRdTaHJ1Coz+gznC5J29/l+uni9WCTqRMIgVGBy5FSCqTCP+Vdrf4pg20L7fH6DBLCUQPEirnQtbpBHNoYBczTAjyI+Q8sdgREG8v3HKj7eJNBIgJSMWMn0emcwEVHj1u6frAMlnit+99IngQn8QIep/Qhr8jUi1LO+/o87oAKNdTM6HxTKJKukgEon8U9FN9MjiMGwBafZuJU+WqCFQVdev7ARK70uXYwiD9qBOT2xEJ53xs00Tf/E5haV1DY5Jejc+G8rXeT0UMHAoqTZdF5PTimqNMQ/u4r2K2rZiVAy65rGTsAipTXkzOj+LqzfpFyxzuHfdAgpd5blrULJEbbEUkHY/aRNzy0ScR4x1wCG05M93ZOTExiiiDmAyvMK77/QuG5uUy7T/axrPGy5aOzSjt/Od8YhRh9/h4xlR7pSYkA5UbwqjOEY42rP6UnEpny8fZwfUImowdPVKFQu+Z55llCHH3t9qVsRVm5HhgwgejJocYMqKVvUvmHUIdzXswkDlZUHF/jOSqzeJkdSvz/0UogAPn3bk1miWTweCBRvjVFR/r4nH0N8/gfbmDYROK1hHe+Axzbnq3eaIVH7nVW1PHsVEB72ddCIRcWY2qk9SyrdIthBIr9/b62wskZHk8VGE4C3SFLJ59Lynmmdx5QETRWhTsCD1XN4fLpAtTwwJYbS8y36iqQO1yXIK47LrvOmit6FRljydblwKihN+VAV8goHy2l4PsIyqS5+vL0YZ8mxpFeTNqyMgEmjBT0kchX67H3/TWWG2N5MeUhvVbqcgMiMZWObBx74Kz49egbcPB1kktqjzzojU4d5HItd55dnw6D+ZcDiEUvzbECIWfsi60Wx4yoYoi9gXShUrSRl7mi26F7EwN71/LqSSmloSvcRo9xCcLyeuBPWF5vCGSNPk/d3scE46s08P6Uz96vyf+QVPORPPUh+Jo6Vr84WcSiLfsrRJUsiSkwsKv+5qyXxyW1RBq11nX+lAV9/jKM1QzXsRvfzruBMFmWwQ7OER28OWJIUvw8sxA2J12ghTRdiqDUm687gwLKbaQLDvCwYzecLMigKgcWGJ1+zlivvvPy4jfK85BnQLwUzWSriXTOzImN5cuadQyj5Bfij5/mMNfGxYlzHG98cefCgoW8QUM6wil6FJPxWbHX28kipeQdgmWKZGhLHp4tpxxL6d1pd0sAfeFisqaUF1QDL/pdFKePvA98liYQE35n8tJ47oMOaS/qAcWTCcmDynXkj9COGdqMbOcjoeHSc2FQQkYbazQJKE2KuCXkg3QsppvCQrs3lXmoAyuTLY7bVlixrB9ytvjN5m0k7eFD5ZmoCZ/kfvervGlPzr/wBX+gC/Is3mtgFTQ9Ljx3QuYUcgvBb9kfUgPfx7txLmLvd4xNGZZE+v10bjNtGTIJB7roW/zp6HcKPZvCxpuje0uky5vJeHGkbiMOMFzNfBsBgKeZ89vhrgOjpj9Hk8KC4m5qPtWDQ4egLwK6OjIqUB5VqPhTyNgZqOi7aiZcgMyi5sGMqAwKUmHXrFilKVFKovqh5Wyx7Vwao+QE2tD1DeXsfnoHR2LWB//UDoky9Azr09e+D9Luk96638rHAqaTX9iQK62j5FtRVW1OvgxqWLHivHq15F2d4rUb6L4IKOmlFKv8GYP22wtLVioEnI3oSXDCRLEqwMSWx0FU90YcpuoyVnZ6O2sGpKK92t59YbZOQwgHoItHT4OjayTO4Ky5m0K31+MGja+E+1pfYQG/8dsYKyed8wEkSKnFSEcPxD8iNTJ09MJnA0U88YqF24pmWpbHPJ4lsE0zAPjh8NgHbdkcZLM7aOkucAcGaf3dhsfMYSqdjJeTk8mz4z0kKXzz6mc6Ib7h05G8xee627x127ehIduC15ZlEGNkU+xmGihRGvU10o46eJEhsY/f6Usq0ryzTXuXWNVnUpmPw8+aKrJe14s0BAJDqRONxQaxGkjx7qqYiUAQ9Z3D5WTfFHDR6l5OP9I4kZKBUf/1JIj4zVCIGzZh0hndvZIFiBOuaOwUMWun2T+m67c34A1H1A+gKen+u0jlJaIRaY4Q4g5D5gJ4xe2BT9p7PxqzYcsjvxwFHRHdwDURa65adoJUjEth96s4QdBz8gHZIIipK4D4e4t+jY+xDQ23B0vzEK4Hocx7mxQjQIpI2EaVkvR7Y8EpOS/wAdgOKds1hDddziIV/Cv8lKDaNJgwmvyky6ulCzSIqhu6qkUwaI7odvr5ZVZVL1O9fk1yVYKRS6wu16lzpp30V3nVvYj3rH7Bo6yXEDPgW9KZh/vSaGr5TctNdoOAa+8OgTN9iCBMB6+NPUnYUu0SWXpQXKyIH8BX/ft8zBiwd22FrVHFuQQgD+ZCM2m1akvG9tfMTEpMyupgDhAInkrCL6gk+nBm+smGuRwV9R2Vwu9c52s7iHX9oR8rUqVckE2VTL3VZj6tt5P06U/znq4GfwBsaZ1FI6a961VUOlx+1XLTQItyTpzBjaykX4HcbumL4C8kCchhIxBagfrC9LuojFKXeRyujd/ZXd3NHwVkoCiQBR9OfGmrcq407yRpvWhc7uOJH6gtD+gQjkW7QeZ9vDL5dOX7zIm0picqi5gd0jZUb+UQrVU8IZdzYJhUK87yVbNGtG2NtCs7EwSrOWhOLay+TiX9gw35KC8NiElQZR1yjNatwgC/ic4OFBaaTnMvF3hkfSY8djz4beTJPxopgge6K/nDop+t9W2zi5jDSrmZaoxFpJUb3AcS3BQ/tj7spKtRln2WPc/evGME9C5sYX1ythTVAcb5h4GjzXCdecR7YcxSDA8z1oNsv7u7BtPI1tRp1FgJMylQTa1F9p5eivrsp2Q0iI3PuUO1luermgZzgo0b/IO3SICpcXv9mKPvZJQJeIR7a6g1xXlMyWgvpxrLkc0a9V69BS5Oeg9j2v48qt7B6Fic6+DbfbRIYgTGJxRacPRcEddN7Glkr+xRGaHoC2q2BhoNThZUooWTELXOuGuPY5D74nakG4T2B0pOu6w6ntVF/+fmxL67vqBciR9iM4gxLlNukF2RM5xQ+5Kpb5y/RPgoonvPVrifDfJENzbyhmjNx94/+laE2FkT2vcg5EV4apo6VwnM6/KS6YinFfXsBJYBAlitceL0E13YzCxav6t3/3m6eUbMhoU+5PFfYoCIt9iXdF0oeBDRNHXrMsxHr2ggRcHqZ5qb2PP4hvAnAinaRB54sbO+jdW9IRP/nDehoOe8DZ2aVc0OFz5htz1HN4A+Fc9JeBaJP0zdyffr9ang5BXKDdkXE2vCIDDfZP950MZzS5UXXbD4/vyT0fBgAHK6chfY7DJdtuOFKfpEUazQPDtnSHFipvKfJK0Cpr0G/yHmjmPxBsdTry2JB8SRBxUr+ZunfFDzH+ukqFVYxRgdutCYu91Ha6i619m+kINmaQC4IEPjKsBoxSvVK8azIo14DKu7buHn/uZUCpsDEJCMRGMdJm0FrTR4VtdhNumYZFyUfhJiE2YtlGscuCGF+KqS+PtxxRFDXE/1DDyRSpBdGhvK07TRyxs9sl9/uIjCW6ySa+TcGdPHSsYp2LVlsaPblmD1Gd7H0oJDLQHbIxsZakHs9fP4avbCF3QiDTuAjEV/HsS/8htnJ04d5Rzpk+ph/CTiRbAk2jq1iFFY33E1iYfrgxJET2BF4soiWTtyvrfdQ8p+nUGjVtgdelhW4/rfTSV3TfrxBEd+o6YZJMumZfDv51eYHvgiTnQ8zDefH2RMgz9sd+PMgyjMZFj3EXVS05LWnP5rTrsCPBtO/6mqxEFw0JzmU3U8r184y3TUdWkWdVMbM009ha6Flc/0AxWP4837Xn1DJgHhZlQsnN6HCetyfvzr5dtcN+59TD6hglcvK9p/S/R1UwByh9xhX1C8kFkxkdYeYjoLd2KCLp2iwAYJC2opWqI3TRgIm5poa6cQqiiIVwiwnhZ+5q1wEM0dh1/lkJqvJ+owrumICJnhPD5OzbKRvBT4fekb90oKkw1B0hgsgyeqtYz1FKd3JbVFm1ixu83J9ZQ/jPCh7SYF5SQfwZLePcZhwzVSQDe9blkhccAfF+BdxXxH84ZYa5BQucVF0rS9mekTzLFnNQVaHeFUrSdZ8MsZdmrZLihNb6TxMO4okcPCoNt/qP9qkN96FMzadb0+iAIe23KufKIhAc2GBNMUDbvCw7GRmLvISpFKvua7PB/hFlkP9uIhZnHWgXxn3Gx/565LybjG7uDWr5wJg/rziKUt7HYAMuv4LIfWB9wPl3QM3lCIojrOWpj6o/p/Fv33/1SRf5b83oACXI5l5ewqeKFefrfE5rqvuuj65lKNWLhAf+OUhnBYqHhsCd6mR5YzAJV6yduxmyhrrBgVyE2k4qTucdj/keSuyKpzdSwRppdbqc6rJnmG1uS6zn2CqY6fWgC7smC8X6pHuvHSd+3u+EDmgu4F2rNYmC9ZC5p8w9Nan7vkMygKANGTqphxkAdaM3b6bOv5vdB9Mpgw6ZplL281b9L3kdkxQ4bDUKUAYsM6rYmU+IZD4uH0eaqG7Y0lnxIcW7nvzdmXCJ3x1XkpOFAxqOCcMp+sOfxnW9124KbPn5fD7H8lovULxMCX1nDy+mD2Vvghjh/M6RGqh5gIWNfVGEUEvvbi6PERoVIf8PwtpKKTibrGaGbtT7GIIxAByw1MeshcgSuCUkkRwvJP2RrK1TwPK+LRiqZ1AxS37Vt7TF/U/fy1cdad8Hd2DUx7qkNnKhHEehwpnKlpDe3YOBq+AiJe/jCfkM84kl2F0qLTDMVFbaF3U6T77xi0eLqYOhMrSMQQfqotKnd9r5T/xsRuhzRGCUy6CJCUM+2XD0bGHf/8W7URB19SpJaSUi49o7HaJ2PDHpEfB3bPWOj6Lt8IxxHFEwI+TeKVxZv8M/fKAHbZpfOso2Sklv+eCkYcwIZDYgCpURBLtEJCBW5K89Kd+lGQquAx2VtUcqwdNIfq2rB/LNI5N4I8s0lo3drsBytXdCkVOERtXReyvtsV4+HCvLaZAqr8+WgBUncEUHqztw86XByOum0rv19FIw2kVltMj0PLIu0AnbC8sANbEOY5cBNfpzHEG8h/tts/zt7h4SuBEguFyZkZ7Qj5tvUqJTpq7BjMlHIfL2Zj92kljicHwkYfDnCeF2fuoL4aFgEXrpma7dVisbveiJlWf0thsmi+ILzApgYPKPMdMqint3nPQdjKyJvruCjut54mHsRpzDRnFuG6rpEXXkWMML4Vb+HGDw9s6YhSmRD88Ksz6RAVBFA/iglGYmsypcB37mjtWvxh5uSch+hWBoiYZ57HTd5I9H/FFUfTBbHILXAvI1xKDyUYztq9fyyAPSzZq23/FnpTJXVELI5CVJKtCYTq3vRdNGVs19cuRtYMbwV4bKh0nR/plO88p59Zalgg7uDLPcoPH111b1UiQoCW891ppfdK0QVdEN2P/q87Het5ECM26TmEuL+D4sVKSs7VHEHr4F6LJK3UqAKFhX4yxpB8ISUwH1RW44Azg8gIEZ9XeMdXVT7fKStdfyGrQp7eiv6s4aeIcPNfuE6s2/EdaE77yF1O39SZsAtZz5UukMMMUZ+OwYyrEjO1LrweuNSH7Yc5+PSnQ096j+TtSac7edVHjxaFeWX6yDv51zuf17p6X6Yd1UO7DDSbpvbWGXLJU2tS6hzckTeAjpqxAJMq92JizgvVx/stvqmxWxd6qp6CrISzcgqcWnLVp6Pz8Xe9X/gyJhvwuCOIBgqPtjk8Ejbu0nBLY1ss3z2k9ZyMqxuqsAQd6xy7rqHZfUVgZ3Tga94rRxX+N3nDmOr6f2ZnSoTyV1v9rgUh9tM2GMP+D7WJm3oct1xZGjiU5BcxcEiWGghBYs10PH4yEKF8dy5yJKAe+XqMTT7EawcGdX8SWgXTZCEPmCZZCjWjpwmhI1T0APV27juRnHfResyGWaZxQS3OBYIOm0PED42t5XTuROgf5yBufXRC/4rgaI8LsqGl8ZstMDNLKc1kknkTvjbJUzv/QAhWqwlY5AT0Vzzq/K3MdfRcIdDNFXpwpdtHkBFARYFoKY8kxOs+k+N+PkC1OWdnkmSpMZm2axZyVZSWW2v13bRvcRpsu8AeK36QhCUyL8KqYc3i6omSxuOf288RA0txsvhwFdUcWcSJwLMtcMeBbC3D7KCJPmAMOd7CGlz8727/xZRPnvctiGPQ8+038szkpQCzVhZVraNjz8i3YVKJPpI6rhzgVG9a73VzLX8LCqnO0gE7I3b4ylAZ8N2U3Noygnxigw5xg6OU8W4pQsFAHdvGOaNy7NeYkYYYv+5Di1jgobycUr63l3tKkHixq7SF6zT6rQdgbVcmgNMFqJXFuQsTsyawNiwJOu4kgiFZUUU9Q5MCqr3LFLLsOYborvOe476AIlS6cbB+svasQfaSVGA1PHx6c0IreBOzmXL+we06TkxLe5UIMxbA6xDG8J9lCsuY7PvGjmRFcV2TI2PYigqCrHLPKq747eBE0cvzHNvpAp1aye4NZUaZTzd9I0n9hSpvrYSiwEVUjY4UUlzfvjfbrDd8ixBl4QkcvclGPmaGK3illuPW0i82Kfk6lUj6T3sHCZjUlg9VkysOb9zZQY10X/hQXbIUIuFiS/N3xh+2eKV2jJKcRLTN9DUYzIiZA3w0XPplg5T4jxCijX7x9XwbdlmcnhpMNNBfcPlArwnkEdfYCF56lx/0OirfPU/o7UYlLiumfz8EhVQy3nYb4Ye8jJkqs8PVw9XQHbQpyVrqQxpSkcCZvO0rV26ihetE3DkG3zk2jjlb3yG9iMh/LDZNuNVuCI5379ZMfzSCaGbSnxsXD8et6hZti81zTJisVZ5RX1Y77DI9N8L6wQEzkPm+gnYEliuOy1bqZ581B5UvjPQHVXm+bWEphCytXnVFhD/f43xjfkmzdXT2TqH6pyNd0Ay5bNWq0pH8JA2XZorOCaqiozBoIEaW6vrpVqtwbFGicsqE2LoWQL/WXf+h9xuvwzFPDgrDirq2h9HDSumv9qanUr0i5j8pLz3UFJjrj2JX2/1mzA40koxxa/vPIm9M+cxGXDZErhokD+LQbz2APwgK9GH84mkp1i9DBNlVKdHzK29HKoWdDOmZtjeicHei8S02Eu6IW7E6VPWT1J0y0rRoLTcAKVESWc92wWIwlr7SA0TxLpwzJPublgvNvGEYjXEN96MFJWFqXv+dCyvk/pIyQkoSBnTO675tjIZdgu5c/LtlledZzai/WBN9sYQ3s0bUDZfeUsMg+g67G5fMWCg/W0YKfEs0nv+W1j0CcWUzTBBpGKT9Vx1JFwyZsLuD3y1j0mTTgA9haauA3s6FLEVphKxYxzYKlF6Qvvl9nqyQtwR630whGc07QU3kFLzzuZT/OoHP3wi/Aiw/c/GkCIU0RVDLa8v/m2os5/0HNfggjxxg7V1dbRQHmKFubqEJY6MyV/nFW8c32Pu12st2c7wHqjQ1zVYh4apxmUlgovJ6vkI7KApQOIdPR4um1W2H3mrd6b5ht14osKWOXpMJ5f1lZaSh0oMUvZqsAtmWmLt4nxLWL275hNFbJDJebE4/Xc69afkbCaYG6QAtwWaal+bqhj+crZqTIaOSrDTfSSl9XIAKbXXcHbDmepFClJOwgqxjnMcuE+L0ZQsMhHAEARKEZ24h/C6PyJrEa+cRN1GDf2G7Dajia44rkWt94GSGVUJg7MDAYBXixNhiF3qAoweQI4ljoNHby8pum122NBtWMWr5HaSaGxqh1H0HvuR8zu5nYrnUYzIMdJ/zKJtGytF7znrnesISF5h67A36aynxAANlTO5r1VzpWA2U/XkpbslgtN+ezMe9PW3mkjTJYqfm1yXy0SIREiJkr9pZKxdAlVSPgiBhyYVBZYqL3vqQvphMLwNemr5TUUuXLNOJwqyHmQOUdxDmcdzq9apGnQZPTcvEDFfwlPzxsNEnJIIyTBkpAa1bKltswmI2q6XKRYNF13SevjMCTaeL7AJgp5CD8dAXTC7zbcfGbksZCEAJaL/Ry6BCKPTImlFkl/VAe4l80auUYTEqrviRDl1bgWXhnynKnwKq7p/97FIrogADT4JjyLCq/Od9aOaZ3UnhzRK3w0xiLs+gHLG3B2HiNCnx3O4Za1YhV9R6fk/TojrdZHZzc8kXJhydmHj5J83t8Ytc6D/0Pb0R99rBp6afGsxuXO46xRVqOJTzWnD5N4Y4m7pVQxB3xe+1gRtE3hq85WNc+JhIlxCcstuC5STdmW2TkqsEe993EtTCVy+lSuj8WKtJLXEUAucsxCbmdg1A9SV4I5Fh7wnzzpMxkiu+pWia462HYktkvqwby5im8kWUo+w2ucLnTGUbj3ZeM5xatdblDxqQQSpqO35+OgTsz2e0cthnQTJxEnBOFy3DtlUTYzDDgMfUC/Pikgk6rUjoji/iGtrOHhIMM6G2GpFB1EswJo+B+KgbJyRv8uE8tKKAwlSjRa+UDGJWfPTb9kDHmdz0B6lZHGarH3WOj9v3UP+EhBAReJvwd3jk0GGcxKecj4gMLUkDoyyDlp90Oir1nP2/ZijxC2E7FyJJAB+CFCXOo9BXwPeFApHuSPrH37vqsK9RFycxZEBiyBlkeE3g2WgzBaCg0MA3e6azw46V748zE5WixB3e+THf2PMhXkh8/h4Vep/wx8h27hbVwAGIch9Lh9bH/L9OmIZWTHKPQEu43LwYdDIANuldG21sJU74odczfeuoWMX8zRQLUZvo1nzMqbVPd2sbnHYspCBdLHvYz19YbcXbwfQnL1Q94HVKE80n/nALuP0N/DyqEXY+Be7J0RYYCrpNPRD6DJBcGxxYxLtTR+Rm87jraTRKxctUJxRVPCNYpNWgJvvnPFwbOkNXVI3Y+9f3ASYtAGhwzDU9o19ZgmeTi/TNGKDSfpR5qi0L1RD/GLds+r9nkcwcB8igFedPlWe940RaTMUw4wj562eGKcvQXj+ef/KiIoCCTFmSyL7wOoCQnFs6b2bY2NPCztyguD7agJyjH3RaF8KXfZPY+VXT6Xjh5OMd7kh+9y2BzsQIWIybXogdP3Um49h6JCw+SgD+AEBb/SkELds8wzlH7jOkYxrstknXFSaxHFxGfdDUw/XtnRaeI1opwwESKgZLvtA1kUvxZmtreCZkDZOlJHIkuvm/xu9gpg0eXhrMtDrwSre46UAr52eNBnvDXdnN6bSe8DznaN27qF99x2t5Bw6n0rY3gcQzBqb93wxLH4JhBxMfuCYO3RgUoKvMDUYKt8NK6d2C9a3HgeBDFVRcxnj9SO4FUjAVuPKEOn0iiI4vMtoy4BAzwO6B/AgZN+M6RUuPDP7lZN2IGK+8/bfhokzPegKVquD4s+h9vXaiUP6DbMEPZ40CiAcV+CwhAWmexyXyuAXKnVlqqL5I6b1b099m+iK9uf6r44wbq7elbR0cB7sbu/7zXSBHVEUQVtBjLz6FqdStcYL5pyGvyIkjhE4aRxm0pJgJHKTVIydagbmLflaL3nCP5TwrHCAnGrx5FW6qyhg/bCpLtaxMeMVFvr2SIh/nP+BsiAssC7B77KVpWCMSLsw61CjMSs2h8otnuDZE1941DM8JzpRkMHbV8SnMAWe0Q2HzoGjNc5HTp1K4Fv1HFdQcGlgJYLx0nu/oFLkpa0U1YA1RmBhUixAmKPtx8OFL98vRp2a1oetZSLadu7NfrU7iDxPmr9y49i5zAEPAb5jHOGpBUH6VQ/PzPZtx8HuSOl3RFnX2GfKeEWaGiYqGTUl+VaUUUi8Tza5sDkxtTKyPO8B0by0sgBjtbNg1NqETilzYIGtUGUPQSZ8O14YP1YCMGBgiGxdkZ3RaHVLDU95ssSJBc7JcP2cWtfLFDPuwA027jfD37R9Uil/0e8JZ2swG6f5LSrrUrfXLuZkmkIza/yp1pfse9WLJUqbYJycnC5I12xIx84yD56GeKjENc8U3yvyhlh9yOp4PCGMQVZ6w/Q7vidGjh0kwv6JbbUplDnzhC+OCi3Ywzj1ojc0O0GwMVhXMmCZPTMdXOZ8pOPWBz2JqqXEdQo62OWaWRJYL2kW5A5u2DBGd0b9nnYIzMqcy9xeDrJfooQBsRUciZKaU0u2NM7CC1yiSmTSzeZBQE8iHN/2OaGZJqoYinfaLq9TIlgbFhGoUFNodzvUWjOLpsgLeavvgSmMbsC7JE9cnMK8tVvZlWR0S9HaP21VsFZqq7xTNia7JwofivKv4LsFRNJ3pZnGDMdNLZWHg4cJCfCQ8VOQNMl7mFolZj2QzPRFV9B+yXV75CN9avsVLK8Tqwdvi3b3XVo7NFAs/3qPImYvAm0R7JwBtqHXx4IVIqYnYYQrWVM9uc8uQhAfn7Q2fLk/lO9HTk1WOCoiD+4teiewewux8Yn0NuUnmQKBEDPr0yO1i3ujao9MCduUFzV2kyOogOvL6d89E4VQoUy76FYe0Yr61R4Umt6AVRbvUlnXyP9+pzeYVUiBSXZchhSsg10jKVGwBSU4PnTmNbaYP+9VS8WBpnBTW1lpdtARWvs3slCyQp2Qpjyt6Zn1RxBEf+lznPFGEVDdHzFJiroaae9b1nnxDGF8stiIzwYr9JthFyLJJHiM5KqXKLpFIiJ9GqiiRvl6/SL8kwuFpA5SK8xUxl0q/dPdg0JbHC01DgHx0YQoB1ynUDcBTImoKLLXuCsAI40BP0ZM02y88FuID7pjDQGw3T35DrruemcxDsDtu4MpYn/P/DTeGIpYlCt0HZ9gckT4JFoCe7ENcfGwdYyNYqqW3eVHfan2ma6Fufy46xN1YHpHxY4qRHqwpsk4LyAyVfyy0VxfBItVzZ38i1YO2iIpJQAKX4mG1aDRiPDmmUnMi0DtPbDxWMvkmqLsEcaS//e3M3yfZyoqMvNrSbmVpw1WxvjX38UQNpQWHVRT1Pwv1v7aYNKZz+k1qoEkUVE958brEtNN0u6rih/TDVAjj+k6uESymnlTbIeTDmgMU0DrO+1KsNEWQcLues5Hlq0vScUfc2kAduOCN0vKYB6dISMLzYYDyQjv2KdJlr72BBsOwH5qhbuhceW298QWYj9dei9aZHmmHpk3TKkLWwpELSwR7P30CFl+xlZnxIOqF+9Azwi5xtDRZArehzvn77nxsSJDpIiSR2eW6AXYGy5rSUp1l+6JTboS6TjyzHq+lOL7QMhE0JbDX0xH2gV2HU5yF94cYek+usl4wuwtrv0GHafhqINQdMcLPNLBMDNqtR3koV8KdZ0MHrUMSEVKCPOCLhik0ezQHI3xL3Ukn7llDTVd0ZjS2VhYpn8jdcAJzkaoVIg8lgN5aEYExNOFMs55lF90KI4Bx2ncn2U+4wvow8FYuiAN5qO+2FtyFMEpYTpvW1/5ATWsUIDmsTNfdnHQEU8pEespWEygBI79VSAato1snBx+DPyX1w2/mDak8NL9wqgiNOmMfJeUOdJwcGLnbS3iluPjmmv3twX0rE094iDiobtaSxMuPaqhqUQXkROJdFzoX2Cs7rS7IVqEvKRRq/WeQ+45HBIHr+G9xuO7kgoRT2C2OVp0ck8bGJ/2JoWCviSWaJSJY8o2+NdtxElUXpjeQ2rSaGczbQfvXuWKEBKzZYlf+ue+pXVXJEL6VX6jUk3jZrF2H1OqdegBOwe6oB4VELyT/b/CNvDKQ94oAO2fbeO7kSw/IJA3ssLcGBL16ex0pSxCNoghFBFq5NXX87iOCvZ3W5LxjlMFtB/XeQ1HTDKo/3i5NEMmniSyOBHIqHHT4tsC2mQjspzwyZj6LcMLIyEnUKBbK5wpFRCg25cUmQULwP3bqwb/2YvKCb3EZIXYo+1I1pXimqp126ZScoYM44X0zIiUrvKnqMsXhoDdZYc/ppH4b/Cp21SqFtI00GgCckqM1qgpaKYOdA7RMWB5alhlOrb9F62yWI9RPrQbdJGRmkDn2ZIQNALMEbNo4MIXqKK1Qssg0p+Qd6amLOajIVMatl549rtzYzfVR0ZCFed4NoGK5bA0f4hR82BKAwrTfRR33Jyut9rR4vwbdiKQ6X5mAzJqN4wbmC1tmyGWjrQC/KSDqfk5eSqzRPOJua5KEo4KtX2vcNF9pyNkptrO/lHWV34DwmML86ARxU+1HFHeBTNmZS7xx6UXvCuTETRU3D31G03TB/JGAP4bQYnNI77Fx9J0S1CrinjHHtmzmCi4O00tr24lzcBmJg2yyGZd9r/hNT+ks59D4T3inTkP3KUM3vvpfWZvXFVT28j9YfYSRH14B2QU2V9Gzivab2iRsLpifOkOZhFANQu5ahJFyGLnyOMEdZ30k8pSf0SutsvX534WBY/AEFjL+/sLre9ifGKd7MB7loan/raOhl5d4KR+jBxZofHoBFJ0XXCdE2XIhUFUWcfVDjSD7+UoTUilREkw7jhjxHllNfYL6Topp/+HKnIC3nIv6WORmvAdQeanXTEo/UkhypUIeys2Ih3ta71bA7Y8KXH2lKNNrWLcWhtEbSsgfih6L0kek2rv3eBLE/GgcKXxbDptcrKImARXDlXYZt0gpNy9a654D1xDHGI9k9iue6bt4rcVFEJc0BptJJwG4xHuBICe63AVcQcdwjn/EBLECQt+9ACCzcIpz/ynkzGt4P0MVhASIxVTBrJ770QdBWhq0HHtdp9nMOlY7t3xgfHtY2bGWbUecTdFChxX3XMKM5yLVs3FLSsxxDCAEye3GJFuJJNFDVVgfGaOeeFYb6HpUqxBWCfdV8ArcosE3gyjS8XFcPiBqM6z9oQBX5eXtrXgVxUcBQjEz/qR2fPpjHmsF3NT4izoIXIM0YAfKbPKnW0wD9+2dxmeJ9kErMCdKB392oeo4FfvRyumzIQYcfmLZHeDzF3RtvUeXa6HptQ8Vf+dvVHxdH+Ye1VFUQ+/MjYbzQ48TTBUd65uwWpyUp1X9l6KdRWv7WGa2yfZrDy6AWx6uVxRiHxjCMVN/4MBZnuSE/+WZ8z4evjmeJqYtq7eA4a5bvW2sqq0Nh6pKlUtasJhdR177UEcgkDvBwZZxS0kR6Fhpvv8DnWZO5FtMg3LGnG/QsufoYHuEh5jNSWBeTPIlgVN4yNkxx8Wgonp8Ki3Iv7Gj0Ts4ch5XXWftzVDVcl4wkMSQHNlnaEnHLtOyUst02+EATqfAkHyisXvnv3RC7vfdLdzh0nm0h88yZJ6QxvXDwisslDDA0rkQ/wM3qiu7J45GVgzdlg5iUa4uHwgtL8G/6dMPwwVruOetCx5bhTYDVm6IYvWkj7qJlaU9EJRCuSiX3IWZPNPlL9jev2MtSZoVi8l1DOgNs4MSUwrMUlmHD5kKOJf6j+gzjKAh1jgGnY0DzD4ar1/lJvpcl7CixbtOP2ACcGDa2wcftwOuxnEyno1oW9uIhQ2LrJvgg72gdTMU/nGms65oVzR4kl+TWDUcKYd7llBMFl44+fo75Rqjollq7w+DGycJx7vJYh2F4l4Abn0IbuPtlWLzK+koaTHhtf3wqMQ+GlSbn3XHY+JUrZUm+74IDgYXP/o15a6nQa5YO6X6Q8XM4EDuh3VAZGOvv5M5Gon/Lv3Uf66SF2ZHZHDz80NcMtQ3CWS4SfjRvkpmIHkC+wyf48ULZB9qeFhC356CpgrxBP4RFSfsQw2Pa64FaCn3ZdkcpgRmf1m69eMGx2eZ6miIfzbtW0wymHCf77vVRoyo7v+jRgZHA0jrYY9YFx6Xcn/Edbpg6jpUTEDPQc0lVZXe4oVqKYzeWLkU7GtulkD6dWa0F7ZJwgV8nq6b5o1LobeZJj9UtOLqfEbskfJJ0SFbCiTXR/7wU9IHwc1rhzNfAhqAFzzeM+YSjM0jqIagc1R7lDyBAa8thnkYTjWnbYAmR7j6CMPK8Ag8Ygo/XM3f7uzhGyoRTelimE+Y2itSqj0NzVJY3pcR3aqvzoMgQpd64hviSslkQx7ud0ElKD/acwr8U6zYS3QIQSs/D2BdM55TXjK9BniMEmwiTfVFsM4gGqQxcICdEi3b0GQcl+Dfi6/IYT29knixq6k7W5QcQuGZatNcGdJd79S5fjOcC2qXfN7lexxIJijW23+ll8vSryqAlLeW1OAGsxI9I9S/NqlR9cZnbcdVR+SrNo7JChOD8J0urp1+UZYccm9ej5v6l5mzy72Nv+CWd49UOiCm4+S93Z8PODK5WaDpL9fUBayBL2WBUviAUqbD7CgWvU1tmk+WPJMvK+T9+EloGLT3M+1dukn9iezXbG1msK5p2AxgYFr20oPNJHOY08IUxBMqKLLpxn63f0PW4pFeZvyhzi5s8ZW9FcfUKjTW4E3ItchwqWKvVRdv2JpK8+OvZsN1/WB1J9MWsDpYeN5rXgl1fGDJ1gksmpDb9rvIkZlclA7vVewtipTz5nLgbx7eAFXV+O8Bvrfi2OtEN+aF9q7Zx3RaUKmTBM+HiXjEHs1GCn9jlw6GWkPEA+PuWtyZU4+aDhnmyvQG0QQrZzMZCze/fqwDmP9FfdFObiVZ2ljp+wVonrrT1XoJcVxn7jo3zFr3cMRVVVb++hMUYEtBjsNMuVsatTcY1/mAPgno2K7KIrjC5U8GsNC+1nWdyQkbgEmHMIjFcAQRAmZAoeJ1jUH+hULiQFtRYh5JW9/UdE3rry/NFDfPuf2n26ryz+bTf0HOQNUr8t8DLaDetdN24kSP3hpyIWBC/ZqLRyIF3L/rmzpPpQt5csxD2fDDb8BdXcv4LBbv4vIPDzrB+ml7pybXB5pL6wupzeun6gK2rF+xvYNSC/ljkbWTG7lveGD7/6p3xNmJaFxjbUD37Hh6TyGbJm8NCIXSFQnNSQGZp0/tUdfGxty+9yeJjjWKfV8CiTyY7CcUce0Fa3dNKLd/pJpqbeGCPj5xs4RA1xshXJgLnb3posu50pVhvthX3+YcHUaZZwzyAo7iRN0DGQ4heL2jhIqop6d6c9QyEt2sH2vN+rlCr+s12O6pZy75/ZgBbAgltdT4HUuuWXV4YwKEoeUZ8O8BveZS8TnFclI3QsW5ejd1yzdSYm/Bq6AKzYb5fGoihDjQsOwgp4UdT3cfQC9vPcRkVv5ta/aXU6Kgl7v6eMFPvMy5Tn9zbTVRWTlDeGqvOZFs6YrBLUTdYWwSPHd0uMii+ASta3Bnu9TVACEi3xrIwAQsaNTJfvloxUO93CJWQ1h+e/2qE0qFZNhY9RxDREoNWYO8XSERL6PWoDQwQh5vNbeKfiTzddoIvESFres2TOPlzFzezT1Zl27BbwHOP/r1yYShR4NLWwDDbc4iHJ2AL38SAUvuogdXAIPHozchMOs2vtbb1gR0qBkB0lEHJSgeOZ1djE15l+0FHAYn6W1fJqacTsDpNGU1EgucdzVSSi8Jknyw7bdN0namKOH6OKwwdzcw1pQwKYjrIWPdAu1eeUOzaMgvqkd6VpPNx1QtzcupFRYIzivDwywnlypldaXHwFc0lIxqC1Z1YnmDn450VsQyJwNfeukIo27DBY4ogkOi5E1JvH6/THEzbZ0/42UTKg0KsYSaB/WC6524V+7woL6P23nb/ne3gZ603VMAiehslWsgWQSlePEDag2JxZQ58OafEmkDyRzlPVJ2f8+U0XcLE0FouNjYBozP2GtrBpH1OC4aIBBkvp004ISfS0qZm5aLNh4v8dw2kzQfE3Ty47NljiGiJm8OOj96P+nEKf7oabOYD9ZgyWUJ3w6PI54GDhZq8BPpy2tflodg5U1R6jm1wRM6emRceQtHPu7CIo/WQHmajzJzn8qeKs/plylSH5p6/Zj1X6A+zYQb5U67F2cLaEuGnmXmQcyYxd234mtY1QYjB2q/DGja+LkHsTQhBDQX4Q2wIN6NvvK905AU6UWsisg+YROU5T0AXMTEbO8cQY/VsE/yrUOeCRC81FNVsYmxl+W+IqOFqUXYoynd6BErCvO6NWq9BoJLL4LqdtbGfg8WU1tzIfM8kwRiFHdLR0MLqAimKL1JCCk1JGsDFyyOf6k7MAB9vtGcWAdHvVbcCdKMp6w0J3QeMW37ZIAFHhit86S1DeIymFbNkqki+Z2bpzrbhBtJ0cABDULXci9fQPW2CWiClJ2Hx3uy3TnINGBbU2cQVvyuS50E7yDNk+OtPwIh0oBC0gC+onG/+nfp3kGRfaugT7OllXqYFPIqhGCCPgnVyAMaO3uV+W7H5rRpcyzvNvlZyaHGucS/zSBia/Mde8LYrlI5EJ7QW6F4ZkaPKnsp3wztgtFxJwsxbIS0oaZvJDQEf70WWJfnzq9I4vGTYPaGZgS2aUaEqEt4udFT+hU/pHLOjqG1NsMU5QNNJtGxQCAyJtMCe79v94ZsAVZPOZNq6TJ+1UVPtew3mSqr5RpfDPMTbqCqvNmwqoXTnjAh3+BIHopUKbUZNXyNdwqG8d5fKzbaXkDZ2WccsLYR1tyDCJgUSLTjONFaY1LYpQ0u5HXDjn2JSS4lHEifmQlnJS3UfwV/rM8qb1TBS54cHA4BZUAzQ0Z7P0wc4WHU+ja6yonamt3sINIOH9cZ4wQvPd+RcLSQjs9KhVXSWRFP6VqSZbe1gqTpA03P2htj6IMiRgRzkIkP0nF2hUKVG3SAj+koIPXRn4T1XszxIDDGXcs0KJdLUU+WrlLKYX1btmeYc6cwiR8Yf2v9lDoqRbjLcx1Wtb+kesoc69QQyFh/Bof2akvwZIXMpuP/YfqRJhUYCN9TysIWqcNffTsQiAcEOwYdRbIEz4mytVnwmUu1L5oLlbJhFkG+fqcRHOfPJ82kN9loFXM1ONwOy/nMnnhRWe1ucDJvPTw7WpU4EiSoqHeC1bV7muKN5hVxBvuLYh4Btv2Ttz1HraE8L7dre8+ebdcDvzJDESUDeL1YL+k6W+TQNiVl/R+zCsbn/VQNajNuPPOxEMYecakf5NeLdiyGxZdEWQVBSZL/1KFbKK5Ko7w43UkcrbPmvhBEvjt/5Qs73dge9mT0eNHs+T+ufIdTFDZbRX8PAT5r3HFYMypWhPjUzdWaLSCuMbHkI4hEa15to6n5NXvbfTpVOhSUO+lOs9xI1dUZlftV8UhWvmyo+LxP+dYZeEY2YQuPkwakC9FwhO3ym6IIZ7rDjo6N3SkGqWEV9I73ijXCd1w42r9byeaYt1x4Mugf6S7JntUmjuTAeQ1RnLl6T4MMLXvdIIDGRqRkhom+Y9zlzI7acdzBNBi3V4cSzP7FLferMNvplVUhDlKE9riHxc9i75B5oDelENpfRli9ksLDVr8CTuBRH/cPr9j1lCrUO60xeyhHOqgRsj2/trUfeS5jstF73b1oHC5xr+dYo64iupkMndMoALE/7J/3liyhAaMrt3UxuvjZJsXnSB2nFcqO3v97taE+VXq4uDeMftQ5oyAF3k2bBYikYtr1A+uVZXNOoHyruziDiRvWRYrI6+SdY/C6xqA/aRJs/hH6yCW0SIMHaQLvWJ7ZbFOmoCMEcts3ChD06zthSkZBUmBA+DoqruqBRA7ElkFztaZi6RmpxjLeSLQBiGtsgUe4vYmwWy65KJKhk6uhGfjBMn5iT+aM0xBD45w3WveWViqXOL+H102Hm3xWDspOmLjdXoF7wGq2o9UEbpgnMYgFSuvOqsX7Pu/v6LV0hAtBaLsH1LzzvPiAEED4LDPct9WhEEkfJyYGAXFel7vrfAdrB4bSDCaEB/RayTcI3w9zltKaHPE5fgrT2c7GX1HBwMD6EK9/v/DJ45/+EUSVeBzTp3K8Cw8I7+GXyJKkQ40RQTgBYSeayUdgqH/PV4/g7KP3xFQ3SFhie4beXWEJe71H99uLqX4s6hefuma23uIc/deN4e0xdVUFVvuq71bVJqu85iOJJ/WYz2+lShLPTj29qtlbHrY6VzgQtQhfZysNO/RSVjX3zhRNDRJJiFz7yfVU9tsyKRFqL4CxW6s8aG4SsAOqkoWvqPcD0b1uEP6jzunu+A76bIFV5zRPbMo3th0nhDv7yEXQuLEFHK/TCTFuyPCMkEDayxhfkimy0AqcnqVCLABCrSyxJbMaOhkeNt8oL31dIeIFlhChGSqkJOdJOQgYbu9zBzT9LTByiW3kYfcAAVtShJARwv+ERicyoOxctp4g70Va3xI8rIX7e3qSlQhRmKaITeK8AEoynCzoH1p0u1aeuy2B1eC+Y1FB5qGKcqmHyRIDxQI+2ckbVGZAqO40ipcCZ7JsdbK0bX0nz2Q/CnSpWAbsWo1RRqENgk6EDvr1OhwFgGr1tC9q2vuW5SgyDL+XdtqSW5vhewz6nBMv8CtWh5CZpbfFYf7Vw2eiS4mhWG5KAESMv9T2hqDvYAmXoHtvXdWxm3QtgBO3L9DQbEfYXrfHTChS5/Sw+YxEM2je0gpv+LRG87XRAe41xc6RMKvOmaAs9PxdPIuboMG5ZqkxxRLODsYQKLUyQz9P5gMQdhVHx7qN2dwL7/7G87FpGcC/mYC9Qw1HmIvwspWzbdTFKeNlOr58dWKPyacpsEChtAp3JrXI7JMYz47aLAlSWBGx68z4xskL87RFPi8+jjvqYWVBW/LXZMQncerst0EhnYtfXuJYjocepY1o3Mh+4Ms/pvlc1mk/9fMoSXqj0EbOpl8K3hvaqe6hqEcHFWmY1r/wIubPRDV75usMGamf7haIyiFt3xKnvfoXXTUaaYk2WD8yZOvP0Wdond7IBOqar+72RS/ys+NaD6jQ/9lghMPBGQNOR+Q8yCg/oVet2X0mHMql84I3DPwZwHVykr1bOSg/OvG0bSbIVf8RtGmb7/dygKWBIZ+Eu3Ov0gWKDgrxTiR//A6U35WL9CX0NocKRJv3wzoX9N3gLWNGwvQ7gq0pKFAMvzoyOzKQHvHtgxlqxguC1QqG1jZ37Xduq6NW+7THt/uJ73GxE7F2YoJJnBWDLib99wfy+rhew6h6gIUUxRpkgGt/LlzW8iot5ZQoT7bnoirJuargVXoiAKCnP0lkdfdGM9mxWHMmD7KWcGmeG+SZCv6v2KCQbZPcfqkJg5N1bPMHSkoBEKsfzw8jSMBBF6oDn9gjSwvB0tLBbwnwqrf6GnbIjUC/YpIPF4oyoF7mlmLVLgSMtkP2lSiYijXGh/dwzTI0hiGWm+2ERIwAqEkJDKf2BtiyKS88b+6xnuEEgv80rjES7OX/wPMqkBM5IcBBImoSG0I9ZKNmAr3g54v1K6T3mP5pphqHXOAKOcXmcqSXEtU+S6ViBj6cQgR+k23Xts/3D51aKIkWqqQWE/0XWs7IqoUEWjAe5spTYpBs5ZQsVmf/nGdCBn63Zy7c1S/q+9zG3mxEAW6CJNNtizWxg954CKF0rz/W9TPvKq7BNDgqA1RbK2yjv8tyiSodbk44yLiO0Yo0cWgRbaI6ly89Hp30/xtDevRyr8oePqaqiia2PiN1RC4ptaM/aKVzFlvPnk1bncauBT3tfPmNYjW4S869+B/4f85O/dKsUcSQqPqdNdfiSmau42+VrWFyqzZt9xIpu06uB1T7sUoyg+NLxebxpCJBULD0EHfgQ82dLHpRWfhUWbi5p/BRMgX3aPcFmdP5quGlgLwhb491kFbgucHADYJtuV+29mRHDrHq3On0nMVReksp82rxS6DZcTJlTualoE7mozi/2I25s4DBizcUMWaFcqLZz/G6RuG3Q0ciy1r+5xkGl6M3HQhWCYlc6WEwi3eXX7piu0UWDH8j2EQ9anbZRMHU6RhtLQFLC9UYWDjQHPMaOB6sr8cRcDurY6DMViIJoe8RjEG07mE3SM9+tfdPMhvHFjJ1YfieuEAWvuYNcryqeIJNO1r34kWZsAWoNpoGPCgV7KnRV+LSS1Soz1HtTcSbjIeOBY+HeVkrJAjR3YUCTvgEp6yn5H7O0x3HC8ECugS9Qd5+71Grsvm0BeGc8Gf7YlNPraHHiifOPGRyrVV1hyZtUjDKTeVDHS+kL1hM+NQq4q9pqEazQh2QSrPDTKVS5pAmoRQ0gIEVdcpRdz5E0aIluNdoZgLAqvn2pMG7k7BvHBMKBSpAmcreKAtxnWKGTC3qlGZEERUsNtFsB0gGMw0CW+Xu8Y7QBnM5BrSuqBsRWfMswjk9BoOVD+VetSKjQoXGJWOOEtEMNXYGwpXT3mcOZ5JBWmelxJTi3rP/gh5mZZUMzDmuG7Ghnul/25jvug6SbUmpl17YRDJE3YNV0O2M8qzYKDjqa7pHSBLNfzROF5GMATNJBSuUR8MX+xTMfERD3ZeIM+MQfUTan6vaFvHzuLCMQt6r+EMio1L31oFTz09zq0D20yBd0B1Lbi5B8Tnm6QrNgsk2axiwCarjNa7GVYx5SdQruuiApEosrRNy1FrcuahcZNw2JlfGF8kUL6zwdoaAebyI0sRB5+bs3jNe+DVXKitWl9X575Y+vmeG835DhVYLIs7kWu9M1vbJadYSqZ1acLhcuOm3Lp/oe3sRESHE8fHvkc4FwK/LZU0cUetsr+SezKSR7yHSyIUX0nEUohBJVR4NtQ11RAWmmAKrPN082xojdwzwDf7qbJiCWuJr2F9QbC2LR6Y43sZ3jN6xO+YGcbHo7MV1Lsy2x2L1FjciZ0U34Ha6dJhdTpYURDnRIJOtCGrH6UAIdVFAaD06YjdGssvt3+f+BiKtnITXjtWRQScZtScFGAz8tX3u8t5qSHu9HX9+8WavWKuZZ2iO7YUZLyt17P+520AE5vdLs0AIH3cln/maTOskhTbMX/6VJQON/utXOEvG51vtQ4ZsB2Nw0wlYqUnCB3Qs3lMopwEM7UVtyaeCq7Tvq+dzTVCzgyL0WyHMQykgQ4j6xHUrnkqVVZvXYlBtE5UVYw8oR22fImLrd+A4Tt0ZxSCfHbIUYNP0+LsqXjA+/OQdB3/KxSSjQ0rdUO+Ctx1yc59z6v2md/QbhFQEUupskPRtTqZ+y46xqOYs1Z9CYQD+dNMFA77S4cYqCUuPkueJkl47XF/8A4ugAkXuHjGnuXyJESeS8KezK1ClfW38f3ntEoegleBlRjGhheyzZwnS77dfZCntg0+wwMxZazLUwPcqnhxhKioXOZlGPSLaYzRNMl6B4Er6prMJmpdoZ6C02tUu6mn+Kk2x63pZj2fkwpx6oCNAx3M/DAESMmxZuGN0MM4T+YylfpqrDG3D/DJNe/q2v6tbLePnxnvuT13uOsuQs47q4pTScucl+WKadKUBuSnhkipNBAn495G4JpOGozKU3HKYXevNPgIB41D4GcxyF9/xiNdL+HnzWeaik/90XohrMRzHYTtXzYYM20q8g/xQ6LewF0ksfZgTo2GEP0cJ1LLWCPIpgmT7HRgY0FzH1a4rdj+5pJ7Up7Eo0dkDwv/c9IaX8CBIzNBfBgv0xiPNvLc9xJDLOp49rh0074ZxnFTPczpxohg1o31oG6Gl/4agvRSMdTUgWtIkPHOnN3GFJquXd80DyTB4TxUlACMVvWNRRwF4RJa1WOwMB1adXhH1msjalr7+wRI8vzc9+KF9tvoB1BQKxQ+B7XmqHJr8TxWZZDTiRbdmjmmdwpDyW+zuSsSD/sWknc95gK0u2Z3Bnzt9wwwcne8djlYkaBV/f19PVlP3saNYjqXF4Jk0zEV5s5pmLoCTybFx3PxtqMLqGxFduo7vVacs8YOgnkv8nrRG5kz7MvD8DbbTamZh8QMkVydM8MG9B/mBjB7i0S0Ut03BG0mtv5NsfjqIb0s3xTMH1K0A+ozi3MtaO/Xdx/iOCapMVxO3RDVq+5fyUoujKPl5tB0GlZyeUBhzSBIj/mELBDPTb2fjQRA3OImxjZxl4ijuJ0NhdpKPDD59JcFEZWyz/0bVBRJFiVM7BZTDm1ZDZ2jtY+N+lkpSzW7AKldvY9n9lq2FCGorSTB3xLJuj1njlHP0ginfRbTR+inrMaWkbq78z9Qc9k8zpDpxkRW5UtIXlGIASNUkz/eMOTo/PFUGwC1f5azVewveq9rKKDGuJGweM1WIgMjhbaBWMHUf+1i427fNafbKXg7iemCA4nekSqKPfEwIVDeLigPLMboFw/wDOMAYeH367/rcbc5Q+8cvUibgjfvhS7O+BAEt/Q4rq/tabtJWlchpLSXhWspTgmKpaXOBjX7CidU6q3hpzL4B5d+p/gAFsV70TDWwGTuh6ilhbPMUdQ5avlqx1jr+eqqtseND8TpVXwphGj0WU0R6MDdgBo4rE1FQ18KkXQtPrcq6D/812LPIZY5jm+vzSWz7CNfxW2IWGS4x/xOqjzfc4soSLtkk4Ppx/DXSIgQ6UQ3x0PT6gBDEUjh5CmkVzojmmkAtzIF7fFXXdmrCQvQSor7+5usM899KSkAkjRUEIJHJnfo1W6yIPsMkce+BlwPoWwlECYWHNr3/RdSF9DP2mzC/vzkZSrvIB5FRvtybif/rxc+nOrcE0s5grjHi41G0H2CRWqVc0kg20qb5Gy6ZWtQv06NuCsUUcn2fng7+2YPisWxja0IG84IjtCTIMz+KZg4Yd2JZpOUx/Ol+KbfJzxQ/HGizLHsp+GA1xj2b6Rzyc7HCNbr9a1fdt2qsmGEhqo+w4AGaAZ2vs8h0J0nkGHdaGMqAkGP1/S3bZxmoqE/mcr+JFP3F9V6Xp6CJVHk6Q72unqYTcAgx+uOPitWv30p4Khs31G1fuwiQ24Um6hbxXWesNIHQ/MKIEt0VYGuQAFUX364iV/GaEn8Rxe3uPDLiMjgUKt9wBxFDKMXgqBXgC9i4CrsjzNo9CpDv1jpKTWOalFkZJZVQaKOifJ166ol1+eSa/LVpPfu8aTwKCyKtqmzrLkNJsdyAD+xgRNHSZ7UcCRxvju9RxYw4xXjrkvqaZi1iJUUdzGEtS5BVZcvizDV2C+iAod9Zr1bri0Z5KAc5vVQH8T7v7hm+ptrY2jdb7mxo/ahNvgT5pIwtiOEtrOQ+/X+9k4vEg6rQ6oSMeoAmD8MCy7RWPNBUaWS3sZtcjFmbpNUndqxamFjIlGUhUmzOCBAr+2K83dEFzzck0EsmOdSMRBU1sTFWyjvecmaVQW1Zd27P5q4tLuGJPlazvs4+9HobghJ20kXQvJgRNCbuuIl6cdl0CZ23ob0UBspTr6lqsNh6A6hxwzYwM0kjLcX2eVMAoMliR+na0qcsf3XQlp0xy7i882MLpnsL/7K6oi/CfB5VUs1eHHj6fSOasyC9TjZUFZfzUvYuZuDRgAcuOn9vvgRCGy7KbxbUHmHBGyiFi3FIeviyD7haEivNf4Lwbn7jHXoZfCxE+f7FGGoDUkrMXyKSHRuq/BMvvd/mXL83N5rB8IQZycaFa+D5CfQcuRVQhfUWtTrp888cO9U1Zy8FlhGIbm/o73fQmKeGcvqOGOcyaa0KeUMSYMxZrpjBQl4hFRd6LzEeC6+RnDIHTWEha8+y8Fftf8jQAwZXs/Wa8hJlVKBu4521ZDe8j6Lyq7HnddhGfob94b/HTfI/dN+pI1rafpYJ8ROlSZPBvkdsNGXOmg7KYNLa/NmFVhTapE5BqL7Nl4VjMB8a0SvLg8mmSBF9a/H+L9TeHcdPoqJKbk0Va9GqKHDXwpup1SP5J9gDjIElxbTo96uu4pPnHpG8Go2UNS6CM6NeW33CZeEgC0uTrwTbILVBjOt3FOlJCOL6zBO+jHk0ArS0ZT6qZkvMWhnX+9fGZNwCVmQNs80BCRufvow2nQPtA8qjnAMG47aQ1w9rpJpnHgiCz55W3k75aftnESPkjYNhBwqgtAKFGSv9NvTvNqNKqGyCgJMbIQEzR7EhUO/ai59jUGPaKxcHYBKhnqj4iV6XUemdiyaABai5rMJQBLVcadFfGYC+1ZjdGtVNPB2eKTWuwqFTOYFzt9/ZgTsckq3ttD1cSW6sxshKXBmnkbE8KqnHoChULdV04k2E/OnoW7NBC63i1NWLl/WZTGEu+aIFIs6oGdl2TItQjBLmgbC2nAOBRtVKv0XaZrP9WqQO60ncxw2QqeCZHwLD+aAK7aoWHvSGGFbcS4tarP3T1kNI983TiBo6p90Cl2jc2Namvx+ucGMJ5i3Yzuw17MonqQ6bbnRb5t3etElavAH2i+O2N0lzN4FJGiVnF4vmn0yqUHi0g8KKqeOm7gpfFFj8Kb0u7xGQjgP0gxg2pLnXLUrFr5/lKJ50T4zhF28j9OVbx8qpSH0C1OWOHhXhi8UyfCtS/j/g6FE4LMeq7Q9IqWExKnqLoukoI2uDOEUemP0KBd/kzhvXp+2+64tFBZq3aNMHEerxUYrod2c4groMqQK74ef9u3HdcKz5v0CI7mSbkJnJNJZzbc4gc2dppI37SDjw1Xp51prZ6x37x2BJmAt+eDA0cgaKKaNWtV2ZJ1R0CjHOp3Bsd8v7ApTvPEgUHwYYnnX51dKHFz9YiPdUN7S5me2hT8PwABtuUQI+AI2ETfFjN5w0SBTm3epFoPvLiseZXQxveicgthQjO4k+vO/nTteNSoDQGdKpkUjJXI2gAVwJ26GKKWg5BxVwul1vSrQco1RREJCiWnxTaAv3gYeMJeRhXx5BQjx6aSWLSqYsfWDfHDMSHzmuzKcXt/8nd+Tsikxb8eaQzZLtg357be3tlByMcG1/bRAcggr2NYybTPfGaHZX4+bMS73oppZjORKD48w17xZAQ/puWCzXU/9FOKHyQ0+X5FOlXPdfGfSU5vQPt6yyleMlPLf7bLDiKV27eLu8UvWmTHNBcC+0p0F0i3hGtWcIwDUBfqh8zcOmaz+aDSf5YIHTeok8lmySEB5nTUzJiJ+Lll2N9mwayGM51FnXifqenKjTvhqYEZBqK8YDr8kj//n8dMBUmn8t7Peujn66emWZTlemCbPQEGhPiXY3+mKHMV95Qm6lpl1Smk7q4LDapVFnxIjQx+76PHFer1o8lE+Qq/rrpD8RPg2fBzK3TaHR42uk1HXkQ8oOcRCF/tjqFSfJh4sRf8A1wcXlBXiIm7D34O7TxOwJa4neSKgJh285gE/tSV603hvfKhm21MryDfcYm1EkuJFfa4SxDBcdP0lAw+GfL9EmWvkePU0bkDq+AoBjoRKou3SzybIK+VjWEcY5YbLjSUp/TWBeZvSf6JIe3/sd3Rn7dSSmTleR7Iv1DL83uL+Lfc4T5v+PmN5zTFh4rm/MoEQIorwRtmXBSyYEOkAD1fo85zcfi+LUAGOHaffzdXbXSMXvSfq4f4vy1XubLEN8dpH/FwVeg0ClRpuQ+AK25KLZF6SxxEq3aSmKLVbELQTyIPuSRqW784x44uDxtuKnD23NGOvouUT0OAYPnb8zEdgbBVW5YZ9c9cnxWVY+qI+V+NIcPm9o8bi35mHN+Vo+uqL+R5xhGuF3V54dGl2GYDJpJBxzX3EmfLy+e+F+gEuwp4bm5XLWOTYCpNgVIHNBBRRQ28Lukitn7J6ZtLHAXBA9qmBrytAuxPF3QOLgVevQBEfh8dP97TOeiseTa9mcmcWW4u27635PCbE1uu2HIJ0GI255PoFYv1HhFAoh5M5IXPwLqhfWD1/EgAjlJ+52oI5yrYqr4OgPl0mTA4j4F8bXLp9YdmQNgDfszsvUYBNsyHqeO7LUc8FmCoAM+nzwKePMrObQBqOayngXmobAKICwNMUIGVAtMQ1apTCzTEYSC/UeGOOw8GsWjwBnlINxwAHvlc7WCno7nIIEMf/XRnOSfDnaVrxfH1i8ZY5Jcfm5VVfZKMLmCLqRihqVRoIYzP3PoN37SoluZHWYynqcylAatYl7EBdTB/DtO4zRw6TOdw+bF4BNfj21J6v777faMtxvP1YFpormCb51LGhCjwRNDmBTzfRZUK5BHEp8epLrilgq+aYVDFj0bWsI0qPhmYEhQoHyGfW5TwyeadLXDfr+C7//rD4sySZ2yfCOVlijwk1IO1Wou20Atx6hOmHgxL+fKi3whCmhe6WJb1+xO/0GGWTghRuPCg+t+l8jN223dWKSmp/siP8R6JKj2LbCQc+36k7jZgiIrxBu1AN4jlx/I9OUCvAA+2lanyCsNWNHVDqxS5DJgSyM/FoKz4wf9kROLAjsVv6GwiPR49xbyc9+hdINORxohLUCx4vY0egXgk0CdFLE0KePtw9JpSiyxpgoDmvygAaCPqbptrrfxNQINPGKCia4aZN2tGLr9O/VGI9kjyBR9j63zFwoPm23HrSjWMCtrHVy4CTnAMouy+ABoPkVVl4UQujjscJqUgeqgT7klfzT9RVQxYGI/ZHzPi0ibxugs4WhBJnc/hPk9Ehc1mWqiYIOnECCuU8+qkwOj+roeNvFcstLcPCxdTM9w+afw7p5NREkYhSJU5Fzk2bomWcUT7Tq1wvQIxQfh4o9KbZA6PFNjKcaoMJDpEDsvWli0jTBAENWGuOmuH32KSCERtV984oiTCkUEYLqy6pBc3hn1Kou4//dtmY52LKU4/HaOUkD5mjyoFIpfNqyfZu70Ohzmt3SkQlUhbpNgL5u44L9mhlsfc7o+OqF836W1O5x+a7mWEEbNvxUQObkaYgiA8PjE0sFZlba9D8vyWMcJ1djhGmGhwWpP0vVDYLHR+Afi5aHuO2Ed7o857/GQETw6nTXuIaz81KQ+cERkONFi3qcjxJrrfqnx4dyQhF3OF9qWjUxVyup6/0+WSoY+314AGrbJ+h1W+CLP4WpFUQVrzUV0GuzwUsNmpL7d+zoZm5uOatFb4Lt36mbfx9NjaCnKFCACsPMkyQW+gVLX44t5SMpm3xa2koIfYbmMDOPO7m8J7JuH55nUDNY9Tfrp5zNQhFx0hXeTtAkd3BcHJ2u2dWPkt+m4K24rv+dJ3FVlPo8ZCvaBBAqFb60EvbHaZvVIIcXBCzzUN8llf7X7wL/lBKGWtrJt23sYYp6IntcOInUN7N96g+XHOSJOtmmCOHT36SuQgqKEIu3xgNWUIiyAkpYP7pB0ot15B8g540LH5BhxQwsy061e2NaUh3uyfsQHktM2ZZ7O8KxJTO9k6IdeywCvtW4OeO9a8vg+3BU5t+t002A8EMgzOgNFvvq5OBRthbZlopnYKyWYOuoKgcGLm06TQrBEJgL7Nx7JqN4327Ad3HNiv1lHEP77436V7BpiwyCZcO/GUD+1YV+q2oU88aKg62Eq8u1FeYIDB2/+Uabfp37ZtSwrISFiLRvZiv8XJYbuW2mjyUFSjhmFY+9+R8Uv6GUpouTWwybWaoUcTMEaM5ZweIXkunT9+3VREE0cQRqFQiZoI5cDiwcGCvcQTDfKLXYbjnbuh7eNUPJAdi4TtyOfkOPNHjwtuwYND17UgX17M/tDEnBpyCH9R/3MBxDQE0/ehyOBPLT0yLZ4W4VGAw87lNdZOiEiXyRPpkNNjAGIlof3eYe7zb409+/yACy4ZtLHrLZu9LhTqljY8Y5rWwlJp1qd7yeP9uWM89vFJr1yn8Da3am5PQINozT7vlYtKuS+tJVK/4RL29hN4f8rHLXY3r2e3Hufn3qP9Y2g1u4rZThVttv0QxX2dH6Y/RkjG4BHYZX2qhYd6DV9UBCbdGiLkoHWdC88+mQJz02/f6wDWsh0XoOkL6fgB6Ci9+3ZEutUZNXz3el2ghKCQNZ0rarIzbWFS4trOkWrQrPpBwkC+I3AF5FZt5oEh5gLroUtY4LMOSYWzMc39TojCEO/+LslkzAqQcbUOW+BhYEjPemZVwwZBKl9xReOx4QOD1IqO3e6F0vkEJ/Y1JavYaqLLZy7NmVGY2GTzRZB3tNiTwwyjRJQV6y5KVD+kQSq589KpDnQ1HY89wRD8sZYSDsqqMUHE3ZmM2RFgHtsyhBuIuw0P4FqOL1e9nhkUK+sihBU/ZIRKGwNXs8ovdhPPNs0PmJ3Q19JqfY50K2yW1GpoH0MNuZ4NXfRglizJGYq2iKE0WV+AYYgz1ny15hTZlr4Fh24nxAcEk1ffihQrya56/q32cdoG6v7bTaCwCYgpH2ScU85IinoHE2km4SZBL1pcqu4EuxUEWtvq2FaMSjEiS3G057M847WDuj42abbRNYpSZz53AYBvET7eGc1L4hSw1lsp0B3Bw9i/2zJc1rQlEutNPUG8OdhELbeJNGHqrmNVBH56tkvjy84fQgFB+8qHEuM0kV8ZAhaa4x3O/oUKOJ20nZmMWUndDNqCfpDK7btjfPOnWQo7W4a9hdjUj+JiLD5cJNJ6+K+6MOdrkP3nqV9CkN8REH3gY6G0r+9M/JxRCOceJRXwuaZd/O83egO0Hlq3o/C+ASU8+PekpyC3r6dLWuf4Uf4PnDkKhqmQY98wiRmgr3O4gZqtQacqXljpKpU130+Hfkua5Js0BwijCcSGnAe4sB5S+bAclj7qfecMJ/+bJQH2vmmv6H1+l7l/mVIdgCS+jPqRgVZjQw5sjhX8XE5rF0oX+edyz+lJ8nBcb5S9gGZ5ZBSLjhn3dLpwmILi5CqkkumFWKmieQrsDaKP/U8V3CfOD0vl5YnNHKMg9MjbTBWnLsD32OQaWruOiwUAcG0xKBy0LGv9oFTNaPQWUQip5hbm2X1lkPBgDYsW4ey36ll88nrxoeSS66lNErCwkx5ykzB5zH0UdiDpbZFKLxfEYFFZ78Tcgvv6UNdp9693Ds4mHRL11ucNwqM+iWmWTEnV8ZnBgt25X/cdskgCF9Jy1KH5iKeISJhpRIyObQGCFJOJ3p0ImxltTrloXMVH3vybdEqCCOVVW4UWU7/1qrtU4cVvYkpqPXQ/QuVEYBtHVhmuRkBL18UZ884Q+DLpZgWF3mM6exL/kLvqQF0c2PYMv6p+kaLeN60rbT0DTdUr9iMo4RwlhN6GSBkoT7AlZGuzWl6utto+PxCxSyd8m7L0Q19n8LP2Ks8uf2GfjWESagjBBqmQhp4rQxg95K6jkG7b7aU8OAU8KM5VrmDbtT6bNyuBhJ17JMF7n45vEB++8IevNCHkjnSYaFDtRXqgesV9svqOnF88CDweB6ytDlhKuo8MljU4hPI902ax8NLhkoFD9uGtKvzY9YMmNymmquszOwOo1pcW+80my2wkLZuJRWBCIFCrgkhxeCshjQKnPvOhN4Um94nTn/QxKCHH8dy6LnxalMSXg+N9DsHdXYF0pTxUJufRr5yXjGPlaYqZRSLLgNwYMS1RRX9UQ7YQmC4XAtmP3+HXnLf9fLSGhjVvaELa/Gr8ZhzY9zjV3Ke26FKfr1XG+t2PPvckjWFaPG5pfXOpV0KKI9suAwPNphk4CGfMqL5t/ZRGjLxBh2CByeP5AxjlZZG4yP8pdiAaeQJzBGgdNJU6DZlIE31XPj9t9ELcujiO31Xk9R678ps74YY4c7uaGgl5YhTFthSQZWONbSd1hPUmfLCKvhGQTWQUKUx5Opr7onOrvumwFwC+CPxE4pKa7zGofwABYm7hbijE3bFV9WIihi8njN2+sNYVwsD1TSsJjgvn2+jtk0vp8LFo8dJ5R8z6MfHv0miNY6cEQWM9LFfLmfpmDxMXEMMZh70ZEv1RGVoUU+A7MdxjTnROBae/5PhdBWb+kS8vakgxQ6Bc+kri7TO663t7yTIf6b8p4FLSerHRTj/f0XuyAnfJVbq6faF5WUN5U+zvC8CfEjsFblYTFhIkSxfU8dHCvc4dMLWs+MWqbQX4gSuYd6z71FP8hggBZpR+D507fztdFRQZmrPp6hcSSHPIwOpJzCTQb/XTBUTvCOMsRboojI8wnq+Q7x1+mAVy2n66CPgwnBFB2vomTOWTLTIqMSkxAJZDxvGaoLWCu0w6xZFUj7WIBkrlz4QbrMFwZCxQGB66D/wEJ3AlrhylD9e9+KAtClIPTBvYzGZjjpdj+suhWj8A+GJKZMmoGZZDyND13c6AVHHPyqifY2b+VzO6KdtrRpj6k4o4YN22qj3DF6yP7Se+aVc05qRF1prercMmD+XtgoXMWftMtCCXTIIvehjjc2p2MLWjxHXm/Cjvoh0YEQQyoANEUjo0wuR17G5RtPVa/dmyQ5qfwoMMS5NhVg2eTu0GvxAEZ8DHwmRzGDsn3iLwwADe21GSpdZ0BCwBQVameXqOPCJ9qb/9fv2oB8llEG3SS/pYAgRW/VW2Dp+lboepArQwKf9Ppbh/r3bbIP3d9IC25pOpL/tBX49bNwz1ijBkvnQvuOTNQaOS/64dJSCy6nwitP6p9Nt+Wx4i11KF3wNQ4rfOlKX3MNJHqQKFkfrceR1anKAUSY0BiG0c03nVWcwO571n2ZXW+EoBI49ItzWtMx4xYBxTGSDUzK3l1T0G2o8DhDHyA7GNbO0OI+SAtcWDj9A13scZkhKrUZPuLZGi+t8+HbpklLaUGJ26PBsCr1+KBkNRdLhg9OP1COO96Zz07dpTnYLZcT+EeDBgY3VJm57F7itlIBkWtpBb+dF0G9EsddvgdUf+oMcHKuWJ8akjOw9O208fIU6v4FHEHZ9ps6d7SeXFHHiVcqyf0KO4rRKIfE4/r25jkSFOZoXC5lVFK7pofuvtpNO+UTDNjod+aLxsbOpyAkmP/fqbKKeOavZOPXx+PEeNtFPBhdkI4tmn2fRrMgIMQQ4VwmQaCBgTcmIa0xm+2jM1sKj74E6JSg7ZdxUakGFoeQQiPALedXHAGzyQYhfZRHzpj4qHd0f5lRkfhIBQvHKtZxIN2gSuk52Z17Z0o+Gnzvn7ROcpveakdhvkUN+doBsqrMVqQh0Pom1DjAeCMXUTvR1bfDMCU1f/ep21h/a/IknAAbvNRB7f1ijOemak+MWG5N1qP9GaorgsrS0OdKVAQTqrjNW4cpRDfLbwoGAeHobTaz3JrgrP+q7SdZnzzIDzEADRhEwAHq1uxOTQk8Ec6b29LJbqwJhmr7NlZaKJmqGERvmuj8aHhmqzsyix0n2Oyn6A3K9zRR6JqSqkxnPDRGYNsyELB3k3lRYluCU9vcStxaBUoP69Ngy7TXNeAoOuzt8PNy5I+i9xOxq5E/XhB9VPPs5bLTL6ld5jppaPqrJeJEn7LgsoN4zAnvRwruo32oVFJOqmuZmMvGrWfB1ngNZ5DtS1sG9b/GSmLCyL1HkNqbSYhddUlGhSdIjnOt3gupn01quxUEE5dXXa+WWrLUB+JikijPZe8f6IQDo6UNs7bF8qqYIGbyfEMo4XOb+8n57xNZ0Jdl9kczj+atQnlOVlT3DPczs0XmteOPm6P++9eCM4ffixzmdP4fiJkKHZEEDb5FXuBTYaPbMrTNPwkp3C2RI8kVrgWp8+UgYAMm3HdTm3+GCn7WoAul4fcqqm4q4Id9/wI6HUu2lsdU4pr26PoZM04GI0k3sP6p2Le7PYo9CWReyyw7OC+MxcLOgBoUKO/9stMVyiks87xdn8zzA/NHxQrA1/8jm9sBGGgltY22PAAwA+dDwE/Yy+pgj0RwNwvRHt4Os+T3/XEO5agQNT8qSEx2pIR/6ohHJ5Z5Fnze9m5tzdOOXzURBDgSRQa3qAUqLA94wvmPhxtrFERxQDoAtZ52zXgRzhG6lJl8VNpt5xQb9y/tQsS0BO30xs5FKP/BnXX7WeVv9efM4HSzDa6twzKbAjM7kmGqGHr5ZyWR1cTk4J8I0dhqEFGSojcyUjwmBoFxxoPGeuYeKQx5MdBSpLmikw/4JRhOoFFttw65HadLsekpFuP8+wEWWHpkeGSiwy0sESsM9RqJChemK/hg6EhK5jii/fTkwxEQc6m7URcL5AdtVw9THJElki7VaHCI8NBA85IvFE80zybI/0o1JxZc2RvYE4C6ihk5CWE6uEFljxnBJ+aia05EUsqKMZRuvZzHj8V8C5IiYvCQzg1cKxYeGHs43QlJNYILlyOWS/kdv1IBiQedcxGTFdbj3+0bzXq6qwvWrWjY4F6qQCMSwNRo6vqbJsQSrH6dbldyU1xwsVSFEwskTyo7FJLIN3tHTytTfvrlckri220gZpl+PzFPafLs9NQ5qkiWqYrpChNSaIMBYcJRsSJlOdEafQ8Q2y47kXSwvMgREzBqmH+3QJAdcMXyV6JJdWdagFsjA4aAIoMT7h7mK5QOzo3JGwPMQ2kVd7Ce27HE/9zAmAk4w9OoTunyO5mriqsSEwv67rFham6/O4C6CuVJ79xn9hF9l3DXD6tSIAoywC8IZyjY03aszUwGdzUMHkrEUF2qnPhhw2usVn2EDlCdTimv/yznQk8tuGzzmNkmrtBQf5BNUbjKxoK8/ezdIlk4D6MnTF/0zd5LpY1zE1EP7xV1RtRMgyN9lcn8uJKXAehTePtP1CeYQ7Ki8BfPmR3DbLfaISF7D91/22Qb6HwVo42EV5N4IHrcKcQWgSnRSCs2lQyV7wxu9k/WMKntjpgJRHZZFpDpqBow1jhJ6chicTfvbo1CrC8OwH+ddFJgcADZ+fc8TkSSkCTB65DHusGNOCElcehSXuPtNubqepG5B6i9DW0tsyL6gvkXBH0ynAj+nlvxaVTpgMfJRTiN+pSy2ipi6fPUSirbR5M9GNfymbRlQybIpmyWi5B/79HgJnRxUhqSHrGBR+puvhfJl0nCBrjWwE/shO8+AzRauI00e+RNsDk+mNNCc1KVoABBsJfzmdRw/zNM1K7wNIzJTGL5bJLL6Nc8YIftSrqe9mXWSBQ/oI715g+xuUyZ9WpsMQ7wIAwhMTLs0qQhSQxjFPdZFRlpd2sN7F735+a5sqmLokUkJJXBK0lJfYtWnI/uVnGNOCKpLc+hbK625cJVLzpih5p1tgm88O95QVvKLlBrMNHWFWIr8tZyTeBWziyV+QwAHb//XpNyXoA8+QR2qMIWVJSFOkwgUdVKEukG7LUkSmhk+lPWD5IIPG196DqyxNqCEGsEcarSQrcb65O/z7HuBcRmNWZFCHj457wvhAVavObu6JJfoAGcEOzSD8JT7yQKZ8XmjzvN/s982Eu185eXdA5rsI96zC/KQ5nHdyLGmRpuCJKX68VBUftOljXtOtOean0cfNW6iRcf5wjV6SSDiiR57tVUp8hVMWk9zpzfaptQP1mapbtg5CO0nmteIokAbAUtPG3df6JeZeIwloUt7MrzoyemU/YvnusGYV9yO0RsIW0cuBtu8bUSNaIc7PaeiKjWGHkQte6PuWuCiUhtlSkRa5G8VNMLEyY9xN19wkopohGM4mdiGiDmc8tMNb19SM02g3Z/QwubEgzMSl4lBhZGSYfXOseIqnjDs6ypAqSB9ZoGOn8GviLk725gHZmzKXWKtCINKzCzsTN0qAF8vaA3Pb9CoPsPeajmytT32MJIyDT0ONICT0qPTyo8zTJd0y74tv9R9nWu+Hh/A1uKY431B3BRwwTrxJ5Ny+TwpOV1JwqCCgJCvqOxzoP8tLpvgkJr5+Aeu8WXr7XE/UdNprJjDQJ/7s+JS7/YeR7esN+7ULD+QfJliuXpKmTJWJpaMXkaMeEGepi6S1Bdf/GKT3d5bGD6tgBGi/e12OioDagdGhtL0B5cPQgw6BvRGGcrryWX71NQp1OaSXanJQVLWT/l6AQp/58uJzOGh6Jt6KTAvLXMlflcDwC4CR7Pu27YjtTpqUpQuyfqZvVhBaFZnilJtp+eNyE+cZC6x+kIGZ8HXLJipzIsDV52SwUtT36KwO1mAJXd/ErJrcs/FVK4UW3zzMpvxoUi2M4C8JIYujne4st3fK93OjeET9ptcr0xeLLla2HUOUi987KgYheNtpvegsFGmFBlV+oNOpCZvLyiNObbwTj7xDj2N5E1laNhCN6PAjEEMWiobu796thQwx7kj32LMIc/OXffYzvRflFcYHirPb4LQ3OnvPjkG4ADWXOF02ZxYYoMlmoITE3eL26S8Rx1IrwnAfwF4t/KfMcxahPV9BUrvVp416eR4I/k1xBg3eXvBtakVxIB60XHsX0GhWQVFNFnehRgjZy2J7j9DcSnJuMdxreuLSvcoVL/0hZxbVMoToN1SMxSfdoX/TiUT9zzScEp9kkonu9d/AWNWy/bP6R0V/LjfyXTo9L1Gjjv68qPpBxwN1jIb/QqzIdXsQOY2YIG2dWgvAAm1/T4rW+v3TxaFqKkCjmJbuPKqqQR5jZyDGEaw/2ORdleJNcj6jfD0X5KBOryUgMYDft19W+Xye7XNX0u5kMfdh2bsbAvBcdQV0vHNYqoGzwPWwBVIYHEfAMIp4gqI9HW9+qtBvOInnbgkIIYazmS+IyvYZEwtzUOU7BKB5LVxInZ6+5yg2jvLoheZE5Ge8qjygWIfb594I5+oqVW8P4nIpUwJD52tYd/53cVotc+lu9uFsXRtekfBeKT+NM9SJGuytHkUdgMYOhi9v6s9kg08ZmOzC2RW+mJ9+4uCN2auyf+ldj9wjSZjBtLipIGME3GLsMlIWf4DPsojGSJ/9NmZJRRfr/zblF5WYdnyeF818cwCERjF6CdFcZxI4vk43TwbtrGwpGzUBMGnn7xzMUTjI2nuHTstD/RSyzl9fj+1d0kZfeHiWXh0Fq6zsqBlV5g78SiJy3O9XqfwR62BXGbClkTd8PzJxU7VglKxMJmXDnjy6t4nIjkq/UDa8nDV5lzPv3+KRGRb3TXWYsV8sr51GECJ69L88NxTBOaj3D6vroSilyb9ujkCFsKVX3uOnaDjp1xcwghzTVWDIu2PvaL4yNG/9a/x4pMK7P0QQtnrg3XE+Dd6RaFyh+CS25J5XjndrfmQWs2Vez9/WMx6mJMfcDCGQQN2KkVLjbubL82SSGysNI376p/vxDFwomjzHmhwOUISE/eVMFa6SsuE26Z7JGQbMsrGbjG3H4jS0egBJHJH9CHFwu8UXFkvYaFrEjrrP/Ciauo9eWmnQvx1o6SOaa5Zh9liZLJRW8rebAo0O+o4ia2LqNeDEIKb7xi8ofXVoCKWItolsiPMx1bWwvn00GRDVqSEcFvgrBEbbT1k/BaNRC10kgTXlEmQwkSbm7+5Seq+6KIuXfAnB8nQ/UNtysvXA1Z4bbUS0H1hGFMBtDO+bWUihhNeeM9lx8hNylkX/DrwaN/BDbCwwaVCc7kMI4tNWTNOPFMf0IdkLvf0KnCwxKv/jRMHosOBfRp5ShSaksDlyu/UWnOkURWgrTIJ74beoPNkfMg2iQO9EnpVbrSSbUHbLnxGe3jnlgHplvqwsGFXa5JEC/01k+VO5sjf+Gg/rqdHcxroVGk/WIm5afPCVxc95aeI+JQG4a10lMK0f1D+mGTPb/D6EfgFHogHi22UdZ6Eyn3yl7bJQ3m7SkkW3diSju8I4fMeGKMg9zEWE8+t+iqzQ61sIjxW7wtsOxdo0w/8As7MqVhBeQoZhTC1JIztxRjJcq3E+H/yF9xeZ3hYawsD8mQgWPArcje4dicsT+yCXJoIE33IY9Cb2IOEhldTGBNSzhp+wuQNmyeL+LlJDl7XOZV0cB9besn4MxXZLq5GWUM7pObnXdhFS1wFQqkLvpptl466mL7+ZlWh70dacNezSJ/ooKYAiwjvZmLeXHWgNM0lAi0EjqTVhRItFXzCVMugwTAYiBW9Ud/S/ZiNAvBRSR+g0Us+nLGEXBzyM0kPDqbC4Rn/ghtMJGBTcRfoQJ/7inpZ+XXQKdAWQMNdzDJ7kDcRm0YI8ZvrXWkkTEDswyzNUtf8oc4MZmBKav56VL4iU5bgQKY6AFo8+uNZeeO0DnqTTSCjsEEt4QX54N94MNZVP1xbFLdvl3tl5fSdIjFYu3sfQAHDf7CYIs4FWma30oOWIAskFJZuQCbpeoCJPrqGaLZ8ChJbC07xq347JwWwMXjX28CH2/tYtuDWFxdJ1oWGWQvesJRhOShwfTc5ePZpcktNih4RuCCNHRYpWGHKPkfLHEFovUG8wRkX3z616JYd3AVuvrt5dViWc/1hOrWkZj2is2hOwp50EZ9WUkaRIPypWq2cLT8qrtXyGPiTL2KjDVyCD/JMTa1ZjGT4iyo9PtNexjd6P0ay99L9BdlcRhv5QfjkBjDQ1AN7DdfG+gabW4mgTiulDdVhDqMPuMnhmXXyjmv0gS3bx8JR846t6Bdh91UMCXt0VW+DfQkeTA1IehiIn0PC7GBJyZQe/mtY9sKgATXwWRyiiq1G5mNfWx98SuR7wMUuGH0oOom35Ung8Eh3/Fx7cCSkr8pU5VRTdkgivp9+ZRNd15kezYVasHDQE3iowG9iP8MI8lEhJfelvYNVCpxigrB97a9p/+cdrx7KAhuK8iLi5kshMI7MCg97eZ9GNSnBqUKKaK0JhoYipfmes1i1czc51bpYH4ImmyPb7WWdmPzVS0/PBKQEn8vM4KcDbjb1EMBMRYHRIlvg9J9oXXGzPF022dp5/6aQWbl8siSrXdgJZfLk0CwSsMoi3QVPiKxgqi0ZEHU3JQxoaz5nLfQhP9VlS5SBQCs3r83EaBCxh3eGwqaSHNEY/0yXVv24UvVf34CVqMviHiLQ1LU1BgqmEvSFrMGzhz+S+kuz4vgnZmvHWvh1zDidqZVqQkdfEcyrpaAKI/eMtV8v1Ho1gCKoFdsdCPgPGhVxOVjOlTaJG0HQl7k/vRUvCWqvwmAoVZa2ErGuQcNHmCLumOW1q3bPIzBRKgq1905gKU/eiAkqOYCgpBNUezNyPBZoE8zHq6KPGl0WHkPvS/3k+4W8DciyghQWbHPBpLO3i5ahrwJTJvHtKtVF9PcXODJK6rA1CRrnkp8omhl3eA9AXqFKINJbDp1EYk2jDcq1H6p39VFPNlKZrqrDg2/JKK1X4lVOo+mAmKea/jZ9rYFqLRVgdhSnDgZK421M1K+zjuJwRYKytPFj01wejotxuU31t7QBZ9Twz4HjGXbukxuwc5syEECHXEszkbyycH7yEI1NIwmmSeHRa3W4XGCsAbdWVWRmrit4C9cW/x5WTgHhqVV/vi3nfMVsMpF2M1TqrQGFMv21Vhiya6l5Yd7b1F5WR5+DLWSAO2a4b+NcMggI4VC9HFut8xMuhxfH8GwfiNDTVdkHgMLKy7NTWUOv1/cgzF0YxxwVUJKiLbqI9cEA/rrCkmXVCiJ1loI2vRQy5xFaIRy8rJwWbC/5NiMNBgbrasd/nVYpwSSq9hPbF7js9AmSjDmGRNeK+LgnKSoTxzlFLSUgPCDuZ0R/UDiJh3/wpk/CMUSorVE5egt6/Wi7rO8yRIo4Hhfhn+ji24pW9MFozTt5S7Lfu8RlYsDKOPXH/lTd/R+eIH2OGfxlTmAN1a4yY7RebTmNXPetUY0ByPY1yKHSYK7bNpPh6NY2nZat8o5zLOkTLfgB7VG57G7o/M/5WYq9mJaQqI8D1r+nPpDZL+JfbZGkpjjNMFEG8bu2DWfTm3ilM7q3/8ccCZskfG27DIe+IYy/Qqkr8wNVWMSwT8qA2KupKCxbcUEW4mkXe7vq4kKbfxvtuK7XzZdWJN4RdyP6jnuvWwk3IDy1a2ajFnP7rEPIZoDnrhVd14LtaNrKwn7KxGZmsC44/dYWsA4jobAkv68xqZRkQ2LnmlSNJ5YHyVDKV/z1y20B1s5/cE1oJSYMeUyskgykqIJ/fbWspCpEDR6Zop2BFcjOBij/dQ2Kw61CQyWcF9Vzqdjc/8Gt7LGYPc/BdQdlDRKZ21sqe2YPe4LJDvgeqsKfs/vb+LnHfGnVx5qNJvaW99GuSwZGrcIk9djZ6sq0daO9PlFGORiqr3PAW7FAIlpplwXwZNfEscZe6C6la6HzuXyF2mbz6UANIb5+4vri8ehakKLWg3nfCPCdUw02ihfql/HyKZZ5eHdzk7j1qA1nJULIzPkkDqzin53nWkJSvHdHc+iG53ngG3mCvbp0dtHyIXxWASLcxPITCuJy4cNCKbk1Bgro4MBJxmka1k/V5YRxJtWo6PtkNp9ylbb9zQQC8MQv2XYllJlLuXvmM/HjGGUHQffEPqCy3ee9M3JY4KyH6SqouCGnD5WIvvqApkJ7EwfDuOe75prO114Ysc7QHmfjDgTaE/3XxyFkWC8NRKd/s40GxgblSUcXfHbQnuOzxK1VzVIdmWuvR37gUFll+IchC+3J+PKjsumuuHyWOjI1tLXeCXOBqkO1tlkB5BzjzxpdZhMKgNg3Nohtm61DvXu0ynmMG4Gs0DpmwF+zTKv7PdiOsGhHSfnDZA2eTQvWzCUWK51SWeTdIDkefklEZSJXgL5tQb6axbQz0Q1N3c6fDoVCpdnjplfZ1KZcO/p71ByzhYj7MXmSOdFx8JQlUEeO8VsMloykULUSoNHVvqxKuxZVVvdGPz59w4YCmYSTcPUO9kjxf82BWx95MmjHT8BEzLzqe2SFR5YhzbZZSPV0zcmIsWI9tQzF30JS4s9BIZ40+U2lQtWVDX2TiA8QZ8rpzXbzZ/qZxgDAWsgB8oxmWlNXVlzSHqvJs/GdWkPhemyF/xDbPJZiV0fg8YmtVz1kBx5zKdkXU/rb5/bdIa3oHQAMem5M4QIcKgSl3rspAC3hNjuKMgbapPH6L5m8wy3qD2dKPpqTEXriVDG8SjbzyudPf2eDH+vhkQDCLY7yUV5/3z392KFLfKs80U4uakK+WXCY9GksUbgZlZ4NDiW8oz0Y76vkNQqPRD4It5+NLN+XrIjPTS39HnnbA7g9XKu3XcpUNtEgwO168O4mArJoUNuBiA2Pc6JPd/lmvGjkD9m7Yr+qJhQCdyoCra5M7s0N4pmPKfPQYpVYo4W+27WAY0e1Qw6BpmIwN8jP+wHClBJPYU7IWWQ+EXr17VaoVT5rMR+y8BuFzW1qjvExqidm2MdANUzDXPWqqRNNW5jAwS/Gw4J0zXNJn/xDlIjNxF8R1x6EU89XvvwQu9ThzGz1cZGNZrpNshfoijOCptn15RcomP7cjXBWU3zmthKjzaqBeOQ3CZcHP6Qdtg0wr/RgxMjS5coVvySq0syumoh+IWPKq24wzgeLJWBeuS9TePxDd4e3cvr/AUMrgIkOUaemTLvqQPph/jUK/oWym7YSwq+wI0kBpAIlxbHptBwzZgdtYssNV4wtwSSp+IfEFsmqumIjp23QmI/7cF92UB46B2tKO5uixSW5EF4ozvObBZk1WxX1nxGVNn8dlIYwiccgx/wetWNTWx4PuhsLV41Y0obx1fegS7ZDXAjb4RlePKuh+Vh+/HMz8UohRrnK446RQHbZEI44edCFLzG7fE7Hw2ZMNmt0HXtK6miSnJ0ulLlx9d4n3ujjGVXNVAS43sfMyBeDRqAAciLTlFB1Zq5IHr4fuuGNgh6VUH/0nWE166Z+72HATioCh0VqJHSemCYICmEh47vcw56p0hEDZWkvfjk9z+eoD3W30q5DoY4f3+01ePJ0861GdBv8Yf4uqom1HovJehO7Gtd6XjIr4p/fshlfKngl3CHeygmKHXQQipHl5cFUywGG+E4uwSV03r/sIt0tFcMVvrCI8i25vTfEZxwyac5eB1JmM9ylXtX7ZMaLgwmhDuSzH6Ob/gblLcT77By2UO5FTH8Z2JgiGU+ZANbZGXm/KRpDY4/61DwoIAfkcWB4dbEcnh87jsueOz+tyHS9w/LWyBhPMMvKD46clmUG1NbinKs/IMWTue4TGuK6MuKBMERpy6VW6it2jPFX26nXhrYv4iBLvK02mJBAxhNzX2MnzP3hl23eO3NVNzdho+LoPL3EqMVGnaBql6kV4oH7V2tJULVvLf8a5P3UcdkvQQyHwhlMkBs3FwaEj82D2+86lwL6g6j3fVhUF9hKz7tE4ntWf1G6x27ezEef1acbLnTEbH96+vZtz3EVcLG/p21H9wEhdEN54K1cQ7YzaYuMbWCpn69hqQHWf6+Hw9NoAY8PKWhbyLYo" title="Mekko Graphics Chart">
            <a:extLst>
              <a:ext uri="{FF2B5EF4-FFF2-40B4-BE49-F238E27FC236}">
                <a16:creationId xmlns:a16="http://schemas.microsoft.com/office/drawing/2014/main" id="{0E8CBC40-69EC-4C6D-89AF-673340620316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330200" y="1935651"/>
            <a:ext cx="3483504" cy="4303037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167" tIns="33167" rIns="33167" bIns="33167" rtlCol="0" anchor="ctr"/>
          <a:lstStyle/>
          <a:p>
            <a:pPr marL="0" indent="0" algn="ctr">
              <a:buNone/>
            </a:pPr>
            <a:endParaRPr lang="en-US" sz="1843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en-US" sz="1843" dirty="0">
              <a:solidFill>
                <a:schemeClr val="tx1"/>
              </a:solidFill>
            </a:endParaRPr>
          </a:p>
        </p:txBody>
      </p:sp>
      <p:grpSp>
        <p:nvGrpSpPr>
          <p:cNvPr id="45" name="btfpColumnIndicatorGroup2">
            <a:extLst>
              <a:ext uri="{FF2B5EF4-FFF2-40B4-BE49-F238E27FC236}">
                <a16:creationId xmlns:a16="http://schemas.microsoft.com/office/drawing/2014/main" id="{EEAE0006-4947-4EBF-9DB6-9605C419F436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2" name="btfpColumnGapBlocker493474">
              <a:extLst>
                <a:ext uri="{FF2B5EF4-FFF2-40B4-BE49-F238E27FC236}">
                  <a16:creationId xmlns:a16="http://schemas.microsoft.com/office/drawing/2014/main" id="{BC055332-6095-4739-9D67-1C1D5E32570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7" name="btfpColumnGapBlocker516624">
              <a:extLst>
                <a:ext uri="{FF2B5EF4-FFF2-40B4-BE49-F238E27FC236}">
                  <a16:creationId xmlns:a16="http://schemas.microsoft.com/office/drawing/2014/main" id="{2F29EBE8-1723-428A-89CC-321A975E785C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5" name="btfpColumnIndicator283188">
              <a:extLst>
                <a:ext uri="{FF2B5EF4-FFF2-40B4-BE49-F238E27FC236}">
                  <a16:creationId xmlns:a16="http://schemas.microsoft.com/office/drawing/2014/main" id="{3BD766BF-4605-42E7-9012-6E0D5544044D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btfpColumnIndicator927252">
              <a:extLst>
                <a:ext uri="{FF2B5EF4-FFF2-40B4-BE49-F238E27FC236}">
                  <a16:creationId xmlns:a16="http://schemas.microsoft.com/office/drawing/2014/main" id="{8177A372-6720-4800-9FBD-0CE615D29A5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btfpColumnIndicatorGroup1">
            <a:extLst>
              <a:ext uri="{FF2B5EF4-FFF2-40B4-BE49-F238E27FC236}">
                <a16:creationId xmlns:a16="http://schemas.microsoft.com/office/drawing/2014/main" id="{9D658EDE-CF22-4261-B370-CC3ABD3FE6A3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7" name="btfpColumnGapBlocker653387">
              <a:extLst>
                <a:ext uri="{FF2B5EF4-FFF2-40B4-BE49-F238E27FC236}">
                  <a16:creationId xmlns:a16="http://schemas.microsoft.com/office/drawing/2014/main" id="{D01E4C71-6793-4D2C-B63C-725877958B02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6" name="btfpColumnGapBlocker132444">
              <a:extLst>
                <a:ext uri="{FF2B5EF4-FFF2-40B4-BE49-F238E27FC236}">
                  <a16:creationId xmlns:a16="http://schemas.microsoft.com/office/drawing/2014/main" id="{83846676-AEC3-429E-979C-B5257818E527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4" name="btfpColumnIndicator106578">
              <a:extLst>
                <a:ext uri="{FF2B5EF4-FFF2-40B4-BE49-F238E27FC236}">
                  <a16:creationId xmlns:a16="http://schemas.microsoft.com/office/drawing/2014/main" id="{515CCB43-1EAA-4257-B311-E0BCAB93B829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446715">
              <a:extLst>
                <a:ext uri="{FF2B5EF4-FFF2-40B4-BE49-F238E27FC236}">
                  <a16:creationId xmlns:a16="http://schemas.microsoft.com/office/drawing/2014/main" id="{8416D7FD-3389-4C1B-9557-37070E7B0A19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57604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390927765898143 columns_1_132390927765888169 4_1_132390927765948015 </a:t>
            </a:r>
          </a:p>
        </p:txBody>
      </p:sp>
      <p:sp>
        <p:nvSpPr>
          <p:cNvPr id="6" name="Line 363"/>
          <p:cNvSpPr>
            <a:spLocks noChangeShapeType="1"/>
          </p:cNvSpPr>
          <p:nvPr/>
        </p:nvSpPr>
        <p:spPr bwMode="auto">
          <a:xfrm>
            <a:off x="4072767" y="1699564"/>
            <a:ext cx="115376" cy="0"/>
          </a:xfrm>
          <a:prstGeom prst="line">
            <a:avLst/>
          </a:prstGeom>
          <a:noFill/>
          <a:ln w="9525" cap="rnd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4244" tIns="42122" rIns="84244" bIns="42122" numCol="1" anchor="t" anchorCtr="0" compatLnSpc="1">
            <a:prstTxWarp prst="textNoShape">
              <a:avLst/>
            </a:prstTxWarp>
          </a:bodyPr>
          <a:lstStyle/>
          <a:p>
            <a:endParaRPr lang="en-GB" sz="175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/>
          <a:lstStyle/>
          <a:p>
            <a:r>
              <a:rPr lang="en-US" dirty="0"/>
              <a:t>Swerve witnessed an increasing trend in number of job postings for technical/ field related roles between 2019-22</a:t>
            </a:r>
          </a:p>
        </p:txBody>
      </p:sp>
      <p:sp>
        <p:nvSpPr>
          <p:cNvPr id="4" name="btfpNotesBox194876"/>
          <p:cNvSpPr txBox="1"/>
          <p:nvPr>
            <p:custDataLst>
              <p:tags r:id="rId3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90729" indent="-90729">
              <a:spcBef>
                <a:spcPct val="0"/>
              </a:spcBef>
              <a:buNone/>
            </a:pPr>
            <a:r>
              <a:rPr lang="en-GB" sz="800" dirty="0">
                <a:solidFill>
                  <a:srgbClr val="000000"/>
                </a:solidFill>
              </a:rPr>
              <a:t>Note: Bars hidden for years with no job postings data</a:t>
            </a:r>
          </a:p>
          <a:p>
            <a:pPr marL="90729" indent="-90729">
              <a:spcBef>
                <a:spcPct val="0"/>
              </a:spcBef>
              <a:buNone/>
            </a:pPr>
            <a:r>
              <a:rPr lang="en-GB" sz="800" dirty="0">
                <a:solidFill>
                  <a:srgbClr val="000000"/>
                </a:solidFill>
              </a:rPr>
              <a:t>Source: Aura, Bain analysis</a:t>
            </a:r>
          </a:p>
        </p:txBody>
      </p:sp>
      <p:grpSp>
        <p:nvGrpSpPr>
          <p:cNvPr id="7" name="btfpRunningAgenda2Level456905"/>
          <p:cNvGrpSpPr/>
          <p:nvPr>
            <p:custDataLst>
              <p:tags r:id="rId4"/>
            </p:custDataLst>
          </p:nvPr>
        </p:nvGrpSpPr>
        <p:grpSpPr>
          <a:xfrm>
            <a:off x="0" y="944429"/>
            <a:ext cx="4544763" cy="257442"/>
            <a:chOff x="0" y="944429"/>
            <a:chExt cx="4544763" cy="257442"/>
          </a:xfrm>
        </p:grpSpPr>
        <p:sp>
          <p:nvSpPr>
            <p:cNvPr id="8" name="btfpRunningAgenda2LevelBarLeft456905"/>
            <p:cNvSpPr/>
            <p:nvPr/>
          </p:nvSpPr>
          <p:spPr bwMode="gray">
            <a:xfrm>
              <a:off x="0" y="944429"/>
              <a:ext cx="2630748" cy="257442"/>
            </a:xfrm>
            <a:custGeom>
              <a:avLst/>
              <a:gdLst>
                <a:gd name="connsiteX0" fmla="*/ 925153 w 2327780"/>
                <a:gd name="connsiteY0" fmla="*/ 0 h 257442"/>
                <a:gd name="connsiteX1" fmla="*/ 2327780 w 2327780"/>
                <a:gd name="connsiteY1" fmla="*/ 0 h 257442"/>
                <a:gd name="connsiteX2" fmla="*/ 2273059 w 2327780"/>
                <a:gd name="connsiteY2" fmla="*/ 257442 h 257442"/>
                <a:gd name="connsiteX3" fmla="*/ 0 w 2327780"/>
                <a:gd name="connsiteY3" fmla="*/ 257442 h 257442"/>
                <a:gd name="connsiteX0" fmla="*/ 925153 w 2273059"/>
                <a:gd name="connsiteY0" fmla="*/ 0 h 257442"/>
                <a:gd name="connsiteX1" fmla="*/ 870432 w 2273059"/>
                <a:gd name="connsiteY1" fmla="*/ 257442 h 257442"/>
                <a:gd name="connsiteX2" fmla="*/ 2273059 w 2273059"/>
                <a:gd name="connsiteY2" fmla="*/ 257442 h 257442"/>
                <a:gd name="connsiteX3" fmla="*/ 0 w 2273059"/>
                <a:gd name="connsiteY3" fmla="*/ 257442 h 257442"/>
                <a:gd name="connsiteX0" fmla="*/ 925153 w 925153"/>
                <a:gd name="connsiteY0" fmla="*/ 0 h 257442"/>
                <a:gd name="connsiteX1" fmla="*/ 870432 w 925153"/>
                <a:gd name="connsiteY1" fmla="*/ 257442 h 257442"/>
                <a:gd name="connsiteX2" fmla="*/ 1 w 925153"/>
                <a:gd name="connsiteY2" fmla="*/ 257442 h 257442"/>
                <a:gd name="connsiteX3" fmla="*/ 0 w 925153"/>
                <a:gd name="connsiteY3" fmla="*/ 257442 h 257442"/>
                <a:gd name="connsiteX0" fmla="*/ 925152 w 925152"/>
                <a:gd name="connsiteY0" fmla="*/ 0 h 257442"/>
                <a:gd name="connsiteX1" fmla="*/ 870431 w 925152"/>
                <a:gd name="connsiteY1" fmla="*/ 257442 h 257442"/>
                <a:gd name="connsiteX2" fmla="*/ 0 w 925152"/>
                <a:gd name="connsiteY2" fmla="*/ 257442 h 257442"/>
                <a:gd name="connsiteX3" fmla="*/ 0 w 925152"/>
                <a:gd name="connsiteY3" fmla="*/ 0 h 257442"/>
                <a:gd name="connsiteX0" fmla="*/ 1103085 w 1103085"/>
                <a:gd name="connsiteY0" fmla="*/ 0 h 257442"/>
                <a:gd name="connsiteX1" fmla="*/ 870431 w 1103085"/>
                <a:gd name="connsiteY1" fmla="*/ 257442 h 257442"/>
                <a:gd name="connsiteX2" fmla="*/ 0 w 1103085"/>
                <a:gd name="connsiteY2" fmla="*/ 257442 h 257442"/>
                <a:gd name="connsiteX3" fmla="*/ 0 w 1103085"/>
                <a:gd name="connsiteY3" fmla="*/ 0 h 257442"/>
                <a:gd name="connsiteX0" fmla="*/ 1103085 w 1103085"/>
                <a:gd name="connsiteY0" fmla="*/ 0 h 257442"/>
                <a:gd name="connsiteX1" fmla="*/ 1048364 w 1103085"/>
                <a:gd name="connsiteY1" fmla="*/ 257442 h 257442"/>
                <a:gd name="connsiteX2" fmla="*/ 0 w 1103085"/>
                <a:gd name="connsiteY2" fmla="*/ 257442 h 257442"/>
                <a:gd name="connsiteX3" fmla="*/ 0 w 1103085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0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0 w 1271402"/>
                <a:gd name="connsiteY3" fmla="*/ 0 h 257442"/>
                <a:gd name="connsiteX0" fmla="*/ 1372390 w 1372390"/>
                <a:gd name="connsiteY0" fmla="*/ 0 h 257442"/>
                <a:gd name="connsiteX1" fmla="*/ 1216681 w 1372390"/>
                <a:gd name="connsiteY1" fmla="*/ 257442 h 257442"/>
                <a:gd name="connsiteX2" fmla="*/ 0 w 1372390"/>
                <a:gd name="connsiteY2" fmla="*/ 257442 h 257442"/>
                <a:gd name="connsiteX3" fmla="*/ 0 w 1372390"/>
                <a:gd name="connsiteY3" fmla="*/ 0 h 257442"/>
                <a:gd name="connsiteX0" fmla="*/ 1372390 w 1372390"/>
                <a:gd name="connsiteY0" fmla="*/ 0 h 257442"/>
                <a:gd name="connsiteX1" fmla="*/ 1317669 w 1372390"/>
                <a:gd name="connsiteY1" fmla="*/ 257442 h 257442"/>
                <a:gd name="connsiteX2" fmla="*/ 0 w 1372390"/>
                <a:gd name="connsiteY2" fmla="*/ 257442 h 257442"/>
                <a:gd name="connsiteX3" fmla="*/ 0 w 1372390"/>
                <a:gd name="connsiteY3" fmla="*/ 0 h 257442"/>
                <a:gd name="connsiteX0" fmla="*/ 1372390 w 1372390"/>
                <a:gd name="connsiteY0" fmla="*/ 0 h 257442"/>
                <a:gd name="connsiteX1" fmla="*/ 1317669 w 1372390"/>
                <a:gd name="connsiteY1" fmla="*/ 257442 h 257442"/>
                <a:gd name="connsiteX2" fmla="*/ 0 w 1372390"/>
                <a:gd name="connsiteY2" fmla="*/ 257442 h 257442"/>
                <a:gd name="connsiteX3" fmla="*/ 0 w 1372390"/>
                <a:gd name="connsiteY3" fmla="*/ 0 h 257442"/>
                <a:gd name="connsiteX0" fmla="*/ 1372390 w 1372390"/>
                <a:gd name="connsiteY0" fmla="*/ 0 h 257442"/>
                <a:gd name="connsiteX1" fmla="*/ 1317669 w 1372390"/>
                <a:gd name="connsiteY1" fmla="*/ 257442 h 257442"/>
                <a:gd name="connsiteX2" fmla="*/ 0 w 1372390"/>
                <a:gd name="connsiteY2" fmla="*/ 257442 h 257442"/>
                <a:gd name="connsiteX3" fmla="*/ 0 w 1372390"/>
                <a:gd name="connsiteY3" fmla="*/ 0 h 257442"/>
                <a:gd name="connsiteX0" fmla="*/ 1532691 w 1532691"/>
                <a:gd name="connsiteY0" fmla="*/ 0 h 257442"/>
                <a:gd name="connsiteX1" fmla="*/ 1317669 w 1532691"/>
                <a:gd name="connsiteY1" fmla="*/ 257442 h 257442"/>
                <a:gd name="connsiteX2" fmla="*/ 0 w 1532691"/>
                <a:gd name="connsiteY2" fmla="*/ 257442 h 257442"/>
                <a:gd name="connsiteX3" fmla="*/ 0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0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0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0 w 1532691"/>
                <a:gd name="connsiteY3" fmla="*/ 0 h 257442"/>
                <a:gd name="connsiteX0" fmla="*/ 1710625 w 1710625"/>
                <a:gd name="connsiteY0" fmla="*/ 0 h 257442"/>
                <a:gd name="connsiteX1" fmla="*/ 1477970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870925 w 1870925"/>
                <a:gd name="connsiteY0" fmla="*/ 0 h 257442"/>
                <a:gd name="connsiteX1" fmla="*/ 16559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2023210 w 2023210"/>
                <a:gd name="connsiteY0" fmla="*/ 0 h 257442"/>
                <a:gd name="connsiteX1" fmla="*/ 1816204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0 w 2023210"/>
                <a:gd name="connsiteY0" fmla="*/ 0 h 257442"/>
                <a:gd name="connsiteX1" fmla="*/ 1968488 w 2023210"/>
                <a:gd name="connsiteY1" fmla="*/ 257442 h 257442"/>
                <a:gd name="connsiteX2" fmla="*/ 0 w 2023210"/>
                <a:gd name="connsiteY2" fmla="*/ 257442 h 257442"/>
                <a:gd name="connsiteX3" fmla="*/ 0 w 2023210"/>
                <a:gd name="connsiteY3" fmla="*/ 0 h 257442"/>
                <a:gd name="connsiteX0" fmla="*/ 2023211 w 2023211"/>
                <a:gd name="connsiteY0" fmla="*/ 0 h 257442"/>
                <a:gd name="connsiteX1" fmla="*/ 1968489 w 2023211"/>
                <a:gd name="connsiteY1" fmla="*/ 257442 h 257442"/>
                <a:gd name="connsiteX2" fmla="*/ 0 w 2023211"/>
                <a:gd name="connsiteY2" fmla="*/ 257442 h 257442"/>
                <a:gd name="connsiteX3" fmla="*/ 1 w 2023211"/>
                <a:gd name="connsiteY3" fmla="*/ 0 h 257442"/>
                <a:gd name="connsiteX0" fmla="*/ 2023211 w 2023211"/>
                <a:gd name="connsiteY0" fmla="*/ 0 h 257442"/>
                <a:gd name="connsiteX1" fmla="*/ 1968489 w 2023211"/>
                <a:gd name="connsiteY1" fmla="*/ 257442 h 257442"/>
                <a:gd name="connsiteX2" fmla="*/ 0 w 2023211"/>
                <a:gd name="connsiteY2" fmla="*/ 257442 h 257442"/>
                <a:gd name="connsiteX3" fmla="*/ 1 w 2023211"/>
                <a:gd name="connsiteY3" fmla="*/ 0 h 257442"/>
                <a:gd name="connsiteX0" fmla="*/ 2124200 w 2124200"/>
                <a:gd name="connsiteY0" fmla="*/ 0 h 257442"/>
                <a:gd name="connsiteX1" fmla="*/ 1968489 w 2124200"/>
                <a:gd name="connsiteY1" fmla="*/ 257442 h 257442"/>
                <a:gd name="connsiteX2" fmla="*/ 0 w 2124200"/>
                <a:gd name="connsiteY2" fmla="*/ 257442 h 257442"/>
                <a:gd name="connsiteX3" fmla="*/ 1 w 2124200"/>
                <a:gd name="connsiteY3" fmla="*/ 0 h 257442"/>
                <a:gd name="connsiteX0" fmla="*/ 2124200 w 2124200"/>
                <a:gd name="connsiteY0" fmla="*/ 0 h 257442"/>
                <a:gd name="connsiteX1" fmla="*/ 2069478 w 2124200"/>
                <a:gd name="connsiteY1" fmla="*/ 257442 h 257442"/>
                <a:gd name="connsiteX2" fmla="*/ 0 w 2124200"/>
                <a:gd name="connsiteY2" fmla="*/ 257442 h 257442"/>
                <a:gd name="connsiteX3" fmla="*/ 1 w 2124200"/>
                <a:gd name="connsiteY3" fmla="*/ 0 h 257442"/>
                <a:gd name="connsiteX0" fmla="*/ 2124200 w 2124200"/>
                <a:gd name="connsiteY0" fmla="*/ 0 h 257442"/>
                <a:gd name="connsiteX1" fmla="*/ 2069478 w 2124200"/>
                <a:gd name="connsiteY1" fmla="*/ 257442 h 257442"/>
                <a:gd name="connsiteX2" fmla="*/ 0 w 2124200"/>
                <a:gd name="connsiteY2" fmla="*/ 257442 h 257442"/>
                <a:gd name="connsiteX3" fmla="*/ 1 w 2124200"/>
                <a:gd name="connsiteY3" fmla="*/ 0 h 257442"/>
                <a:gd name="connsiteX0" fmla="*/ 2124200 w 2124200"/>
                <a:gd name="connsiteY0" fmla="*/ 0 h 257442"/>
                <a:gd name="connsiteX1" fmla="*/ 2069478 w 2124200"/>
                <a:gd name="connsiteY1" fmla="*/ 257442 h 257442"/>
                <a:gd name="connsiteX2" fmla="*/ 0 w 2124200"/>
                <a:gd name="connsiteY2" fmla="*/ 257442 h 257442"/>
                <a:gd name="connsiteX3" fmla="*/ 0 w 2124200"/>
                <a:gd name="connsiteY3" fmla="*/ 0 h 257442"/>
                <a:gd name="connsiteX0" fmla="*/ 2292514 w 2292514"/>
                <a:gd name="connsiteY0" fmla="*/ 0 h 257442"/>
                <a:gd name="connsiteX1" fmla="*/ 2069478 w 2292514"/>
                <a:gd name="connsiteY1" fmla="*/ 257442 h 257442"/>
                <a:gd name="connsiteX2" fmla="*/ 0 w 2292514"/>
                <a:gd name="connsiteY2" fmla="*/ 257442 h 257442"/>
                <a:gd name="connsiteX3" fmla="*/ 0 w 2292514"/>
                <a:gd name="connsiteY3" fmla="*/ 0 h 257442"/>
                <a:gd name="connsiteX0" fmla="*/ 2292514 w 2292514"/>
                <a:gd name="connsiteY0" fmla="*/ 0 h 257442"/>
                <a:gd name="connsiteX1" fmla="*/ 2237793 w 2292514"/>
                <a:gd name="connsiteY1" fmla="*/ 257442 h 257442"/>
                <a:gd name="connsiteX2" fmla="*/ 0 w 2292514"/>
                <a:gd name="connsiteY2" fmla="*/ 257442 h 257442"/>
                <a:gd name="connsiteX3" fmla="*/ 0 w 2292514"/>
                <a:gd name="connsiteY3" fmla="*/ 0 h 257442"/>
                <a:gd name="connsiteX0" fmla="*/ 2292514 w 2292514"/>
                <a:gd name="connsiteY0" fmla="*/ 0 h 257442"/>
                <a:gd name="connsiteX1" fmla="*/ 2237793 w 2292514"/>
                <a:gd name="connsiteY1" fmla="*/ 257442 h 257442"/>
                <a:gd name="connsiteX2" fmla="*/ 0 w 2292514"/>
                <a:gd name="connsiteY2" fmla="*/ 257442 h 257442"/>
                <a:gd name="connsiteX3" fmla="*/ 0 w 2292514"/>
                <a:gd name="connsiteY3" fmla="*/ 0 h 257442"/>
                <a:gd name="connsiteX0" fmla="*/ 2292514 w 2292514"/>
                <a:gd name="connsiteY0" fmla="*/ 0 h 257442"/>
                <a:gd name="connsiteX1" fmla="*/ 2237793 w 2292514"/>
                <a:gd name="connsiteY1" fmla="*/ 257442 h 257442"/>
                <a:gd name="connsiteX2" fmla="*/ 0 w 2292514"/>
                <a:gd name="connsiteY2" fmla="*/ 257442 h 257442"/>
                <a:gd name="connsiteX3" fmla="*/ 0 w 2292514"/>
                <a:gd name="connsiteY3" fmla="*/ 0 h 257442"/>
                <a:gd name="connsiteX0" fmla="*/ 2470448 w 2470448"/>
                <a:gd name="connsiteY0" fmla="*/ 0 h 257442"/>
                <a:gd name="connsiteX1" fmla="*/ 2237793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0 w 2470448"/>
                <a:gd name="connsiteY3" fmla="*/ 0 h 257442"/>
                <a:gd name="connsiteX0" fmla="*/ 2630748 w 2630748"/>
                <a:gd name="connsiteY0" fmla="*/ 0 h 257442"/>
                <a:gd name="connsiteX1" fmla="*/ 2415727 w 2630748"/>
                <a:gd name="connsiteY1" fmla="*/ 257442 h 257442"/>
                <a:gd name="connsiteX2" fmla="*/ 0 w 2630748"/>
                <a:gd name="connsiteY2" fmla="*/ 257442 h 257442"/>
                <a:gd name="connsiteX3" fmla="*/ 0 w 2630748"/>
                <a:gd name="connsiteY3" fmla="*/ 0 h 257442"/>
                <a:gd name="connsiteX0" fmla="*/ 2630748 w 2630748"/>
                <a:gd name="connsiteY0" fmla="*/ 0 h 257442"/>
                <a:gd name="connsiteX1" fmla="*/ 2576027 w 2630748"/>
                <a:gd name="connsiteY1" fmla="*/ 257442 h 257442"/>
                <a:gd name="connsiteX2" fmla="*/ 0 w 2630748"/>
                <a:gd name="connsiteY2" fmla="*/ 257442 h 257442"/>
                <a:gd name="connsiteX3" fmla="*/ 0 w 2630748"/>
                <a:gd name="connsiteY3" fmla="*/ 0 h 257442"/>
                <a:gd name="connsiteX0" fmla="*/ 2630748 w 2630748"/>
                <a:gd name="connsiteY0" fmla="*/ 0 h 257442"/>
                <a:gd name="connsiteX1" fmla="*/ 2576027 w 2630748"/>
                <a:gd name="connsiteY1" fmla="*/ 257442 h 257442"/>
                <a:gd name="connsiteX2" fmla="*/ 0 w 2630748"/>
                <a:gd name="connsiteY2" fmla="*/ 257442 h 257442"/>
                <a:gd name="connsiteX3" fmla="*/ 0 w 2630748"/>
                <a:gd name="connsiteY3" fmla="*/ 0 h 257442"/>
                <a:gd name="connsiteX0" fmla="*/ 2630748 w 2630748"/>
                <a:gd name="connsiteY0" fmla="*/ 0 h 257442"/>
                <a:gd name="connsiteX1" fmla="*/ 2576027 w 2630748"/>
                <a:gd name="connsiteY1" fmla="*/ 257442 h 257442"/>
                <a:gd name="connsiteX2" fmla="*/ 0 w 2630748"/>
                <a:gd name="connsiteY2" fmla="*/ 257442 h 257442"/>
                <a:gd name="connsiteX3" fmla="*/ 0 w 2630748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30748" h="257442">
                  <a:moveTo>
                    <a:pt x="2630748" y="0"/>
                  </a:moveTo>
                  <a:lnTo>
                    <a:pt x="2576027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9" name="btfpRunningAgenda2LevelTextLeft456905"/>
            <p:cNvSpPr txBox="1"/>
            <p:nvPr/>
          </p:nvSpPr>
          <p:spPr bwMode="gray">
            <a:xfrm>
              <a:off x="0" y="944429"/>
              <a:ext cx="257602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Job postings</a:t>
              </a:r>
            </a:p>
          </p:txBody>
        </p:sp>
        <p:sp>
          <p:nvSpPr>
            <p:cNvPr id="10" name="btfpRunningAgenda2LevelBarRight456905"/>
            <p:cNvSpPr/>
            <p:nvPr/>
          </p:nvSpPr>
          <p:spPr bwMode="gray">
            <a:xfrm>
              <a:off x="2495906" y="944429"/>
              <a:ext cx="2048857" cy="257442"/>
            </a:xfrm>
            <a:custGeom>
              <a:avLst/>
              <a:gdLst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54722 w 2122597"/>
                <a:gd name="connsiteY3" fmla="*/ 0 h 257442"/>
                <a:gd name="connsiteX0" fmla="*/ 960420 w 2067875"/>
                <a:gd name="connsiteY0" fmla="*/ 0 h 257442"/>
                <a:gd name="connsiteX1" fmla="*/ 2067875 w 2067875"/>
                <a:gd name="connsiteY1" fmla="*/ 257442 h 257442"/>
                <a:gd name="connsiteX2" fmla="*/ 0 w 2067875"/>
                <a:gd name="connsiteY2" fmla="*/ 257442 h 257442"/>
                <a:gd name="connsiteX3" fmla="*/ 54722 w 2067875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0 w 960420"/>
                <a:gd name="connsiteY2" fmla="*/ 257442 h 257442"/>
                <a:gd name="connsiteX3" fmla="*/ 54722 w 960420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782550 w 905698"/>
                <a:gd name="connsiteY0" fmla="*/ 0 h 257442"/>
                <a:gd name="connsiteX1" fmla="*/ 905698 w 905698"/>
                <a:gd name="connsiteY1" fmla="*/ 257442 h 257442"/>
                <a:gd name="connsiteX2" fmla="*/ 0 w 905698"/>
                <a:gd name="connsiteY2" fmla="*/ 257442 h 257442"/>
                <a:gd name="connsiteX3" fmla="*/ 54721 w 905698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1103086 w 1103086"/>
                <a:gd name="connsiteY0" fmla="*/ 0 h 257442"/>
                <a:gd name="connsiteX1" fmla="*/ 727829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532691 w 1532691"/>
                <a:gd name="connsiteY0" fmla="*/ 0 h 257442"/>
                <a:gd name="connsiteX1" fmla="*/ 1216681 w 1532691"/>
                <a:gd name="connsiteY1" fmla="*/ 257442 h 257442"/>
                <a:gd name="connsiteX2" fmla="*/ 0 w 1532691"/>
                <a:gd name="connsiteY2" fmla="*/ 257442 h 257442"/>
                <a:gd name="connsiteX3" fmla="*/ 54721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54721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54721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54721 w 1532691"/>
                <a:gd name="connsiteY3" fmla="*/ 0 h 257442"/>
                <a:gd name="connsiteX0" fmla="*/ 1710625 w 1710625"/>
                <a:gd name="connsiteY0" fmla="*/ 0 h 257442"/>
                <a:gd name="connsiteX1" fmla="*/ 1477970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870925 w 1870925"/>
                <a:gd name="connsiteY0" fmla="*/ 0 h 257442"/>
                <a:gd name="connsiteX1" fmla="*/ 16559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2124199 w 2124199"/>
                <a:gd name="connsiteY0" fmla="*/ 0 h 257442"/>
                <a:gd name="connsiteX1" fmla="*/ 1816204 w 2124199"/>
                <a:gd name="connsiteY1" fmla="*/ 257442 h 257442"/>
                <a:gd name="connsiteX2" fmla="*/ 0 w 2124199"/>
                <a:gd name="connsiteY2" fmla="*/ 257442 h 257442"/>
                <a:gd name="connsiteX3" fmla="*/ 54721 w 2124199"/>
                <a:gd name="connsiteY3" fmla="*/ 0 h 257442"/>
                <a:gd name="connsiteX0" fmla="*/ 2124199 w 2124199"/>
                <a:gd name="connsiteY0" fmla="*/ 0 h 257442"/>
                <a:gd name="connsiteX1" fmla="*/ 2069478 w 2124199"/>
                <a:gd name="connsiteY1" fmla="*/ 257442 h 257442"/>
                <a:gd name="connsiteX2" fmla="*/ 0 w 2124199"/>
                <a:gd name="connsiteY2" fmla="*/ 257442 h 257442"/>
                <a:gd name="connsiteX3" fmla="*/ 54721 w 2124199"/>
                <a:gd name="connsiteY3" fmla="*/ 0 h 257442"/>
                <a:gd name="connsiteX0" fmla="*/ 2124199 w 2124199"/>
                <a:gd name="connsiteY0" fmla="*/ 0 h 257442"/>
                <a:gd name="connsiteX1" fmla="*/ 2069478 w 2124199"/>
                <a:gd name="connsiteY1" fmla="*/ 257442 h 257442"/>
                <a:gd name="connsiteX2" fmla="*/ 0 w 2124199"/>
                <a:gd name="connsiteY2" fmla="*/ 257442 h 257442"/>
                <a:gd name="connsiteX3" fmla="*/ 54721 w 2124199"/>
                <a:gd name="connsiteY3" fmla="*/ 0 h 257442"/>
                <a:gd name="connsiteX0" fmla="*/ 2124199 w 2124199"/>
                <a:gd name="connsiteY0" fmla="*/ 0 h 257442"/>
                <a:gd name="connsiteX1" fmla="*/ 2069478 w 2124199"/>
                <a:gd name="connsiteY1" fmla="*/ 257442 h 257442"/>
                <a:gd name="connsiteX2" fmla="*/ 0 w 2124199"/>
                <a:gd name="connsiteY2" fmla="*/ 257442 h 257442"/>
                <a:gd name="connsiteX3" fmla="*/ 54721 w 2124199"/>
                <a:gd name="connsiteY3" fmla="*/ 0 h 257442"/>
                <a:gd name="connsiteX0" fmla="*/ 2292514 w 2292514"/>
                <a:gd name="connsiteY0" fmla="*/ 0 h 257442"/>
                <a:gd name="connsiteX1" fmla="*/ 2069478 w 2292514"/>
                <a:gd name="connsiteY1" fmla="*/ 257442 h 257442"/>
                <a:gd name="connsiteX2" fmla="*/ 0 w 2292514"/>
                <a:gd name="connsiteY2" fmla="*/ 257442 h 257442"/>
                <a:gd name="connsiteX3" fmla="*/ 54721 w 2292514"/>
                <a:gd name="connsiteY3" fmla="*/ 0 h 257442"/>
                <a:gd name="connsiteX0" fmla="*/ 2292514 w 2292514"/>
                <a:gd name="connsiteY0" fmla="*/ 0 h 257442"/>
                <a:gd name="connsiteX1" fmla="*/ 2237792 w 2292514"/>
                <a:gd name="connsiteY1" fmla="*/ 257442 h 257442"/>
                <a:gd name="connsiteX2" fmla="*/ 0 w 2292514"/>
                <a:gd name="connsiteY2" fmla="*/ 257442 h 257442"/>
                <a:gd name="connsiteX3" fmla="*/ 54721 w 2292514"/>
                <a:gd name="connsiteY3" fmla="*/ 0 h 257442"/>
                <a:gd name="connsiteX0" fmla="*/ 2292515 w 2292515"/>
                <a:gd name="connsiteY0" fmla="*/ 0 h 257442"/>
                <a:gd name="connsiteX1" fmla="*/ 2237793 w 2292515"/>
                <a:gd name="connsiteY1" fmla="*/ 257442 h 257442"/>
                <a:gd name="connsiteX2" fmla="*/ 0 w 2292515"/>
                <a:gd name="connsiteY2" fmla="*/ 257442 h 257442"/>
                <a:gd name="connsiteX3" fmla="*/ 54722 w 2292515"/>
                <a:gd name="connsiteY3" fmla="*/ 0 h 257442"/>
                <a:gd name="connsiteX0" fmla="*/ 2292515 w 2292515"/>
                <a:gd name="connsiteY0" fmla="*/ 0 h 257442"/>
                <a:gd name="connsiteX1" fmla="*/ 2237793 w 2292515"/>
                <a:gd name="connsiteY1" fmla="*/ 257442 h 257442"/>
                <a:gd name="connsiteX2" fmla="*/ 0 w 2292515"/>
                <a:gd name="connsiteY2" fmla="*/ 257442 h 257442"/>
                <a:gd name="connsiteX3" fmla="*/ 54722 w 2292515"/>
                <a:gd name="connsiteY3" fmla="*/ 0 h 257442"/>
                <a:gd name="connsiteX0" fmla="*/ 2470449 w 2470449"/>
                <a:gd name="connsiteY0" fmla="*/ 0 h 257442"/>
                <a:gd name="connsiteX1" fmla="*/ 2237793 w 2470449"/>
                <a:gd name="connsiteY1" fmla="*/ 257442 h 257442"/>
                <a:gd name="connsiteX2" fmla="*/ 0 w 2470449"/>
                <a:gd name="connsiteY2" fmla="*/ 257442 h 257442"/>
                <a:gd name="connsiteX3" fmla="*/ 54722 w 2470449"/>
                <a:gd name="connsiteY3" fmla="*/ 0 h 257442"/>
                <a:gd name="connsiteX0" fmla="*/ 2470449 w 2470449"/>
                <a:gd name="connsiteY0" fmla="*/ 0 h 257442"/>
                <a:gd name="connsiteX1" fmla="*/ 2415728 w 2470449"/>
                <a:gd name="connsiteY1" fmla="*/ 257442 h 257442"/>
                <a:gd name="connsiteX2" fmla="*/ 0 w 2470449"/>
                <a:gd name="connsiteY2" fmla="*/ 257442 h 257442"/>
                <a:gd name="connsiteX3" fmla="*/ 54722 w 2470449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54721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54720 w 2470448"/>
                <a:gd name="connsiteY3" fmla="*/ 0 h 257442"/>
                <a:gd name="connsiteX0" fmla="*/ 2749369 w 2749369"/>
                <a:gd name="connsiteY0" fmla="*/ 0 h 257442"/>
                <a:gd name="connsiteX1" fmla="*/ 2415727 w 2749369"/>
                <a:gd name="connsiteY1" fmla="*/ 257442 h 257442"/>
                <a:gd name="connsiteX2" fmla="*/ 0 w 2749369"/>
                <a:gd name="connsiteY2" fmla="*/ 257442 h 257442"/>
                <a:gd name="connsiteX3" fmla="*/ 54720 w 2749369"/>
                <a:gd name="connsiteY3" fmla="*/ 0 h 257442"/>
                <a:gd name="connsiteX0" fmla="*/ 2749369 w 2749369"/>
                <a:gd name="connsiteY0" fmla="*/ 0 h 257442"/>
                <a:gd name="connsiteX1" fmla="*/ 2694648 w 2749369"/>
                <a:gd name="connsiteY1" fmla="*/ 257442 h 257442"/>
                <a:gd name="connsiteX2" fmla="*/ 0 w 2749369"/>
                <a:gd name="connsiteY2" fmla="*/ 257442 h 257442"/>
                <a:gd name="connsiteX3" fmla="*/ 54720 w 2749369"/>
                <a:gd name="connsiteY3" fmla="*/ 0 h 257442"/>
                <a:gd name="connsiteX0" fmla="*/ 2749370 w 2749370"/>
                <a:gd name="connsiteY0" fmla="*/ 0 h 257442"/>
                <a:gd name="connsiteX1" fmla="*/ 2694649 w 2749370"/>
                <a:gd name="connsiteY1" fmla="*/ 257442 h 257442"/>
                <a:gd name="connsiteX2" fmla="*/ 0 w 2749370"/>
                <a:gd name="connsiteY2" fmla="*/ 257442 h 257442"/>
                <a:gd name="connsiteX3" fmla="*/ 54721 w 2749370"/>
                <a:gd name="connsiteY3" fmla="*/ 0 h 257442"/>
                <a:gd name="connsiteX0" fmla="*/ 2749370 w 2749370"/>
                <a:gd name="connsiteY0" fmla="*/ 0 h 257442"/>
                <a:gd name="connsiteX1" fmla="*/ 2694649 w 2749370"/>
                <a:gd name="connsiteY1" fmla="*/ 257442 h 257442"/>
                <a:gd name="connsiteX2" fmla="*/ 0 w 2749370"/>
                <a:gd name="connsiteY2" fmla="*/ 257442 h 257442"/>
                <a:gd name="connsiteX3" fmla="*/ 54721 w 2749370"/>
                <a:gd name="connsiteY3" fmla="*/ 0 h 257442"/>
                <a:gd name="connsiteX0" fmla="*/ 2909671 w 2909671"/>
                <a:gd name="connsiteY0" fmla="*/ 0 h 257442"/>
                <a:gd name="connsiteX1" fmla="*/ 2694649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3069971 w 3069971"/>
                <a:gd name="connsiteY0" fmla="*/ 0 h 257442"/>
                <a:gd name="connsiteX1" fmla="*/ 28549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238286 w 3238286"/>
                <a:gd name="connsiteY0" fmla="*/ 0 h 257442"/>
                <a:gd name="connsiteX1" fmla="*/ 3015250 w 3238286"/>
                <a:gd name="connsiteY1" fmla="*/ 257442 h 257442"/>
                <a:gd name="connsiteX2" fmla="*/ 0 w 3238286"/>
                <a:gd name="connsiteY2" fmla="*/ 257442 h 257442"/>
                <a:gd name="connsiteX3" fmla="*/ 54721 w 3238286"/>
                <a:gd name="connsiteY3" fmla="*/ 0 h 257442"/>
                <a:gd name="connsiteX0" fmla="*/ 3238286 w 3238286"/>
                <a:gd name="connsiteY0" fmla="*/ 0 h 257442"/>
                <a:gd name="connsiteX1" fmla="*/ 3183564 w 3238286"/>
                <a:gd name="connsiteY1" fmla="*/ 257442 h 257442"/>
                <a:gd name="connsiteX2" fmla="*/ 0 w 3238286"/>
                <a:gd name="connsiteY2" fmla="*/ 257442 h 257442"/>
                <a:gd name="connsiteX3" fmla="*/ 54721 w 3238286"/>
                <a:gd name="connsiteY3" fmla="*/ 0 h 257442"/>
                <a:gd name="connsiteX0" fmla="*/ 3238287 w 3238287"/>
                <a:gd name="connsiteY0" fmla="*/ 0 h 257442"/>
                <a:gd name="connsiteX1" fmla="*/ 3183565 w 3238287"/>
                <a:gd name="connsiteY1" fmla="*/ 257442 h 257442"/>
                <a:gd name="connsiteX2" fmla="*/ 0 w 3238287"/>
                <a:gd name="connsiteY2" fmla="*/ 257442 h 257442"/>
                <a:gd name="connsiteX3" fmla="*/ 54722 w 3238287"/>
                <a:gd name="connsiteY3" fmla="*/ 0 h 257442"/>
                <a:gd name="connsiteX0" fmla="*/ 3238287 w 3238287"/>
                <a:gd name="connsiteY0" fmla="*/ 0 h 257442"/>
                <a:gd name="connsiteX1" fmla="*/ 3183565 w 3238287"/>
                <a:gd name="connsiteY1" fmla="*/ 257442 h 257442"/>
                <a:gd name="connsiteX2" fmla="*/ 0 w 3238287"/>
                <a:gd name="connsiteY2" fmla="*/ 257442 h 257442"/>
                <a:gd name="connsiteX3" fmla="*/ 54722 w 3238287"/>
                <a:gd name="connsiteY3" fmla="*/ 0 h 257442"/>
                <a:gd name="connsiteX0" fmla="*/ 3491561 w 3491561"/>
                <a:gd name="connsiteY0" fmla="*/ 0 h 257442"/>
                <a:gd name="connsiteX1" fmla="*/ 3183565 w 3491561"/>
                <a:gd name="connsiteY1" fmla="*/ 257442 h 257442"/>
                <a:gd name="connsiteX2" fmla="*/ 0 w 3491561"/>
                <a:gd name="connsiteY2" fmla="*/ 257442 h 257442"/>
                <a:gd name="connsiteX3" fmla="*/ 54722 w 3491561"/>
                <a:gd name="connsiteY3" fmla="*/ 0 h 257442"/>
                <a:gd name="connsiteX0" fmla="*/ 3491561 w 3491561"/>
                <a:gd name="connsiteY0" fmla="*/ 0 h 257442"/>
                <a:gd name="connsiteX1" fmla="*/ 3436840 w 3491561"/>
                <a:gd name="connsiteY1" fmla="*/ 257442 h 257442"/>
                <a:gd name="connsiteX2" fmla="*/ 0 w 3491561"/>
                <a:gd name="connsiteY2" fmla="*/ 257442 h 257442"/>
                <a:gd name="connsiteX3" fmla="*/ 54722 w 3491561"/>
                <a:gd name="connsiteY3" fmla="*/ 0 h 257442"/>
                <a:gd name="connsiteX0" fmla="*/ 3491560 w 3491560"/>
                <a:gd name="connsiteY0" fmla="*/ 0 h 257442"/>
                <a:gd name="connsiteX1" fmla="*/ 3436839 w 3491560"/>
                <a:gd name="connsiteY1" fmla="*/ 257442 h 257442"/>
                <a:gd name="connsiteX2" fmla="*/ 0 w 3491560"/>
                <a:gd name="connsiteY2" fmla="*/ 257442 h 257442"/>
                <a:gd name="connsiteX3" fmla="*/ 54721 w 3491560"/>
                <a:gd name="connsiteY3" fmla="*/ 0 h 257442"/>
                <a:gd name="connsiteX0" fmla="*/ 3491560 w 3491560"/>
                <a:gd name="connsiteY0" fmla="*/ 0 h 257442"/>
                <a:gd name="connsiteX1" fmla="*/ 3436839 w 3491560"/>
                <a:gd name="connsiteY1" fmla="*/ 257442 h 257442"/>
                <a:gd name="connsiteX2" fmla="*/ 0 w 3491560"/>
                <a:gd name="connsiteY2" fmla="*/ 257442 h 257442"/>
                <a:gd name="connsiteX3" fmla="*/ 54720 w 3491560"/>
                <a:gd name="connsiteY3" fmla="*/ 0 h 257442"/>
                <a:gd name="connsiteX0" fmla="*/ 3677508 w 3677508"/>
                <a:gd name="connsiteY0" fmla="*/ 0 h 257442"/>
                <a:gd name="connsiteX1" fmla="*/ 3436839 w 3677508"/>
                <a:gd name="connsiteY1" fmla="*/ 257442 h 257442"/>
                <a:gd name="connsiteX2" fmla="*/ 0 w 3677508"/>
                <a:gd name="connsiteY2" fmla="*/ 257442 h 257442"/>
                <a:gd name="connsiteX3" fmla="*/ 54720 w 3677508"/>
                <a:gd name="connsiteY3" fmla="*/ 0 h 257442"/>
                <a:gd name="connsiteX0" fmla="*/ 3677508 w 3677508"/>
                <a:gd name="connsiteY0" fmla="*/ 0 h 257442"/>
                <a:gd name="connsiteX1" fmla="*/ 3622787 w 3677508"/>
                <a:gd name="connsiteY1" fmla="*/ 257442 h 257442"/>
                <a:gd name="connsiteX2" fmla="*/ 0 w 3677508"/>
                <a:gd name="connsiteY2" fmla="*/ 257442 h 257442"/>
                <a:gd name="connsiteX3" fmla="*/ 54720 w 3677508"/>
                <a:gd name="connsiteY3" fmla="*/ 0 h 257442"/>
                <a:gd name="connsiteX0" fmla="*/ 3677509 w 3677509"/>
                <a:gd name="connsiteY0" fmla="*/ 0 h 257442"/>
                <a:gd name="connsiteX1" fmla="*/ 3622788 w 3677509"/>
                <a:gd name="connsiteY1" fmla="*/ 257442 h 257442"/>
                <a:gd name="connsiteX2" fmla="*/ 0 w 3677509"/>
                <a:gd name="connsiteY2" fmla="*/ 257442 h 257442"/>
                <a:gd name="connsiteX3" fmla="*/ 54721 w 3677509"/>
                <a:gd name="connsiteY3" fmla="*/ 0 h 257442"/>
                <a:gd name="connsiteX0" fmla="*/ 3677509 w 3677509"/>
                <a:gd name="connsiteY0" fmla="*/ 0 h 257442"/>
                <a:gd name="connsiteX1" fmla="*/ 3622788 w 3677509"/>
                <a:gd name="connsiteY1" fmla="*/ 257442 h 257442"/>
                <a:gd name="connsiteX2" fmla="*/ 0 w 3677509"/>
                <a:gd name="connsiteY2" fmla="*/ 257442 h 257442"/>
                <a:gd name="connsiteX3" fmla="*/ 54722 w 3677509"/>
                <a:gd name="connsiteY3" fmla="*/ 0 h 257442"/>
                <a:gd name="connsiteX0" fmla="*/ 3837810 w 3837810"/>
                <a:gd name="connsiteY0" fmla="*/ 0 h 257442"/>
                <a:gd name="connsiteX1" fmla="*/ 3622788 w 3837810"/>
                <a:gd name="connsiteY1" fmla="*/ 257442 h 257442"/>
                <a:gd name="connsiteX2" fmla="*/ 0 w 3837810"/>
                <a:gd name="connsiteY2" fmla="*/ 257442 h 257442"/>
                <a:gd name="connsiteX3" fmla="*/ 54722 w 3837810"/>
                <a:gd name="connsiteY3" fmla="*/ 0 h 257442"/>
                <a:gd name="connsiteX0" fmla="*/ 3837810 w 3837810"/>
                <a:gd name="connsiteY0" fmla="*/ 0 h 257442"/>
                <a:gd name="connsiteX1" fmla="*/ 3783088 w 3837810"/>
                <a:gd name="connsiteY1" fmla="*/ 257442 h 257442"/>
                <a:gd name="connsiteX2" fmla="*/ 0 w 3837810"/>
                <a:gd name="connsiteY2" fmla="*/ 257442 h 257442"/>
                <a:gd name="connsiteX3" fmla="*/ 54722 w 3837810"/>
                <a:gd name="connsiteY3" fmla="*/ 0 h 257442"/>
                <a:gd name="connsiteX0" fmla="*/ 3837810 w 3837810"/>
                <a:gd name="connsiteY0" fmla="*/ 0 h 257442"/>
                <a:gd name="connsiteX1" fmla="*/ 3783088 w 3837810"/>
                <a:gd name="connsiteY1" fmla="*/ 257442 h 257442"/>
                <a:gd name="connsiteX2" fmla="*/ 0 w 3837810"/>
                <a:gd name="connsiteY2" fmla="*/ 257442 h 257442"/>
                <a:gd name="connsiteX3" fmla="*/ 54722 w 3837810"/>
                <a:gd name="connsiteY3" fmla="*/ 0 h 257442"/>
                <a:gd name="connsiteX0" fmla="*/ 3837810 w 3837810"/>
                <a:gd name="connsiteY0" fmla="*/ 0 h 257442"/>
                <a:gd name="connsiteX1" fmla="*/ 3783088 w 3837810"/>
                <a:gd name="connsiteY1" fmla="*/ 257442 h 257442"/>
                <a:gd name="connsiteX2" fmla="*/ 0 w 3837810"/>
                <a:gd name="connsiteY2" fmla="*/ 257442 h 257442"/>
                <a:gd name="connsiteX3" fmla="*/ 54721 w 3837810"/>
                <a:gd name="connsiteY3" fmla="*/ 0 h 257442"/>
                <a:gd name="connsiteX0" fmla="*/ 4107113 w 4107113"/>
                <a:gd name="connsiteY0" fmla="*/ 0 h 257442"/>
                <a:gd name="connsiteX1" fmla="*/ 3783088 w 4107113"/>
                <a:gd name="connsiteY1" fmla="*/ 257442 h 257442"/>
                <a:gd name="connsiteX2" fmla="*/ 0 w 4107113"/>
                <a:gd name="connsiteY2" fmla="*/ 257442 h 257442"/>
                <a:gd name="connsiteX3" fmla="*/ 54721 w 4107113"/>
                <a:gd name="connsiteY3" fmla="*/ 0 h 257442"/>
                <a:gd name="connsiteX0" fmla="*/ 4107113 w 4107113"/>
                <a:gd name="connsiteY0" fmla="*/ 0 h 257442"/>
                <a:gd name="connsiteX1" fmla="*/ 4052392 w 4107113"/>
                <a:gd name="connsiteY1" fmla="*/ 257442 h 257442"/>
                <a:gd name="connsiteX2" fmla="*/ 0 w 4107113"/>
                <a:gd name="connsiteY2" fmla="*/ 257442 h 257442"/>
                <a:gd name="connsiteX3" fmla="*/ 54721 w 4107113"/>
                <a:gd name="connsiteY3" fmla="*/ 0 h 257442"/>
                <a:gd name="connsiteX0" fmla="*/ 4107113 w 4107113"/>
                <a:gd name="connsiteY0" fmla="*/ 0 h 257442"/>
                <a:gd name="connsiteX1" fmla="*/ 4052392 w 4107113"/>
                <a:gd name="connsiteY1" fmla="*/ 257442 h 257442"/>
                <a:gd name="connsiteX2" fmla="*/ 0 w 4107113"/>
                <a:gd name="connsiteY2" fmla="*/ 257442 h 257442"/>
                <a:gd name="connsiteX3" fmla="*/ 54721 w 4107113"/>
                <a:gd name="connsiteY3" fmla="*/ 0 h 257442"/>
                <a:gd name="connsiteX0" fmla="*/ 4107113 w 4107113"/>
                <a:gd name="connsiteY0" fmla="*/ 0 h 257442"/>
                <a:gd name="connsiteX1" fmla="*/ 4052392 w 4107113"/>
                <a:gd name="connsiteY1" fmla="*/ 257442 h 257442"/>
                <a:gd name="connsiteX2" fmla="*/ 0 w 4107113"/>
                <a:gd name="connsiteY2" fmla="*/ 257442 h 257442"/>
                <a:gd name="connsiteX3" fmla="*/ 54721 w 4107113"/>
                <a:gd name="connsiteY3" fmla="*/ 0 h 257442"/>
                <a:gd name="connsiteX0" fmla="*/ 2157862 w 4052392"/>
                <a:gd name="connsiteY0" fmla="*/ 0 h 257442"/>
                <a:gd name="connsiteX1" fmla="*/ 4052392 w 4052392"/>
                <a:gd name="connsiteY1" fmla="*/ 257442 h 257442"/>
                <a:gd name="connsiteX2" fmla="*/ 0 w 4052392"/>
                <a:gd name="connsiteY2" fmla="*/ 257442 h 257442"/>
                <a:gd name="connsiteX3" fmla="*/ 54721 w 4052392"/>
                <a:gd name="connsiteY3" fmla="*/ 0 h 257442"/>
                <a:gd name="connsiteX0" fmla="*/ 2157862 w 2157862"/>
                <a:gd name="connsiteY0" fmla="*/ 0 h 257442"/>
                <a:gd name="connsiteX1" fmla="*/ 2103141 w 2157862"/>
                <a:gd name="connsiteY1" fmla="*/ 257442 h 257442"/>
                <a:gd name="connsiteX2" fmla="*/ 0 w 2157862"/>
                <a:gd name="connsiteY2" fmla="*/ 257442 h 257442"/>
                <a:gd name="connsiteX3" fmla="*/ 54721 w 2157862"/>
                <a:gd name="connsiteY3" fmla="*/ 0 h 257442"/>
                <a:gd name="connsiteX0" fmla="*/ 2157862 w 2157862"/>
                <a:gd name="connsiteY0" fmla="*/ 0 h 257442"/>
                <a:gd name="connsiteX1" fmla="*/ 2103141 w 2157862"/>
                <a:gd name="connsiteY1" fmla="*/ 257442 h 257442"/>
                <a:gd name="connsiteX2" fmla="*/ 0 w 2157862"/>
                <a:gd name="connsiteY2" fmla="*/ 257442 h 257442"/>
                <a:gd name="connsiteX3" fmla="*/ 54721 w 2157862"/>
                <a:gd name="connsiteY3" fmla="*/ 0 h 257442"/>
                <a:gd name="connsiteX0" fmla="*/ 2157862 w 2157862"/>
                <a:gd name="connsiteY0" fmla="*/ 0 h 257442"/>
                <a:gd name="connsiteX1" fmla="*/ 2103141 w 2157862"/>
                <a:gd name="connsiteY1" fmla="*/ 257442 h 257442"/>
                <a:gd name="connsiteX2" fmla="*/ 0 w 2157862"/>
                <a:gd name="connsiteY2" fmla="*/ 257442 h 257442"/>
                <a:gd name="connsiteX3" fmla="*/ 54721 w 2157862"/>
                <a:gd name="connsiteY3" fmla="*/ 0 h 257442"/>
                <a:gd name="connsiteX0" fmla="*/ 2048858 w 2103141"/>
                <a:gd name="connsiteY0" fmla="*/ 0 h 257442"/>
                <a:gd name="connsiteX1" fmla="*/ 2103141 w 2103141"/>
                <a:gd name="connsiteY1" fmla="*/ 257442 h 257442"/>
                <a:gd name="connsiteX2" fmla="*/ 0 w 2103141"/>
                <a:gd name="connsiteY2" fmla="*/ 257442 h 257442"/>
                <a:gd name="connsiteX3" fmla="*/ 54721 w 2103141"/>
                <a:gd name="connsiteY3" fmla="*/ 0 h 257442"/>
                <a:gd name="connsiteX0" fmla="*/ 2048858 w 2048858"/>
                <a:gd name="connsiteY0" fmla="*/ 0 h 257442"/>
                <a:gd name="connsiteX1" fmla="*/ 1994138 w 2048858"/>
                <a:gd name="connsiteY1" fmla="*/ 257442 h 257442"/>
                <a:gd name="connsiteX2" fmla="*/ 0 w 2048858"/>
                <a:gd name="connsiteY2" fmla="*/ 257442 h 257442"/>
                <a:gd name="connsiteX3" fmla="*/ 54721 w 2048858"/>
                <a:gd name="connsiteY3" fmla="*/ 0 h 257442"/>
                <a:gd name="connsiteX0" fmla="*/ 2048857 w 2048857"/>
                <a:gd name="connsiteY0" fmla="*/ 0 h 257442"/>
                <a:gd name="connsiteX1" fmla="*/ 1994137 w 2048857"/>
                <a:gd name="connsiteY1" fmla="*/ 257442 h 257442"/>
                <a:gd name="connsiteX2" fmla="*/ 0 w 2048857"/>
                <a:gd name="connsiteY2" fmla="*/ 257442 h 257442"/>
                <a:gd name="connsiteX3" fmla="*/ 54720 w 2048857"/>
                <a:gd name="connsiteY3" fmla="*/ 0 h 257442"/>
                <a:gd name="connsiteX0" fmla="*/ 2048857 w 2048857"/>
                <a:gd name="connsiteY0" fmla="*/ 0 h 257442"/>
                <a:gd name="connsiteX1" fmla="*/ 1994137 w 2048857"/>
                <a:gd name="connsiteY1" fmla="*/ 257442 h 257442"/>
                <a:gd name="connsiteX2" fmla="*/ 0 w 2048857"/>
                <a:gd name="connsiteY2" fmla="*/ 257442 h 257442"/>
                <a:gd name="connsiteX3" fmla="*/ 54721 w 204885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48857" h="257442">
                  <a:moveTo>
                    <a:pt x="2048857" y="0"/>
                  </a:moveTo>
                  <a:lnTo>
                    <a:pt x="1994137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1" name="btfpRunningAgenda2LevelTextRight456905"/>
            <p:cNvSpPr txBox="1"/>
            <p:nvPr/>
          </p:nvSpPr>
          <p:spPr bwMode="gray">
            <a:xfrm>
              <a:off x="2495906" y="944429"/>
              <a:ext cx="199413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overtime</a:t>
              </a:r>
            </a:p>
          </p:txBody>
        </p:sp>
      </p:grpSp>
      <p:grpSp>
        <p:nvGrpSpPr>
          <p:cNvPr id="36" name="btfpStatusSticker618732">
            <a:extLst>
              <a:ext uri="{FF2B5EF4-FFF2-40B4-BE49-F238E27FC236}">
                <a16:creationId xmlns:a16="http://schemas.microsoft.com/office/drawing/2014/main" id="{6182C4EB-24AA-4609-9652-FBDE7819BF6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102664" y="955344"/>
            <a:ext cx="1759136" cy="235611"/>
            <a:chOff x="10102664" y="955344"/>
            <a:chExt cx="1759136" cy="235611"/>
          </a:xfrm>
        </p:grpSpPr>
        <p:sp>
          <p:nvSpPr>
            <p:cNvPr id="38" name="btfpStatusStickerText618732">
              <a:extLst>
                <a:ext uri="{FF2B5EF4-FFF2-40B4-BE49-F238E27FC236}">
                  <a16:creationId xmlns:a16="http://schemas.microsoft.com/office/drawing/2014/main" id="{9A1D6EF1-A58E-4C72-9FC0-1A07422B1DCF}"/>
                </a:ext>
              </a:extLst>
            </p:cNvPr>
            <p:cNvSpPr txBox="1"/>
            <p:nvPr/>
          </p:nvSpPr>
          <p:spPr bwMode="gray">
            <a:xfrm>
              <a:off x="10102664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ct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39" name="btfpStatusStickerLine618732">
              <a:extLst>
                <a:ext uri="{FF2B5EF4-FFF2-40B4-BE49-F238E27FC236}">
                  <a16:creationId xmlns:a16="http://schemas.microsoft.com/office/drawing/2014/main" id="{95F6B7BB-0DFE-4C9D-9239-41E05925B66F}"/>
                </a:ext>
              </a:extLst>
            </p:cNvPr>
            <p:cNvCxnSpPr/>
            <p:nvPr/>
          </p:nvCxnSpPr>
          <p:spPr bwMode="gray">
            <a:xfrm rot="720000" flipH="1">
              <a:off x="10102664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btfpStatusSticker149086">
            <a:extLst>
              <a:ext uri="{FF2B5EF4-FFF2-40B4-BE49-F238E27FC236}">
                <a16:creationId xmlns:a16="http://schemas.microsoft.com/office/drawing/2014/main" id="{7A722605-339D-4B4D-B2BD-86110A65DCE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632714" y="955344"/>
            <a:ext cx="2342950" cy="235611"/>
            <a:chOff x="-4859410" y="876300"/>
            <a:chExt cx="2342950" cy="235611"/>
          </a:xfrm>
        </p:grpSpPr>
        <p:sp>
          <p:nvSpPr>
            <p:cNvPr id="62" name="btfpStatusStickerText149086">
              <a:extLst>
                <a:ext uri="{FF2B5EF4-FFF2-40B4-BE49-F238E27FC236}">
                  <a16:creationId xmlns:a16="http://schemas.microsoft.com/office/drawing/2014/main" id="{500F6085-E99F-4A38-8EA8-AC2393BEA662}"/>
                </a:ext>
              </a:extLst>
            </p:cNvPr>
            <p:cNvSpPr txBox="1"/>
            <p:nvPr/>
          </p:nvSpPr>
          <p:spPr bwMode="gray">
            <a:xfrm>
              <a:off x="-4859410" y="876300"/>
              <a:ext cx="234295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TECHNICIAN ONLY</a:t>
              </a:r>
            </a:p>
          </p:txBody>
        </p:sp>
        <p:cxnSp>
          <p:nvCxnSpPr>
            <p:cNvPr id="63" name="btfpStatusStickerLine149086">
              <a:extLst>
                <a:ext uri="{FF2B5EF4-FFF2-40B4-BE49-F238E27FC236}">
                  <a16:creationId xmlns:a16="http://schemas.microsoft.com/office/drawing/2014/main" id="{186AA129-4E67-4FBC-990F-6B1981E16F80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4859410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btfpColumnHeaderBox985951">
            <a:extLst>
              <a:ext uri="{FF2B5EF4-FFF2-40B4-BE49-F238E27FC236}">
                <a16:creationId xmlns:a16="http://schemas.microsoft.com/office/drawing/2014/main" id="{713A62AC-6328-41B4-B3DA-2B7F91ABD530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4354248" y="1230344"/>
            <a:ext cx="7507553" cy="559753"/>
            <a:chOff x="6366272" y="993408"/>
            <a:chExt cx="5495528" cy="559753"/>
          </a:xfrm>
        </p:grpSpPr>
        <p:sp>
          <p:nvSpPr>
            <p:cNvPr id="51" name="btfpColumnHeaderBoxText985951">
              <a:extLst>
                <a:ext uri="{FF2B5EF4-FFF2-40B4-BE49-F238E27FC236}">
                  <a16:creationId xmlns:a16="http://schemas.microsoft.com/office/drawing/2014/main" id="{C7C292A6-30D0-4A22-8B98-FA88FEBBCAFF}"/>
                </a:ext>
              </a:extLst>
            </p:cNvPr>
            <p:cNvSpPr txBox="1"/>
            <p:nvPr/>
          </p:nvSpPr>
          <p:spPr bwMode="gray">
            <a:xfrm>
              <a:off x="6366272" y="993408"/>
              <a:ext cx="5495528" cy="5597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solidFill>
                    <a:srgbClr val="000000"/>
                  </a:solidFill>
                </a:rPr>
                <a:t>Swerve and </a:t>
              </a:r>
              <a:r>
                <a:rPr lang="en-US" b="1" dirty="0" err="1">
                  <a:solidFill>
                    <a:srgbClr val="000000"/>
                  </a:solidFill>
                </a:rPr>
                <a:t>CollisionRight</a:t>
              </a:r>
              <a:r>
                <a:rPr lang="en-US" b="1" dirty="0">
                  <a:solidFill>
                    <a:srgbClr val="000000"/>
                  </a:solidFill>
                </a:rPr>
                <a:t>  increased job postings in L4Y; Maaco witnessed high growth in job postings in 2020</a:t>
              </a: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52" name="btfpColumnHeaderBoxLine985951">
              <a:extLst>
                <a:ext uri="{FF2B5EF4-FFF2-40B4-BE49-F238E27FC236}">
                  <a16:creationId xmlns:a16="http://schemas.microsoft.com/office/drawing/2014/main" id="{E48B9DF6-1E93-4611-9457-227CED0B00C0}"/>
                </a:ext>
              </a:extLst>
            </p:cNvPr>
            <p:cNvCxnSpPr/>
            <p:nvPr/>
          </p:nvCxnSpPr>
          <p:spPr bwMode="gray">
            <a:xfrm>
              <a:off x="6366272" y="1553161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btfpColumnHeaderBox642890">
            <a:extLst>
              <a:ext uri="{FF2B5EF4-FFF2-40B4-BE49-F238E27FC236}">
                <a16:creationId xmlns:a16="http://schemas.microsoft.com/office/drawing/2014/main" id="{C2431E0F-1AC4-4DBB-887D-48D9C61436C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330197" y="1261452"/>
            <a:ext cx="3483504" cy="568301"/>
            <a:chOff x="330199" y="-3753681"/>
            <a:chExt cx="5629396" cy="568301"/>
          </a:xfrm>
        </p:grpSpPr>
        <p:sp>
          <p:nvSpPr>
            <p:cNvPr id="58" name="btfpColumnHeaderBoxText642890">
              <a:extLst>
                <a:ext uri="{FF2B5EF4-FFF2-40B4-BE49-F238E27FC236}">
                  <a16:creationId xmlns:a16="http://schemas.microsoft.com/office/drawing/2014/main" id="{A10B9E1B-35A6-41FE-9A6D-C737C6EA780A}"/>
                </a:ext>
              </a:extLst>
            </p:cNvPr>
            <p:cNvSpPr txBox="1"/>
            <p:nvPr/>
          </p:nvSpPr>
          <p:spPr bwMode="gray">
            <a:xfrm>
              <a:off x="330199" y="-3753681"/>
              <a:ext cx="5629396" cy="55975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 err="1">
                  <a:solidFill>
                    <a:srgbClr val="000000"/>
                  </a:solidFill>
                </a:rPr>
                <a:t>CarStar</a:t>
              </a:r>
              <a:r>
                <a:rPr lang="en-US" b="1" dirty="0">
                  <a:solidFill>
                    <a:srgbClr val="000000"/>
                  </a:solidFill>
                </a:rPr>
                <a:t> and Crash Champions increased job postings YoY</a:t>
              </a: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64" name="btfpColumnHeaderBoxLine642890">
              <a:extLst>
                <a:ext uri="{FF2B5EF4-FFF2-40B4-BE49-F238E27FC236}">
                  <a16:creationId xmlns:a16="http://schemas.microsoft.com/office/drawing/2014/main" id="{FB29E209-16AB-4320-A9DC-6189D82A586F}"/>
                </a:ext>
              </a:extLst>
            </p:cNvPr>
            <p:cNvCxnSpPr/>
            <p:nvPr/>
          </p:nvCxnSpPr>
          <p:spPr bwMode="gray">
            <a:xfrm>
              <a:off x="330199" y="-3185380"/>
              <a:ext cx="5629396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btfpMGChart16405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aYhHdubK/b9WYMbiqTQFZNRdTaHJ1Coz+gznC5J29/l+uni9WCTqRMIgVGBy5FSCqTCP+Vdrf4pg20L7fH6DBLCUQPEirnQtbpBHNoYBczTAjyI+Q8sdgREG8v3HKj7eJNBIgJSMWMn0emcwEVHj1u6frAMlnit+99IngQn8QIep/Qhr8jUi1LO+/o87oAKNdTM6HxTKJKukgEon8U9FN9MjiMGwBafZuJU+WqCFQVdev7ARK70uXYwiD9qBOT2xEJ53xs00Tf/E5haV1DY5Jejc+G8rXeT0UMHAoqTZdF5PTimqNMQ/u4r2K2rZiVAy65rGTsAipTXkzOj+LqzfpFyxzuHfdAgpd5blrULJEbbEUkHY/aRNzy0ScR4x1wCGSPkmeweMB9Dm/3/8Mrt10/iwHxYqplUSlOppGPAwHdE23vTrvXeffHIihxpXMuja76Q7971g6fN9n4a601FDUfChrAkCE7eYTZ7pxP5bZFZhhgFbUTbJzeewKetqJ9rqA+m379t6Luno2aYHNs51Tl/zc98wI1a/sB3yAPgYQq1jG1LjOkFBR9Ss2fw9Yc44HDXV1MCsfl2GrawLKcatVzQMAsoBkA5ZTKU6OwDNh4eb0lA7+NCWK/qIMp+Vgb0QODxN1mnAyVL/O6XHGg5mbLFEtEuxx92HWv20p/U4XubTZFZHfhB/hU8AxD+V0/Vn1ASg9PRy4A3grSG6SNrVyZc6etBg4gHZfUu7hoWoBLXGAh9d2mTMByJcWGz5wcNCz2dP6sjtNR+bg0zkCba66D+vCprydLDJ5GVfpR2lMBUofUfNf7xXyfmBn+DE+FNDRyJH5KRm6pg/rTgylh7xZ4u18LzCDIOkF86I2Gnq2/X850iiARU03EFxMGPgZ0bmCjBUS1g86ajwIKTvww7B5ZklWm9ZoXfvkfSshLfAIKmuH0RLVYHQi3y+hNB5hXLRMEk6hxHCfbnrx/hTW7oB7lhDRkniJHJRwAGd44izZ0sjZ+4+xcuNKR6Cf7l6lTsi3XsXrc4rdXkYXN4Os4oNkOTkMSoFDAnqn9X8EDv1bvlJzYJBr3PtMDOsA7ZpfLJkOFgs7SWUhPWXTbbAMEqCOQFk9GPNQicHA49gyuTIq+wwzS6OcIb6jgjELfRgW4r+FwNQy6jbexuAe8gZE1MYdPotQjuNZXMF4LkHVMLFZ4nENNK4pHb0gkv5W4m1IyfRNsfH1tggoob2Nf0auiLhoiwPMbZc+mPi7riXmFMTMLOavHC7vOS6eFYvRbyMXHWCQPymsJAjjvpbFmagw8GCCjCXS9MVxwUaxdI61miZoOA2SdjDKk5dhaD2jivepXV+CCRaErgrpGkEwBaQDUW9HVsaHOWGwKbfmCMTYniOYOWxO3h8fpETvE816sjWgDvA0g0tUxz5yIfZRRZVXzFXXwCX0W1Ra083ueNJ5R5yFiqzZKR+FFLA5noYk2XIA2+BboTcey1LQilefVP9Y28y+OF7aRLxOGpIP4W9PAbUDtNbkJSDbH2TPNpYbRVtHu0YTUfDJRTWv27BcZCxs+XE/hnLdQZa0/pp9jK6NRaaGZUWKB011iPgxqLTShZKKQr3NckfarpC3JtEbdVSckU7xyiTScywMfCsU6lhxh2Cn2jEsK6dnlf6Rgypwm+bwa3VL72vVcmFj8nAogMJ829FnDBNLfMR4Qp6mpQrB3n30NNJcGKzrmoMMUVOOED5EBzftxuKrN/Ut/++P0pXU4VU9I+Bb0+quRMbEumXFdHHoIDVq6EEO2N6DR8gAB+vj7iKhuHCcCOxj21f5cncAqAh3T0WqEdgNrQS0+qm01JOKIIPCJJs6J86dRQvSD7pgfAH2Ps1ioe8/gFsDKrJbSPgeEbHdlcTHPygQZ4DpwxI1LDrE+ddpiPV73xg/0ldek8DKgtU/M02GQ7cUDt+JkOX0UIG3hcRySC/fSx0z9MqWUAjHswKC7nMJViwEURAoqe9zPewWNkiMnEAa3wILXfzDrkuBPrABamr9MBjBnfo3/i+k0ygdqL+b1WlGvXFB+0IO6B11FhuCoMCoQkROoLdRlB1A2pZ8EbSmskYgPmTLektf8hH52r9I1QeFZGgGvGc8NnSHbkdn1tro2Bvzy3feO+T8uyH2Zir/AgEdxb0VAwVt4/bb4kBvI4veEPavJsH7DLC1gSiwtgxHuIfFmRrLuRZk2G+qaa+hhTB7hvtrzfaGyDQSUUYI0EUWQrrVFATJ2N/TUpUD69oHOM5f10JdGuQsd3RdjQpW1d03DBnqzVsvhSY+mupnkBG2MEi4sNjPz2lKNk8fLgt+A6zafW+xEN+rT20nyh6Vzzbp0MH26ToNL1UZF9b08cYHvG9m5wLJGDxqf0HBa6qaN3Sgx5VTVeiNVbViVwDmzyp3IFHDGDcMVv+nXIeBlEzndRLXt+rRtbJ4PIt1WRRyfNlr0iGu48eaqdfpH1e00PS4dEJgvfHzwZ5ULK1IZp08jfKkXm7APIIwrMLaaiQt2ePIS77OARh3duEmgiq1iKlkLDkGwSU5kycKics4bVZqqGXhcwLSyOevCOyGqDmJr3ThleK0Szn1YS0B5pzhDhyfZRh9WViDOxoGAaTx9XHLMO0oedO5yTFUPDbwuUaa4UIz4f1zoI2FjVvUlYGtsKkXHxP3KjNS1Ep25/nQaAI/jlzWSHrczZp9bPEj0DNEquxzCVs5NMYKJXDurHks6CQ0VfQL6MzNvtXUslF6D0s1WnvzN0uH+gaZSF1BMiLG+SlNmnvFFd8NHEm9IoBMCn6B6aK9dsstIJTDF13C+bGs8konBm3Wypw1ysmvUjxqSZTBwjlUJToGv1kwEbcoCSC9NpLvbp00Amru4KEY43bVPgyvFCy1bMY0wFMv7WIpz3nACfOEw3qxV1AqKy3Ir0u3Ty6/2McC/QZqhCCktuLpUX6YLLZmFppcwPHovcQkVvJ4yQZyM/rL/rmiRkzYjREoqqe8u4b6ObQFyCK85lNOoE0B5gXPCzZKLoGgfLbpp8tWQF4WQreDYd9CHs7TYZ4Wdl4upCr6yXiTxDDW/ubOilqI8mcZITRkmjq6lvTsqxWdaJJtW0cRZ4WacwWa+REOmE4Dbj94tRCAp72bud5mOsCXJ8rTBFryPP7pQ1rgzcEfXuntvMm47hD9GV9qmrvkQbiK7yKctg2s3VWKPEHlFQz5BWrWowu52P5Z2pMQTmYG0mteXbB0HOMsyYGV7S6yqjLztcuN1/OXSqJLSC+O95TCPfS8h9jbwqbhYpWrgHOsuh6+NJamIZ768u5IiUIbIc/4ED/q84lodTHB4HQUwvJwE172L4nyMrHCVVsJeLDzSv/XDd65njbpXYfBPh8Tvi5yWrvXi25r0hvivjQ6x2ukI778e5ck73VN+NSob0Zuw7ZvzYsht0cMBbGP/+FF4JoYQi0iuDp9qMaghRhA5ft9mzDT3o3YFHPQ0/r3pSv6XoWmFW+mm97BtnWwwxBOQLBdAIWQXqI590leTxDb/5DLkV60BQu9huLOZMW1nv5Inz+gBk4RKnb/cAWivAId8JAy/lxaKarSdOdpPsmWsxY/pQljK/aS9W0mCwdBe3vDLePZ+WPBphI1/vxk1FyVzSZe5TCzryb/rV5X3qxUaCRE7j5mhex1Lkf+tnioKteku8cA2R9t4sYovB6YOYoIXTLHgnMwwiArQ0IBf9KUCz4x6aNWqKYeRRcJrnwaYfvu8JS7/tscpQbdeqiwtKuUntnBgycSg6OZTPvNTvuRObyZG2dYGLmQFswp3cGEQLymjfUSHD8uaghHXLMD7tX0nALpwlYpCiX183qJ2cQ0ouh7g62oGDWVFOJbceWeSeDZrQsUw+Y0RI5TNO+1+TrzkOrKZQOSLC08RRUKyaSFmMbQ9iH1MlMnV9t/sCqi9kDpoucmg8Y9ycGYFhVC5HDPtj/L2aV0WsAg2T+ImgWkLXYlrO3e8fgXNTMdzRT8y2f3SgbwXOnQpOQ/6irEh99nLMN/zsvAXZBxJWTsSjBbj4kHt32ZfBZMtzJSl/DBE1+vILgl4PRURcUpUymwmrd/WjQ1L5aWznj0G5grlmC1GrCfeclkF8Y9IpVq2FWL9GDRYECuwEuttp3UCFm9Aw5KfJRwZn362Qa1fr+x8eJLPmd2SKNcSVAwu1ZLsE+uDGldIrL3NY8te22UdYZvKe1YSQL10NxIvNOftB30VGhJXyCjEEmLC7IHFPS40Hw9dQp1T1K7Sl2ho5M6CwhH4R+CPwtORBceSoVm9OQRq6qBg9f3ir2ZyENr5vmlFseczhrw74BCGQ/4qS6MUeotdKgq4r0Blv30DysY8mowXwjWk9IRlKNy4WhL1MK+aAaIV/2lI1a4dAuEj4zqxyQe553z9RYmAJIq7ykHEspzvpYtSrQkg3OI30HocuHILOqezcFZBZtKjb1hp7+93N4ELy9jCHnpGMl9ar7G/3bEpPQ8UvDfIoxN4sGTxPaeZXydCr49FR1ZLIpDgp6CvenYY08bu/GEyIc9UYjJ/CTkaBn60WBUWzOHYWmn23LYttbriS9P04lLgfDj6nqCnHVnI9aCvvIET/DL7hnlqBsPYhEXeVQnb1MVFulVgaujeeI4xe3i1YpXqLl3TLLMw3nKXy8xJ6Fmh9HRgHFmK8g+KCjITd8BFLmVnavbi8Vq1d/kZlwKlJdFhpSDvzogZitY2H+cw2lLefQcsc8y2mF0eX7bJnoES/m+5y7w84Z64UPikWsB1MsUAgg7wwS+c5hANp9QJDdkR2WYFYuG0eEPvziLbNBV/+T89ZKEYmPwKHeG1WQUMxJFBjBrJn8DKsH8stZ1b8gs4dpMFAObFS4u5t1gkcN5wpB65TfGCLWNQmU4DhtphdyrW66RbbDpDZpcVFJX5hC/QDT2UbpZhNSMoflECsP4ZG3qObc9exN2oCoYqEpiiVqkkOulEoKVEJygqSlKCZ/u3343MOyn1BLM6/zhCa7NHVuj/N4ppLhax1a8pCwecnkWO7TPYKaAH92m4X26DLwEn2t0EHLJY6kd0WEjzdyOsnJrRUY6ouK0GyYeXtFKBWKNpbu9AofnEdl72ip+3vRj9m4gDIiANn4edr+eYbdLdH0JfXB05qy2EzXJfzCTRTtn0JfQIu7i2knEg7GxscAV6EE9cqcbwyvY9nMyPatg0sp866doKMXV/eKnQbm08vrlF4XKCCJoTUZN0opG9OlpPHzIEf5JqZrBglemP0ZPQ3xyyGHeaV3SjysFR2To2UF21O+GZ5zpEq6TNsyF1rnInh15l4wpjdx1aa0PpfgAneDc+Ch4G7m4Kx+xk/HJu/73pZPK9YwXIo28ghUbhTnnDSxhPZh2qTZfeOEJQYZgztFXnGeG37GjNT/IJD8p+Rzil62sRaSNQcT8gqn7GYO0i2Q1VP3dF7DS42GrweCOigFCRIlDtTh0+BqUgAs/avjbUQggsPnTqJnfaYrSZkqo8O4Aqno9eWBIsSfTY9dte1oJA5VrMO41dXSUvy8LIHnLaMwoBYwnbh6OhEWiJgaAlqwQR7RUGKiHM5p8fxC7okvQCgukBGw+qemOhiUUtZE4dhfQ6ogy/cF0gMyoyUZjnqC6Rm8/A1gJp0Mvj6Ge103roli2LN6/ux5kKFyxbXoj4JOHr06xQSlm4M1QUpVBlsDHZPCRkctS6QL/RHqZGLeEBh6LIVIN4duB3ehFKuiD49yAgVuL2gNJIAldo4V4uZtCgEnIti/z42HtNRrslcju0ze8qs1KT67UhFNZJbMRdYp8jyR8DzuTRuol83T235psoXOXBAvftIEMBbHVidDrAt43vxM/4iYh+rRTXYxWpNsL3zCyveY3Lgvc8L1IdxvqaQEtklFtAtaJPqHAFFN4sEQy+pv9katBkRPibnd81/GzoqG0zRXUryvNcLFz1akfA+4VggXwtjCRGaHBdyF9vxHQE+hYhhWQrkFk860tSY/V3bwVFR62BDjI3J9a8WSI8OlmjzghcXiJxlvLwiEWnvJQNrkmB23dnfW9eJiXM+ZqZBYbk9Me06TSVwk+kXFTL4HwAr7Q4Y85O3tCXmnwaPBNuO7mx4ERu7xGZCNg2MBY9urPd3wE9teWKEiWLSiXfU0iuI/PcB4KepR6zKlZKQvEKjWYCbt7i5QBc7zUDC0KcCuoSCkN6y4ARKUaR8lzYs+fZUS6MIwd63yPWmyBD4nYzVl3os/j76qwlhZV8eKY4sXwUvVFV+LbXpSlb1t3Vg4CnjYywHzxFMvMJs1to++LIi7a3AiQkNuzxgjoF79Yojss0tG7ATphfGpSWSNZfFiM/W5WCBnSRnzDhZgU4t6vYXbKhytazxxOFJMwhfzJ+Ii/a7yFeqqaQFlXEFwX8E2mGxOm6pLfEgpbcAIu/k+mLtWilXdJkBX6STvntEMW3iVy/isei9RO7p5eObCIpBj4b0ztAT6b2jnDLQtguK3O8E1jz1AVSOuTPJgZcF5fomOTS/Q/h1sk8a3oB/wosyh14tMSbBvz4JWFS7P/nYCt1zAOdxIltEuf8oRUnwtCIzaDGgFmPEz/dRzi9ZUk2l12X3NhaVaUy+jmWyTcEIhDpTuzeydXfcvvpY0t2ztIWRpcJqy6dAgY0SeAWkQBRDfT1lRgQ0PTUrP+qHoJyXfIbF3jorYfPMeq08eY8t/5KOb8Ba8CjPE4ePtdLpaXPtmd/6UBkq+DnY9jTP8xr+8CIvyjaMDmE8wVbrBsD5vFI8qSdXWn2VrCn4H/cmA7NyzzzHPquznqVAePHt7FUD/ep8yMbS4KkOSePpux6hkwuuxztuTTw6f8clY7lS7L0V8GYS5Y95DsdK+JdMIxphVamj43CSwn5vL4pQSB/+BJ7QSGJ/Ku3SLUvztW8MHrYpavNslDFBkxW1jnySVqc7S3j4YOHF/n5tsHzwqZ8MZ/tnbOYEAr1/EzFPTmwuGo5Nl6Z6bc438N7y4M3x0p2GvhL8AzkU8hftuHuyXvHlepQ+gatFgQgq5HtxWMuoeP3fHsQJGeOcmbAi8bH1C2shqFjm/M+L3VgKbmVNLwDHb9aPJinoXJhWah8Qm2eOKvbr+c3HL/mWvw60ndch19HeSguB59W6AMqJrr4K568mTiytqvS9kZUEtpGSXvUWsns72Rqb1VJCqG1tdYhXzzk5UQ082+0JtjMj96vJI20kccSK/0aqaiR4dpqsnI+G9+TyCEn0xCWfh5hFaDmO5Rx8f36s7NVcKYVUJhibdfE+fIO0B2xrcCNhL2vFr0D+an8DEWqPCo4T0KcKS57QPzh+S9jsjrgzqBDm+F9K4L2XYkUpYoxc0BRmsCZU3X9Z85NgXQ9uhbDyl0N2/vWBGyliP/t5cgvB+qPc+myy41ZFM0kTWdlHJbYMmGi2StTvTf1mYosXSF6SoiwfUoBhRaqmb/lRTz6b4zdDnVkEuLImPY5Z1Z+Q5PZLmiwN2VPj2zeB56MoYDP1SBIaeuQRY/Xt9YJhtuYhWST5hrFyvPkGG985wTiSx2Tzxem98xCGJbpXWL4FurIUMAyBkdeTIMoaQjaH4pL1LRnMCeERdZh/Yg+zSeTRqD+qHur/XGgNpAH1Hj+53oGQX1KQgAT4cc4a2GMIQFrenM0w67lx8SrdvLOPULjB96XULrt+g12xJr91SAkiMZDnnZ/MsZWjUt07SyxUff7y3othDw64rHpwKIy1Gr0kC7oKmG7+hGr5syhkHol+39zduX4UTaOapq65UYLmTSplxYBgWtj7GlHUYnJH2/GYMP0uVfTr3mFWid7WH9RZelEk5imfvW30nkQg6lmSOcs0IPMO+DGkGoNw/4j9Zg+ZaWe0d/rru9+kp5LxF2SDoO5BpzI5PHHmFKDz9Y5upSjAcjlsj5gAx7FLXMXJuLBF2qNhd7FIdSoeqNXrMIh9wXxnMvzkLh2vtrebNQI9UNkaFGnPd0czBef8yaZaOsKwRo+gTakK5SdU+hPPBpzTqX2WO8cEdsQVaA9Ut2VIsaWDXhFpVRlJxJtF5UERLcTrPaT/yAmN53T/BWp0mALh+ItPaFKApdn52Jkj4FXOMZzDywDI6HTAP0K/0S95ukpeaEMsYU/bKWlhAYpaV5k7Irq3AeXMDtIdf7UQyt912JNvcLAV3CrjPj6b0itphdFcklnBrpjfdAWN6Lf3NMlaaAbzQhe5NAqUheW13hCXGS0ZdttQerF2PPQYqEd7MA0yuxve5UG3DUvPh2VDAN0dz2qw+H1WLUk1AJnp68hAEzheUD4Z2WCcj+mb5QS6WrAAJRK5WZChMrLOOT2b5B1Cw7FG1coGcfwvwM9CCIr6DmMGKMm+wwWGBfl1unYN4FVhLq+4FoN0BLpykhy+dDoRYKlgtu+grlUcWPhiK1W7eKULtEvC1s39wv/Fb3gd+xXrC1ji6V+A44hHs0a9KcCJK6SmX6+nMLHhRZr8Wg71HYT7MLw/mr5ikyc2e3aF6sXGqfOkAlLwvZKnWYTj1PGeIvWFCrPrpFDvkWGQ5yzW30hCXB9jkVvIp2zo2JUPrCGVfR3Vqh6cBIBe5x8OxP60BWgQ2QXhPFMklPzHNqEgiJ7ZQh8PsnEtITOp6+FS3AvlfcaKqS+afw7YkNwpZDinssdLs4uEeDselKqh/FNNtV2rR6HZ5BkBIdWbyOzkPfFxUIcEAGr5E1Wd+TTstVB/lL1vWKwm9TKbPP1WgSfEbGaEXABFClf1WKYZFh5plkcBNL3wAJfViCitmBWEqRLUCZTwE+HZWJ8XnwfljP6UHZNOiurB+Hg5JIt10f7Qzv7WDqUKdn++Cg/KpJz90ow9JT2zK0NCqA/L/jB5Cc8p34cficKgzTO/qWhmIkD6/LzXWxmTqo5u3fgqgnLIreBUzb2bR5lsWwdHUAuct0X/kWy5iBdPvAPltOHXAbGLKCLJARWTiGQqsWy1q23yg4u4l905i8KBxmPeUXnZp6weTkXwgLxOHExLI9VjRCsWSjl4Gom7FM3p2uYpFri3HyLlzlKS5nP/uNgUqvNsangs1HdET8qoGFNw/LKPH5uzbaGgy09QanYfvgR3jTZhiivoCMugZI2bsqEjKaqAuc3aa6wWgG6dtJIZjneatK2aTTsxsfOUIrJjiR5YwEz8QSYglQJwistom9iHBoNxypgZqa5fgU18An4lWPe2KlVnMlQHdfxa5UKtmSGwuEmFsrVxGCbGqOzFizLVpGYfB2xFqij7riYrc+ilgRkW/IHSpiKirVEBs0Hvlrp+0JIEh26XOoTJaGJX9zDuG4xSeoC5E0IMF+hIb+StRKRr55jEovhO4EUCj59h13/IGjCuXEQPseP81iMXotSLAhO9GzMFyLCeu8z+u+3bvcBXKT9MwNW36px0NkXXJVyP+0uE8ZRhecztV24PQNB1OXy2BuQjtskGRePl0Aw/FSzuVyUYQdd2ytnIwr4aJOyEwk0XBC4q5DiW9E/LKsmjLMDKTwb1eUnswF4k9TncCuUNQDKlZWR0hDanTHSGHxL8xhqleZ2I6IgZfWKTj2rWd4IYWaNVut7hG+R6DVYSvFyEweXSTY9wMydepgJ9EeHn6Xq7L5OyO5fgHoxPXI9TIG8GSSezYhZkffWD1jS0BuwS2tQAc8co3xq1b/fi5D14FbY2+rWyRBQD3tSD50JEfISCeyAynEMq6RBzT+4BVznNeDovkEtordZ9j7MQ48jftfj3XU3MaKBicPKymLbGBVQ252QH4BRJ6YqvBpRwTfiMPlT1S7R7J242LTIVQMgq7s/GLG86MLlw6CcKXJXcB1onLnZbyNmR1IfuTi2T9sPApeLkg1tzDdGnQ1IrSI7u0sc/nfJPrCNKyWucEbXJpgUJNeRYuVr0BokNOjjGYPQttrHAazOJ6qCPLvHhZTnuP3H7vS1PeJ3qlZn8gOwId6utrLmYIQQLeL1VoAgFsXttU27oGRTnQ08xoZ17bAyTFl4y9b77b2HgeShopXxc34oy3yf9tYX7B7tqKWE+mx4zGyIhRzpyfe9NRIfZ92X3rsKwIylU7i7Vk7472Lf3+FO+xdCIQc0vrfQacOB5ZAe4Auy/YMHBY+/UEqXoztH3UFEXQd4anHmVj4XmhZlfV4XAMLPy8VRWdu6+w7rrKk0p5tcKKPX4l97Yuw/1tWDTccn2RZ0rp+S0FM2JWmV6YettdMS8SKlEcEIFZQ6lLU5YkwG6EjqgxuooRhqW/lF8lf4WLjpyeqQ6jiZ3yW6a8eSVe5m0oqyeG6eob+gVNlGWWsonRh4T5+n42hGUzw8Dt+RTtizlggfg0awZAeKgk5FjtOQaJZIZQ0TAdpo2NXMYfFhEmbHMxTgfLGsEAecU7lJWukZdwVmZdxpG69bmjdkBUhyVKyVMvcJbOnp9h2NW337X7aFYBm1ncTRXtu2UEWk9Ly6OLrrSmQMpALRvx8iVxydKCFihBPG1R1r6CB5ONS+uLim1ltYLK9u8Vay+Fyer6A7Bqb/aHCBPdf44AF9zBaLjlzAOTX3+TSiuxoEjfolTiRGqJePABGJVQvV+ZEH/WZna2ZYKYl3x3dc3Tsmluy2tzgIrvjHjSNvQm+WK3/hU/D9/Uan0ZqB2L5t7xYKzQqqaYRpOf4lgTaBdSojTAqq0qgoN4RK80F+N9q3y18Ht3jYkzeh//g8fLIiqTIXubDuDJpqjMR5FDvQx/9g/9UD3vH9dmnntNldlOCU4QvWWeW7+SJZa7OqWwXJ96BYQ6peveuqtK+my50J6MrsL3t04jlJ21Do8m3fuJDsa/4nsiAnSpTEGZBQUNyJx9WwXcKqeLldD0fJuADnhQgP24XIK4o1xoSOJbx0d/wLu4brIALXrZTR4gilnyrXlx/EkV7JmcfRbqf/rScvx1/+xuobgZdOO7oT0czfpj68rixrhYEsGOiOY07U8PaPml8ghWtlrVUnZfnq7QPpRjfwdHXdCBqOVVyPSLq/SQefDtxWOgdzm8aInaSeeE79Fm/3vmZfo1dRSQaYy99RCm9gLStdsY16zKgpQeTTFeMz4raDsYt/PdtfgTnBnKbcLqlK/EROlxnyRIgqKHtpGJ6gLhH1IQuGw6WwOhQ0u4Q5l4Kd5ok46q9N/SVJX2hBT+/XGw2xXyQFwsrwdHZzNH4JqLaU8G/MNWq7hp+0NuA0+qyqz3P7d9uXoaxfFdx3CPM5L9r08BpUXc7oZ1bvvDj05P4J3SLR7+0A4ioUlFB7WTNAfbGZMYMtc5imylTvhhZFLA4/7fUMaMkiLgdIbVVUgptpU7RqCFdJ95qOaTrLppi6LIgIsOkt1GMoOaAy2YC5Dlek5Gi+WjZGfvI15nR3qjV6rnOVGeN0EAfmsA2aPqnZs7IWEdw6EnPzDR5i4ExNzjATgkVzEh1h98eY41fKqVyTbgpfIVq/r2W5LoDUMkeMl5qxb3MBPcUjzxD3wloLQpVvPGZZeX6zQ5pP6b35X6XULB3oHLyVyhAfWOuoEKYQv0T+WNtX1htWI5zexPN/5Bngc9fX6CdLkMCx2GqfVhrcvPYfOL6ZKdagIK2oEZRYf7ybRp+G6LsQaQBbp6ssJ2YyGVTl5p29k1+RsfRepjT91YkEYwLySF3EB9XrL84TltnFKIkExM9ApC1GzFia7xXknWXusM2M7xffkzKnT+KW5dAWEcIYbykWyHiFaDhuM/dqyNGLMTW6/YUSr7XVYS78FlOEPWYz3X3YqUBHr8lvH6GjF2EyU2DzLPh4rRibxGXwO0hYDc3dCSp1d+r/ek05QLVWLDs0mB3oDF1qaPZA2lLrD635OpLQayq0DweSJezBHkWNsR0Xxo0hVpdWrIQtFyqB79tYLXOZsCSpDXJqAx0TNEez7BiHrOJzHj2uxOUNQGqGh1o8ZrbYgEAN7woPOQsOx02S6G1/ZPFULxJ8wn7g1aDEPWctCsgfXZrtT5aNT3sxa5/28bAMdycmJp4Pzg/TbQnyWUseNPZS2zw6sLAkG37jXLHDNtcKJB759tIotknHA663zPS1L1XFWAH/k5b2NDwhwNozb1prYyCma9r/qhGU57vWdEc/GiALNDtvQCxoGW9ef88MGSt91YZrNqVNh8Gtf7HsdB34t32kLU6l7225xNWwWME8P8lhPr1qPJ5RfaDLlcqHDjED0pafgNgVSURZfxmaiyifV7Ayv4k54mQjAyBUwEOR5OGEutnAfPs7xoYfRmz5ScXU9xFID1whKylyGMLv3yyo4FkMBmv7SS4cR1hCtOjgB+7MUYNxdKOE40E/6VnVdeJh8dZYKr0Rm3NlFGN0PARs+3zPurxgb0Jpu2N6998CpCV+PoAPAW2asMY6jJvBDfQUGP20QpZIubhrRVu4od9+BkXjhGdfsNjQsvoSQaACgPxiv6CbAK3qHeKn43yEYDSb8dOgrfTEsc9jrL04C/vQcFTAvHK56ivEYU0eeyEWzGFODHotszi8zlxb0fm8EBo8rbJlQyl+JzM8lxR+6ou7Pj2t0IOsv/MiI6o4dw3b9XzibEySJzT9cI5/fk+cBA4yzCMVPflqzsxUq/44Fu5rqjpAQ7WuG/T6+IaE6boeC9qQMbf1arfGxSgYkWXdGAy3zrIRZ9YBLfzBNds74UIVZ7Z/2I+1vcWhUM1P+t+K82nk1Qa/JQcUgRAcQYme0Sw6IvVfscqizkPp92xw0D7J6ML4rhJSisGgJLmZJNoHHv7lx5K+/dYT9Z+44trjyvcljdp1FBeKJm72N26mNkYEMBgls5HjY2i/aLukNPyfplvslJT9RRTH2jm2NtjCwvaJFkfbgRxI3w0kXEPJ9Gtvlu2PqVF/87lKoxIvbmJt+7AWPW/c8B+TceIeJ303qGz8XPzrrPtMB9dAp1/TSPvcs5w9H3xCt/VGCYGmOazYweGhXMR1kJ5GRyqsWyA1KVXt+5RQerpkSprO556i/gXcz+p5h/DsxTqN9ibg2DkQGsvK3GLh7HC3WdQLFqodLjZ0U7QvAAl+zeRkt0zutsUJC/GsnmFFqieZAhhrtG5i/UdD2/Fr6TuYeeK/U7fcWsHUQOPLP5MIuaRXgHRqOnaZ1x+uz/yFRsbZUWxhJ6LiMamlYGSAGFUbdUhT3Xlf5M4HndfFvgABtmvDjx82h7l3deIsVPlxKuI3gBNfbmnsvBl7gE3Ipqu+upObIwStuftjUFj1aqN+SDV1P6MvaNET892nFvvjOGpe6MgLX+P48RWLLL1LPKlHWX9JCteWZlJiIpUMy4HyFnbeVPCdhq0/JiGm6AOcje4QaL8rTM/IPe+NfhNe3LjZp9Cvm8Z2Cf1Goi3biCo3ha+WfFUv6ibtG0Y36UdHIkpRnDPLPWIRMXHDEOhUzg4HPF1Nm7WqYkfEs+vFiPUPQCNlC/qxRszFUbh243ImFbekhsnlKRxkUkGmUInv2Jq0Be7kze85oRoIyx8bq6JQuijGR+BrQ6NDYd7gns8K08xwLel5vxMvxoHbVWTzyTnPPnbonZfquAbTqHoAYEdV0FwKW/jOZ65A3dapXqdfXUejXr3qn0JIYw6bHIGndvx7ybeVk9mCs1Z4QkUwYT4rERxBLZn+Ywc7svCi54qCEvY6IKd/nNKIyyd/L6QuXGUuv9pFHim1UjpJNfAEaMhD3+blahIT+oBHC9d0pIwJSlbNKpCGbVNn6/zizeq6Tv4pxCdsIroKHr2pel/VNTuA8EiGfMrfqNgTwGja3B1eqgc3Gm5y9Upj7+zEG4qqmGTlCNVlhrMb4m5fmX17DfOHQh8ThIlt7/kCKaH9HyjptMb7DJ5e3rjy2c9KFYAdST8Nho2oDAMpCWFteqkoj/2zFueVa7YozRvsjuon7PVTZji6inkS9VjosAWVkpTFVkuUs+qbpZeSmByRKeKIH61BgZum9WgWtZ9ECbeeRM+d84hc/a/0riJGSazb438QnhtSyEK1guqXYB4f08ocdBIGuN5YMTBu5Z8Q2C3q0oHOV2g+nQCRMnBifV1G6DcZkJqIboZLtKq2BDMrxEKGDUd+8vynOlc+JjMlS4qgVBnH6QeJbxpI1K481Tykxc/gU5QtqwX58cjfMl500m2vvz2pxgXTB7s/LWWYgW3KdX/JBfwdHKkoIPtBmmwdvep5ZmebIS6oXwf8zPgBZ57ZSyeTsfDhfj/lHmeKIHFvDfW2FHzh8KAeZ9RdplM/sRcPFOV/NQkESoxwj9/i+Oe6KiTw8Ig3V7F7r8M0+JnuW0gZtLKmgP8o+HZ3nYwOn5syG8q9AruN2dZoRB0mW4snQkMd8NC3d6gjrpAl5XY7UKDigZRcleUM4fac1HtpmsLky7YZUShpUSrapzfDv32uVrNRgdILNxh2avCXtuam27hyGBR5eXDU9mAgk8NuA4ldikPE0aa1ErAXZJit/vv0jBc5Y8ZX/sgTD17MasaucLzRtcJsaw0QQzIbcQ/53eN5WeCaTWBA/v7iT6iSRcMsCcDBA7dEjnVFbksja9mGjld5Yg04gf2GLXOW4ejXYK0V6+vJJCx9NlrrzT+nZ2pAE6GlzDMgr7+G6fdjsWNpj+nv6OpbIv03LFyVJo+IfbfWIFrc88cmYi8SpUhSmHw6VcKiWeRw8nWgH9PUKRfL80osrRt2/6p9QQUdmJ7aU0GR2gNWLzGcZtzgtMhhVirbQ+lUbpA5FuNbRM7+6nbN0/+SY744nAEu95T7jbq0SxcEIK/8gIMLT0ixfB+LWUXPuh/FtPdcNZlMFRAJUi+JoKx5rxbhDBXspbKoiCC2oW4fI606Hx6QUjM6myfLUvwaSKdeE2OsXz4vgqzwOfnhhkmndF2YVe0kEkE4exHv2U+YQDgTr9bbsWva58byZG9CEfTfmkSnu9F1YFzU88cMtukDz1yuRfB8boVpJIzN35u6Ds4wLh2h8fPvw/OtH70m/7LhicbZtxwIwZyeZq60Nei5KgjfGb0xDAd+isn83Yqr+WIZwZYhP3gPEv2rTBiSzP+owM17TjJm2pttEVvGeGJ74//8COl8PS0gRma4Ndep9ry6qWBBHeKoOTI1IAwCe2bwe9DWeg3FV5kAOiGVtRUiehF5sTQRnSwf/wg+scyAEvLmxinawXU4PuUuZV5/0Au6lnf4oAmTUZXUWcgMFQEYdODy3WQa0orzIOtnY2y9gyQvHhbF8zhW256taNZxhIgWAmzg8TqKY5GFYJlDNCGO8eB4P3ESOR/EzefKJfUKHbHNPMXwo8v3TokEfGc/SIMlESYxHmoxcMs4MqwOsshI51X6Q7vVqJmfO6JXkwCQjXxcMMCa9bOx7JzFCfNaz50Ed9sgHqH3pMXPDdl5nRAoSU5Ev4OXFmt6WVhE7rZ+pT3WQtv+OiMPfGwzF2XytGTtSuR1vW0cKUZlOWYO2MSQaZWcAmf3yUIp+IUTYF5Vu1ZVvVIsKLRcPBT/gNrnEcdfvuA8/njO7sT57s+2vjG6/8WKvRZ4qWa25Vfmg7f73DSiYurdqxmir9N20fHdrVaNVnbZA8jcN+S2fDfDVFHWOhq0Jz+DVyON4WfFIJtijAdqQizEugub8VjeIutLzbMO8p326GkcT8flTrhUfenn2K1R7Majv/bKdfcvnyTimLJbTySBcobdMj/TdQz7fKYYNfWEwhgjWnrf1LrU0uDVDL9RJpXI4NmZ+Po/YbAjdeLCL8b7Ymhn9XwuhnG4pQKZOZCSOInLv4c4ULgRj9EOyoQ+Qwod5Zv0fFRIvuS0NofKTDXxdHqBIzzF4TZYKuipyBEYKQ2TJadUhR+FI7D/FlpN6qFmMVNb0zWUxmUAq6m4LD50lZyE3dokbiYwRfIKd05q3wh39RVzX1TArEvTESov8l+QyebhqIOf25KZRVDDSMCw0bgNIkUR5Czp9tZINQO3hnDWA3VGEgk4hmfzAANNfM+Aia8zzfIXMF93I3D4rb6jFqeHLquwfyTW7es5CdkHuLbytN7GvfmEkUrLrxcby9HnUbLGMl1KnjYTD+HgOZAhRYrV3+AmlIjCKrbGN0iGiIfzVc9ttsMo02v6M/lsZ/wGvEVWf1JMJmEIDpKNVPo9VkVdfGi6pNIxNtK7FhiBgrZZX8TFHxMjiQczWJ2drxLcimRCB5lKyhbCnahl3x2+ejFNuxjmzSkvH3ziruCBgZzu4O7SRZ6WlWUw8AAQvzqwsCMPI1zHDiH9wWLy3YgoKhkjvIHbXgGLjgCAjpE4TQCHZKseNwbXOizcKudPsRumEnYIECj4YXxsupAnhPpEu1IqQ11J3joLZHSAm/vjImhzWcGpq2lAKBlXztKO6BhGvlLFsrWbNWuVACDNIOQbB1BoPqemKptGMK9wZEHmBRy2W9/yV/VAnwa6QV2iUCOx14+NFjK7m5yytr5PK4mnSDbplXdXlK7TmF7KG7fbsYABdFFsSPIXZPcsgdXMU4MpVIGdBkbhW8TKJgXQIQb/yw7IPTR0mAtuwEXhrm3wotfzaKZRFBgFphZu/CW3giDjIveODCavG6ghJpWubv85FfoDtTYdLUrfl7MFCguTB+5BMUPyVA3i9GFCwTIkV1e4a4INruL0OM2I74gSgRw4lG3ALDQsWb8EyzkSQXllHcnFfJ+ppPqsuCk3+CzfMtzXYeoM5FgjjAAO2HXf+Xuh+bCkNr5AtcoiP2ojakImyi0ZkYXT7y9IIhtUKLfC5PhNP0fav7S8HvbNEHPh3tmS4orLcU5Mr/HkBZTkhb7yIkfcI5grAaGDH3l75xhrKFh70Op2M9etDcV388/kE+sit6T56wjL2nR+r2x8CfJRHVNqx4DMUSWt8mJ6x8R+9RYk2mbhtKcf2nTcJZsCgmkYSV6EJ/JlklBtJ1/d8KcL9t2yMgOYNG+PY92Jge3kXPsPhCam8HI9bRGUIOceZ2uqGaU6O/2pHsGj+Eo17+7ih0EwsMA1cGNRyISwccNgWFbAW/iQ3opbs+eneG/tMzRMaGdQMmlsNry8V03tZNsEw26Q5A22SydcfQSHcI7zdu3gR6swTq39TyVWnF9ADk6cQhW7Vo6tYpA4a9lonAiD5Y7sk8W+Qx+VODk+Ot/Iiot45oXbU7qs3ASZP4+kzis/QW3oA2HVJroczmrAXeR0B1V1xGEb5FjVuhTbEOjf1O6Xv9zH7BmMqZ7tUsa997Ozy0lPzYb8eE8er5NOaerPTMjbW6G2kuygYtudooVMe0JT0W6ZjkMqSGLBI2q+d6Y81/3cC6gnzPWz9l4V6W8DJzqklljFsg1GNtLWBOqic1hOexvaZtgGG3wC8thmyPt444RPjwkLnzUWziwTrKD79HMP2BzsFe2CGTsa1TgPYWprWxW2Uc1eNJCe1e5WZJaBjtzFZGdP5nYdubAG7/9a06Q4P9n6fWmDILiGNNPQLo+BiJI2GCXvZJKGlCb9jcKor0ZjO9SHQ5dyM8Jmiv1gvs8fStmRcuORODczZ+b6Khimn1FxmhjRI3wWPC1QDXGcMHGv1mgJhEEXiJ5ERF/UXcpu8Bur4Hs3017Ke0J98kIdbrOJSfFAZIKDClNBWy5t4wXUpyy8rhwDyT6v4M/am8S66W32ISsDZD2uNKsmNkJz4jJyWQYdXPcQJLh09bJpI08puT8R3roU54RTRACNtBqKZ2rjGdT72pLVKTGNu+U5RgCjJWZLmsuuiO1jbWtfm4utPaSOwnqf2aL+u1GabMGZcOyOMw2GheFwuKmtzLq74MQCnl7unxC7LBr9KKSmWKLkTRhZRMVjbTaHIuVZt/SrKS40yMb3PnVwtUaQEdRQFAGBX5c3RvAWtF2LHwGe9mNYYPVCy0bsXP10kRrPZfRrR3ztTV4ld2zvGWE6oOO66zPQn1Ig29pZKcPEf3q0jQsx2RhJmea6Mvqjkr2V7qhnnZC1jNk0gU/05wwZfBgcPge0pheA8xGKk64eXCYICwTPlo/0YHa3JcmrWbhooY175hIeZCQvdNYlCla0LqVvbiVMw2eeFtvezNA78r9hfJ+Lyp1YNThmbbnJcmvTIMp3r2C56RXVq3WzxbaFDmJnjVcr04Se/BqWAjXLn8487yajJyKqLYyQheiPSux5GmIgn97GwR1uz9JrkDwWUSBkNZVUU5CsWcH4BjDdvW/EDfOh0GiIasZKjK6nJOnuKRBTbhkxZBKPfK4R5CXl/FtQrp2Hq2kAW4q40HHEsvmrzarjG8rj2HBvtJnbKqSFLQppD0Wpb8el8OqS5fy46tC78JogzaLqieTgbVFTgPS2VussLRJMb0wiMm6WT1dpn678/VG5Z1ddKkA7CSMvwuude5ue8EPFBBEaWkixk1+OKVH79Nz90ctIYq9Xi9yFprvo4bZW+ZPr0sX0wdeTtR+f9WAYHqflb6+ZUVoTD5SkdcPKOBfqdOmcyCieUosEQxlrmbl6KA/4X/d/7//jYIQtivxO/lBREWzNEpIGlFjzjY8df7FeBxTcxfJ6PfMnd+sRX/nYHn9ZPccOpcwH0hWiR6KDa0Ray8luj1Wkj41GzGXdbIX3hdLCeGV3RFoKOA43yiHKPN6bavqts6afA5SIq9MWiDeoagmViNBP0WV2zmmwfWT4c1mb+HW4PuYrb+GqlfN5fOdFRREa+ojXXkSRpx5nTz8H/Gf9xAjeDmtqv8gfFKne7w5WHmF+QCf0o/aUJHaQkUXBNFqd5hadH5g4i5OWxIwhRSRtdnpqioKhYHovkuoimr/ZebEnd1P9yKB+ZM+qh2xo/eSQ4iGN5h7mbwtN605PLQmjGBCYmt81zKbOwDLCjN1R3cRzLaY+K1B6d749L0pIKrLr48efkIs99qUk9WdVYcH2zQxuHEi4c3WIeW+zfjCwgZrIg0KoIyijWwy7/vkmawymSHlMEA2Z1GvGmzQFTNivCzC65uK1FcF23NhPvzPkFAKxdV9eYZSSdpwznr6/z3OI6+SuwfzRbOXjJvc7h5wD6A3TOsxkjbRAzNi6G8JX8e5zfXacF0eCQhXIQ+uPi+Ji/TzWilo8SLec0+oAChvRcWXFdpleXAmSNQzGpE097pd/tQuhLsBL/jboLz0/WBOIWK3r7dg7P0KdjGVjIZMZJhGthZvaCEART9KcQq746aZH7Y7O4UlCUKxwFbliKxuZKpQbVcY/ZTpSJ8HYAbxCqYdW6nfR/n3DERfrM1IOGee34WPO07f4ynAR/U9zER5YvCwh7vkaJZK/TCBNRdNQt/Ey/NumHvzR/Hbu1+7OhYxP61ZE8Pe+FIKjf1RglQ6ICIJb21+9OKVdXno8YnUB51chZ7+HJZTh+Ax7nIJVOIBnEhnbzE1Q7Iv3jfNDvPvvbA15vKmRM21jR0Wh7ZJU7nb/43gsVWE2ypUuzQNbyAmiIk+r448KIPqQuxi6ILMjWS18q3mBitkm3VjWj0LgcyTIYcRa6x9BzuTLux+lR1O6TTMEa3S5WUNe1ou3y/Gn5AMsHk9iTh/TV8BLZFgk1OEWhNEcDGsDGnUw/moHs7LQCDYA/ET0Y+eQmu2uMRBX2FzckNSZeWj9LbJaJdGIoCZqIupqSXJrmySY39QAgAoihrpWBVeOu8z0u2LvRD3yPvNx7WqkTOFGaYkjU2my197ok7+7Hu2NQWK/VsaQ8vdaamlbFbai4yk7N6uccbrU+pw6FvebcyAsBnvnSbdsh9EUP116TTSDfo+Qk3FioECKsF65XrOQCcRXeKwZosbYJw+4tmn/lTYts7oQh2nduJw9jYiKoRWYn638mo6CApjf5ODbCFrdCH7f7murQoqCSqnAgD/jc9bLeNotEGKdbL6O4rrG8O/WZzD6MWCuxlx8mJiWrkg+IDQ5XKx505Uz9CwT48/+EP29RlcI3yK9QYLaleoNk2fvyCbD0wY4K3kgvlnfRBUQYxBG3zvGrpuwNJSnn2JCN223a3FbSbirYtRPSlJJ0zRnz16/64QdzFf6aa9/S+yg9Eclo+iEPPf6G/4H3uKjWeuZMm4jjNpGUwjWBf6QMhNpYmzWW18qE41Xe7R8sCZIBjxguvaFmtdzk+mYq9PBezSylTS23OOu2bLOxLZujtnX7e7SG51otyMF0IwI3LrDjwWPiwxIUoyjzmuYhlTvWT5IJpvEqBNFwjB/Hqh7Ki2SmcWmAIb5Oxy0VXxfZmvGHAsHoPLPUuN7Dyed+hk4y3ZHRZ9xnOnVpI7tukCXyeMwUGmK0EyKbj5DRoIbbTNlrw+NgEErnSaxD1WVr7TknKkTg7QzYj82uzm7wD+mGotMjpHQNdvAhc76IsKftWsRka8z75TpU2sEZ2nxwOfAaoogIjgxKt/EVburyPcHryl676mKEo01eadaMT86N2nqKNEr2eKNyQZoBfb9kqm3sXqny/Iyktb7XzIPfb/TBXGSKT9kU/2mKB3VlKXgRcti9rLBiugdNjEvWUq/cSLOkAsGEJQUK3d3ZcHWul2ONuXlN6qf5Dx+KjFpK43zJ7d8418w2utRYJUupYLck7JAxcJpdD/NguNBwlsoUFZm9mrSD3e3aUAGBDWTc2CXmYJpxu5nfgVUFIa9CrOiF2nbAzaIqwkOZzJkVqWX/IDuqbA5KsYiXn19kNlFlz7Cn2qK9czWpjv4077k2Cnoq196Xsv4PgsTMiC3c9VxUI+1oslpjA626+fqaF04s6C2kbDkaQCmcti3FC3tBe342JoP+BkAHdAgacMkenpGM19FmWG3n/B8+uiRo0F7h1VWVTZ0SfhddJxhy5dO3FZcMliiHsDmnIkHIxBq4UZkTUFt8xQcNaiZPY4cJpw6Hye+fxS3AVEBqpCrV8jblwfWBSa2MxiYa1K8QgQsqnacQVTULG6zg72ptizQUDlQnLR5m+CAdbBrN6q9UfvNJG3EbtvzWjIt529IUNwj+4TrTt3TgOXNlMm/YzATir/WjUxEAlFZO/yqlaoQYT/E18bv1ly0nnsYqhLRsiaqEvPUrYm/YaA3eAhangw5LQkds6cBDO2j3eOLLQS+YclKdLDwqbpQW/CWgnwj3MQflMQ/DTPAOcNJ5pDnMgj8u4RGTRV3OjfU6a133MCpFszBiMLFelgbCTsFiqFzd5qBcbAPfkfvK2R/YSeguCyzkkXjputB/tIRbawCCAHy29Ploc158ancATfwCmjwKrX7tQwqajayAAZfjXS1TUeAEe3AgyCrDPlu+yG81MbMYglVrx/R1GqzG2TXX+iFY8BLy8YkuHNAV+7UJAoOhW/J6DckghA5QGtA1T1vlAeMVWYzb89VGuf9WQSdVFqRYL3eyvHrpmNl7RfuyDOkE88bhccOzGXKYC/cTMqLEFrph6EYL5bSGMFr3j4bsmC6G0+q/yzjEi42NM+PumsaAvcTcIEK7fbmbuatFrPsUnnIkAzvIXTynaZTQYFVMYy93Mrr4sJo84EpWf4PXR7ZVnwkZ9eoCqGgGx4nJSiwm38NzgHDXTNe1JaFp6AsZmPgMMZuE4tTchPWt8XpeysDNPTHILnvqNFGUtwbujQAt+9sGfqqnNxYKCBDjD76A5nKSmX/pLKP1BKO8Pi9hIfaQyj9myndW905wSPIsWAIEw4u9sQCnxHXy8POnAQtDQ1k9aDQvm1ZszQPdtEuzyXCMCRz7kureqec1kwRrianWxCIOqB1zgyk+qCzmDtuT3SxJEr7L+9iJt5ZjvFxSnCnGj2npa+qvcs5bEVz3cAfWj3LY9XD46Qv7E6Wn75bmo3Sqb0XvARqWzqV3+QAVk8eiok2E8XUkICTe3G2F+kMpiRKLUUzFQOp6S2cn8o6c/zdMEvYv/O/YDxvqDq5pAGnmuoXnkNPt9cRvw3rOoVHFuSzq1Y2QKt/D501dFxAqUPcynKAc9m+jKNdGAXsksOLrOQty9vAVSkx32YVwoAMYuA/0SpovIborLnhI81Oj7ORdHRUyOGaqZMCdQ/HF2mlWmefREudtDkvLQsZucJ5Ks+yzY1OZgDt2kFDBjwDVlMIU7/Udlpl9UpbxkFbFeinJtftYm0iAcGGidAHJYZQTNsYXtxl96+VQYfqB1/LzQFb71T+rAONMB2wk0U9OCFPJtJdqMv1AGSIB/hY7R7Nhf38jLmnW9dWSkaDIEQc3h+1K0G96wI82DMKtDTdgwG+tyTNi3q89CbFgfHHAbN/ulJynZbZH3lJ5t00DVubhhmxfsNzhOy+LsAr4SQfGDZzb7fQaCc+xMIjGStg8tnh5O6LlFs2I1Pqa2EVzKSvqvTBTzBNCr4VMZI7NaCiZfmgQ7U6VQTYv3eOfwzbrCCs38iTXNi13GtmWyda7FYgmonYv2mmjSRzn4mAmS+4sA6W9WoQM78iAapeuX03knKdZ6c/p5kg0Wrlw4V4vQ+Z5arY4odbIS+2CyCaW21dybAmlDjJTwQgG6tq8xD+Fs2gSCRe8dQh8kozDwU3JHTIg4IWP3gw9/bYihm1Q9jT9T9RT/l2D2XbC85jGZniKiGEHziv4TpZ+9nbj+OfKLqsBoqWaJxOMkQ2n6GAzzUHkPXVjLlPK3NJS8E5ozJ4lsnRm0knWoFtnnYngaoX4c3QfUyZpZC4FFOVcPtYMHVUbaQRYGuW7UBgqOyLdSRu65zFakbvmyIIXNDa1q8jEZaS9NEAAKgS7pMbMNWI6GcdHk6eVWlwTuX8oBofnJg7vxl6zd75m5NkIcOdD4H0QDno18kDb5xg1cTxCeVYW2ByI+JPbQcA6IDMYm84gfeQNIihTiITUeOdm+kqyJx0UNGUQo0n0GOgt2Jhy+BjIEACiQSQOR+eBWdbznpD5x+IHLTtNoTt4OG5Ari9xxVqj+YgPh15sHDyqScm1VoMieQTXh0dZ6ni4w5CjzZXsWMS60Gwr5iK1SRXAEhfzwpzKo9doFrYOcrbT7hGVwRvIZOqMBxBnH0g6EHhzsA+EMJgGQ6TpHzWox8kQYn/iK3rBeKPP9Z55AQgO1OtNzgenqJytR6MaNXW3+3EAQzoxPHa6HZP/3Q7Z6KCLwruPkqf1cqRmhArg/hCg7VS84qQLXQD/UCOLdLPnabmNgWz7v/DAj8OJo0Saqi3zxj+1qimTeK89uC3Iq1leKroXYFbg5nHZjJJhn0B/9gDQ/nyPsLRaDfzSQEEiDnfZBfc2JWZhboDsfGb2DIeur9v5earrIRb91W2jptG9vtUYzbnii5UrrHTB86h4Gd8KivUv92lE/+njaqoZ3kjT9nmmrrLRFBeyww00aQE8aJAEO3OXlzQ5e23hz2IoMVmMMivEFLTjatGmay1bA1H4gvZqGgzIWfn7PhCyzVHDy8Hsf3yNHw73NrR0PB7Sk68FGyD8O/aQJs8ViA4wXqf3Gwap5pJprgDwUHOi4ehJHULCv2zBv0lDhQdDvANy4UDNWrVNfKcOSD8tAjGw/5BwXbx+Zl2QeD8DQxdMpJN7Wh/6kws95D7SRqucVoabkXPNgVL/Hajm9Ug6Mc5tAsH5GAMxZ5WxhFpVNy9MBIpdCt5bQvSvVkkTuyuIz09qmgKZAe4Q7kWmqsUwQQYxDGCkvmPlqzFU8SyCVxZNYs1SzPSmqOrsXrkCDl+m7wRRMQml0788eLeM9clAzoxqEw2KIigiwaqRxXGP0pdYWZShieug55PDgWUHc/nPveU6nMRSxR7KunIH8Xi6UxuRUD1Kkpggc7/FZZcJtB8mW4aNjX/eIOcwshlpiT9Pt15vThsU5HFaNm42GcnEX8UN0aE3prIEDcpSQM0nhrfhQu1Mv5jnrNSvJjHEZr9tZ/lho4B8uzAypzVttMXoX9qAsT3TAI/KGnPNLbazjOrSwVIuKkKHQ5PRU47NC33CxlAzoDHGiYkWv8WCGN/pvCeswTo2W9H1DjjOOeuQgxo1rsmq40DyhYpP4Zzef1feoxLo2Xubw5TCtPxd06cU0zV8K1BVfN3xSqOWN6fllCYOt9dE/LHRicPEhSnH6kvi2imntz2i2ia1MDrvkCsPxcpUkquwZ/+yV5rxwieqeSkF33u2RMyP6jFJIe4WqP5yQIwtSaFTFAeQHe78b3UURb96J+X8r0LJz7BrZ1u019meuhj0Olt7JJkLDFQ0twg/EWnMWPT6r//qOx3eLt3CE1ZH3X0/y/ihJ98kmMPZh2O6e24L68Q3+4m0DvAY/HnEqXQFaOAak+kctzbi+jBGpXXz/nHgs+MgykpnpOlVRdBUO19Y2FtcSByUXSHfvfdIxnw/BAmLzwTe384+0oHufYMSBxDIq7QCbCOZ29nlBEPSeYM+U0dMDjHsZeB7PudY8Bq2GgwDqmDgT57ucq9yaEUCE8Ue9t5yDmt0Hs+e6KgjlyMtSCY7ZQn5T0+FP9ELKeWum18S1gUNnpTa+AaQK++uwV65QIThg8wAiHPAtdPUH4jj7oVhxXLmOJ2yNX9z1ZSymvS0csIsJFtvQ+AdUzCWeb9Vzxfzp/Q8txXcJ40fwJfsSq9IOZCDAzM5gIFhYlbbZUEqETXDsiNhPwGanPGLUOAvLKqPyC6UT9SB3t/wT8BmGC3lltDwI6cVb4EqJBZARafFI+9vFhhyMXkTiCIrrKKM8BGUToY4/rVpvNn///NTBSkeWl2o9S1d6E7hDIF1Putet8D8lGM8am7CvN7wUOVsX5Asg27A2DgnPb/fjPKcAgsWF9Kc4W3YRJOoJmx0AEoO1oKVCE9BGOQBNVpaQhsndugX7Vg4/07bpxlRVXPvAolPHmBgpB87Ksp4CuGEEel+Ez2uynFIdt3S0LxE++iz5XiNQeCw5KEjYu89iS4xBXSRksWj6cQ/xe7UDGx3H87tIXIqG4ihWttu8jduULSrvn/P5f0FrHIR1bw2rfinPT5b5FRtiuhINTJ0o7fLTtRSidecfF8q7GFZg9P8FWPg4SF6hc6diu1Fdz/z7L1wMfA/AT+pgWAj1FjQC3vfoe02ngh/OKjuUKSHDS7xeTuEb+ZJaSSSAFBwoJJjOU47/wNPXW3jfmsUH10H01wP3FDFiF3ngSabtIuasMHkhpZeXF91V6jk9kXcU6/8ejrsrdjnAqDHXI8Jmop8UiwvOrXExcpuWuUrslYG5b8HZPZspK51cW7GaXq7OU/8XO5Rf9n7NrVwY1TbClaXgylQ8B1XankIbo4vDp+i75X831l1opVWalDcWWe2MpLr1I9VYSrEEVCeeHNMgzjAkq5Af1O6/ulT5+9i9j/OdhiVegaFh7VHjlVNT+ECBrwE1R5r1DX9TgCc1DKXhoGlYA4kUjJra2xowThDikhvjrVlHs5FHPd7K/lscq68SRhALWGYAk06sB7HGGiCLfDp1J7LB7Nd1g+wm7y3XITy7cwuvsyRUWBS16Ln8Hgaic37fxhmsfGQQeMmPjnS79TtCzsc7b0Mum/94YQ6ME+pKeoQZnvVkucVQ5DGEqDrqXPNHuTFlcYPgVTrySlW1HbA6KGRkoYz6JG5NR0tPMitOylKjcvbuolaqKthKVLfkYgbu45Ktij7QmWUV6eHD+xsgpEKP8GOaGmK1ZIQBJnzvut9azRhtPqSwCbGHmwe9Lp27J94ASuQjEvcAgmNB6vMHZxHwyZN5a0FkinWiLRIss4vPVTBGFqTFKBnRkenCo/ZlC7qj7P53JB76D/HmDVvJ0xeHsHeqKlIeAyOA5cyd7LDi6Gv5R/d9m1jR5N/Tg/ku9eg7BDjACwnB8RzDuSRRy0s40HSvmqhMofiEvcjAh8fWgL070h8w7RQr+vswbCW2BQoezt+UKhx33DcY/EcnKPQp40gZUTfoMvVj4MSvBeGPTIlIJGWr90A7pS08DMYgCjviWahevSRIfEmlELJDi60BVB8HcvVn/+FI7jiOrv3n2Kg2f7CnGrqyiee/jNY4pcUd4uxfNn8BacTpLHJ7C5TpsO++/rA+64UHDd3ljmo8N3Q1ujo+uqSG2PwTWGT69sn33qQZxwGa1tv8oJwA8DKxfdUcj+eDMHRXy1/c1ahfjveqGmtx1BLMfuCJAHZkV2MOW+r03Y0UvtoTJomh8GAjdwTLx866RExLqLBpAsJMh2KPN4tE6B6k8GHkB/myRvVWEyCc+ldSft0YCpziHDIAt3YXd+JO3FtcUx6km63b4Mw4faJjFZis/Xq7vTUov+gq/10r6RNFCZwZIVwcASk3JXXx1fiwBIORoLxMWYSClEg4BKhiamlAaiG2WjuTb0xutudOR3feK9CznWEF5sx/PASTHQBxMZi3jfIo8NnhDFW+ARSUwbvGTzpaQoE0riLmtjBBcPEfb5bewl8H9Sp2PrsANCMuBb6MVWQnsq5EH+aPWmQsR6BPcpysxyNNrliIT+4YjZVmCflW7rGXtwn8lpSBCpK8l1Yf7WzkCycyA9e2GhCopJMbO5NNhX2JNOr0CbAip77TBJPb+ZoEzOXlyj2mBGg6kvdIVqt7tIZaoIvQ+TDAlsOYJ07vjD1nVauebJezzmBmWOKdfFxcIJSdClvvQisKxJxxS/IpWKmrKHfmBIRdlhAy87OYjXlnrfSo4HUSGCKYmsf/iUWuKxGn4fXDCso92SK8uVHTHyjVfE+39R9hvSsDJw4SA/xSaG92HhiNQ9iw+Aq0fI3O7JUIpv64J5NfhWpIMXqXWh0PB3LGn0V9vPsOEN6Y6CBnswFcHQD+MXSyehdVdDVhAZG01CEeOwD15jmhyWi3QZ0i8Sv6mhZM7Xtput9WJyGRjJJ2yLtCpGKP8JQ1sLS/YRD3VJmoniVulDbaJDTA+jQNQvx2mEz+HICPZiSDxxBW1B5Hb1cQbLDO3O7aOVs+MlMYLe+LSAGuegBW16vs8Hcn98teZr2h+Ph++qlPsyp91cooUFz4rdpDOfVJWmdAZD8B+LS3zVsc6RwXemzaYNzqlUqx+EXeVWULtTnNui8oDOW9NH7uDNFgQeRGSf3pZa9xEHct8m4f1At8XqRrhskzfe9lmSdzuQXiLhRbFtsQlW4u8D4E/EB+LWLsG9WOqmQcTFx45yJz5vVRPv3joazW3RsunenIu5guUHQyCJqKmyRCfnDQ5a+/munANUkTd5djg59JpGd9qN5qHT155PYIWwefJNwWy1+ilxFqvChwenzlAlJfDIZEirL0eHOqjbPPqakxHV3CBKbq+6IQuydFcaxzlHlhbkW4hO1dM9ok08WHUbbgEAsOvLjpvCVaR4Zxbz1lavPM3WcnDUl1EO+8ACVeiqQNUlx29s8ENiBmQjAtSMcavG6cxDAbT1UhgfakbNk4eGmXesDJe4TlZhucPxX3ewfLCtEkCIcbFiIrsTXazuPTIuqJruG+tjrj14vGdjypA9Viej0bDCw+NTfdA9EXERpbMSoaxWYAzINIrW+QnXtIgbBCRqs7QZo2uBXTKBeXbMCNTvtEAQTLJlNW6yj+pJoIPUGSJ4uZvqmeDGkqdSvLfatpbtDmmDNiVYurhKIVTVK9beRjH0j2h492Q2CFSIJiCaTQuGgjnymQfzo6p7doBGg+orcOY1aMBZ7+IbOewt3lAVVIQtDsnCwNdHY+8iwTS2leqgSw8gC9kW3B5RUyZQF/3fLuepqa5T410nRw529ZGARrx7IsJ7aXlyF7J5lypSnkP5YnmncST8PYEdyixD6qFHR8Z9Wh7ZYHige2/B9mvZi0pkn4kEu79deVMo88GUtTNoIN7QgVgfU5TPsOzz7VfLP3qp+yZeTv7/uKCwUSz3LQdAMqZHqUQqK0uRxhQiCwqbdskPLQ3AsLnaTyotyyvvwLK0Lq28eVpaRBjGMTWMmc2zIVl43YZnArm4NAx/ZxAAYJxBfts29Dvg3py95Nwv7hQa9fuhRtxNmk6h3dahbSTz7JaD/ZWICYLbxUtXAYbTkOQbm8+GHmsZlMm6AJb+aVpSqfs49aksDE84BKJ+LQ+ftgB1ddF/wSfS6noMatJ8ooDGDeq+jYzNYCu0KIncz/M3JkJq+PmmrBieU1SZR6zl9D+RJRQXNscv0w0SC5biPRlGpxsCGdD78ThVtlWrp4vQ1g74SwikmBu6PEHfwYiv/bdyc1O5Yw/1osV+iygTz6pS5Qc4L8xWL0/39nVAcafAifkvhj3WsxP6ptv6VmTeDjEO3g0RHY9FaRiyOI7mH5HwtaSeAZPlXOO6YJ6bmmRNlRQ2lxump+cL/LwnJ1vUh2kY6PRxaBg7iRBqCFy0MomnfBf4obh26q6N3Cuvc2qdfqXtuG0Al1f+BpxLc9t1VFYkFkcKiU6LVrWXg82F6ay70oQMBjNfLqjTji8qWm3Clt3csYCM5wZb+NPRu3QWokNDygVq0x4/Hsc4h4p2Tc2wQ6TUScpsRAD9E0YtaBml/FWuht9f+YVk9wfHZlXsm8nfeaMOxTCk10pXo99icwTgZJ+GLp6Lm5wHiAmdIntgFYzkPG2l5czW9xJW2HYiy+JioqTVCClmbTCmx1B6f2bxdADl72Xyyj2U1ZdZhD4mpTX63OIOQZ0hOmYuq+UC8Q6c0aQnnfPne32444GU+uW6pdYM8LcO8GmNP23Irww+dfLgBamFJEcL3Tk/XsyLk+A3nyVpSRBRSvTvLhl1YzL6s78mDioq5/UOlHK7pEdFsqSdFtTpywAGDgcfD+XQh6mvevRc7Gr4OSEODgNnKZr6TzNHqVU/h65Upzu09v9PR0SYUHBquIc85saUED/KcSgL4dMSoRZpFzRmE2nP+ykRYeebZXP4Ujy6S4xKVInwUdevEiXevh0h4MQXcXWODXgH0FgxHs/+IwPo0i2pp4P30c3/ZYn+M4LG1/eF61zaox0kToZnfzI0XZ9vuDsj2QSlx0tlgW6hO8HrYvAmr17M77FCQ+g3WGFBSyYZcOQQjMdhrZkWGIIUvX9PrD1m7K/oQfklqTiqs7ZbVq03hcuYn4D5NE0NT6zGK/N2IQ4Mr7YPMJ0M1piQTY7nfEqMxdx5Sr/5Uj2D9PlFDXqdSlyb4FmbTkZJFhYGAaB0ZbeG70otLSKtT10GQNrXop8TOMaJdrOot+k0f2twwnJsmNuoVF2ENgJ6beu/p8rE92vMVJCSyGmK+segXjKubIftO2U1Ap43+vHkZI63FHVsEx7pWH7PBlclUvn/RU2+XnRJd7ok894WvG/fFIWYASxvioHh0EnH7R1+2CprWjPHRmQeg1gXvlmw9cpvGWHc9MrdTAGpvTlPbCzUwIIwyrRqfG5DqtjfZYvvvJUCRJGf3BdQXBsHH+ApXyXMKOfy4GRv/1lQmch68DqJFghPni9p2jfsQFtHo3o+SkqKy1K5wYe6kvjb5W1XiyotcWNov+PR3o7gp7XelAHvxJio+dzefrysG+xKV6gWP9xpCOHiKaB9BfiVS4oOrsNe400dP+Lmp0Uz9Zz/Bksqmg7ExL9f7G0RgM/oLCuE1W5kmDmn7Z543VvyT3bP6ZetXMnjD4mwRoxPmpMgaz4E5mHby9Vrk1pijvtIv0QJP27lanXMieyGhqOYoflyWid8JR0i5x320x7xKcc+weV3QAHLgCNlMjXKAaRGPdJ/7rCDArbXJpxtC+MLkGurk0n6Vr5os9wrPet0CCh18VDfIgjZrATFdFA2+FfQr2+ugW+ttSynDdWdLFFkjnUAPkIAZot/q1OOa6lZZQiCvcP7H2fkeGNsbNrNiaYowM6nR5I/85NDjV3q/8wR2DOSj/X+UVSlKU9wnsTHmcKBiQvEGRwHgjzbC38mMYX9c9pqetFVXMxP0goh9G0awjlaEWfyxOdckzEB6dTuH9B7BY5RPsoRNNaX/AplNIS10hd6MfrAQrRvALZzmQKX8+QpVe16KINSGaT+MOX+yERsTFLLfDIcxcqPcjmXraCnUASzqfMHSY2bqH0Ty4qb67mnA2HiCaLWde4hoq04Oc/IygyHUQQ42IrKdAX/ZrEMdbxkOgd32j0/wPBtvZrn6REadAYRwL6hn5zbpTMCLJ9yRbfsihHVXETcw0J6z85n7FwradcaJtRrjB2qWTvHJxIACP3swN8x8P3Sg1h1XdgJdZQZ1zr+iur6XuvKzxZIbtm+tuugr3/oMpFDLnfTMmBliJEyJH89mpMqUX2G+o7zDY0vfKGObyzx83f4uPPQcxc1FD2GFc92gNZGEyi4jxITWoXK1w3kODZ6Z38afIhIGQR2PKHzODD4vjMb915b7g2JxRYlNCTcqAZORwCYppz3Vx4cnEki/E2Tj2j+9Ph0f0JFf4j/712KAOH1e6anIa/I8yAxsWvkmdKM+1h1FF87y+QhvJ5DAhsyOZ1uhw+YUb0dRVKhtKhsxyFVXaHQCYnfCq9xm461e0P/NhURO0uHHYkNoOxXJZNOAeEF9VBQt5soRtLrk3L3lFsOnOnk4edlTvmLWj+nlsfmuz1gOGKJU4iKCpv3MzJLiuM+EEYEgPD0RI8ye196A2VQuh6s5WA2+mgmFHIgz9mripUPXGqNqOVZa0+TeQHsPWqujsrUs+rlNl72AQx2dPJqLrRv+ellKtv5Nw005XdOrKazYwRy494856asH1f2dhX4LXPZLXKuD2c8h+DQ5JW3XTMVlYxwSF3fx31pgBsbUHzGZtV1XX7pMnEiEZvy+TM8xaYcozN59PidIt8Kmvpp3iRq5KHz2xLs1u9e1ULZExIDkdaFo4wNO0TntnwM1QzvoY1giEMr3XU7QvxDQ++qrLTB+rSqFyKJIViDZdjV2pRgnaraFJhHP/O0pkUTWTZGQ0JW1ZSVGE9TLeQYrh63fbbBJNnscW+wIp9fU4TWK9pD9E2kCgWtE/U5ddPc9dKo/BL0JXMZRXLMrcX38HeAUkrOjDfJGcQuXr/ROauYVH76eAeBUdk7tYlBGjgsX3gEr0MSegvPymfuhh4mjS35zv5F+3Tjz0yHXi+DXYXJYXOHJJk+90UAH8brLFWErlQG/XMe2vcq1dsBGIfF97OnryuALieQLSPXE0dOXObo/0zjggmdq5GnKHmM5b71qMFGfLV200zn73s75YZc5ER12RYe6Z3EKQSwavtBXAjwpOToNwCEINq8nVGdx6HmwipNHyySMN7AYZwuAS7Gyswm5gxmBXfXkbTUzAWOHOxshdQ2pZUdm+w+n2tUOjttY7tnVg1zUd+RQ1zHd91jm6r06lHyZI401YHgcuyCEXOZeCr1oniwQ3zqumw1AwruD19O6EtYL0ponUfTe8GjZxtrfCDkdOdrB4cNYM2m6psa7J92CKIuEOX7MlaOq9DSwH3Kxd5a3/YJM1xp1DUV5dFezjmGV6JntFQg+JEnjNQjbcBzaej1zaJEYstEyiosDUdhXsFXzGotLJ+9Iw+jUeS9gjwdPNjhEx9O2ksigKWCiJwYh93cp9Gok3Ss7rlSJo+NBqSOQc6N1Lehb+QWy4ciYa4EBHP4ty75GTfVsNl54dBef9VRkizyLsTfypMoUbuOAMqt3VM1m/migpntVU7UatCeX/eCbYr0A/GrqNW42g9jjvfQ/3UmywAsP+TTl4mIvOtmUebIm55z/tcuVT8UT0Ez31wTrEoitQ2L1JqjhX4IcS2ZvBNN+Svo25XYvx1/PIMnqLV7S1YhUKJAQCU5+agwGCgbRsAefFk5KddhFAkDNgeo1Ea5LRfp9+WEipsTgXRahfOCNnJVoCdQlCfPo9dbaO3Rr3+ukik1DDsJYiVHLrFAnSLa6/yYpnqAfvUGt314mFyNFNq2VDKXEt4xWkCt8oFQXPOw4MyBNwxHZqQC/54+0hU4+LXh0kyBIYQRLHBkEycxXOLzTJ1d8G9JgdtXAlGdEqAXKWvh8EuevNFLQByIM9y/vRuli16e4fnnxqRKmEoCSVn9q5lj+m5LcIUHKRZb2uCcHXJEImhzbOqfU2iAfpyxBJgYRdVDokBR7PDxM3ypCvPNvHtlIHtsYoqXolDjHGanMIG79XmyBbsOFunLrBCWXm7i7Rcm9MtXntv81LZ08uUtAWxI52TfwHMm6hqKh5op3YjVSo68ra+FBchKYV+ZWv2XFytdRJasPTLyLYAIqUjZyXqHLMH2C3zbb4xHCPMRQFcFzi+lvYH/YAXyMRIotCZyc6N139YGB+0eeQwFtnEUU6u1JcnHV9TT2GW/u/9Cz+mS4vjpxCffOygIRyKiDIj4l7s99Hau64Emf/5dvqjCyJ+Uhaj6kBuoXGIKJH0yNQPsFYKucLaJJdv/SsQXUmvKzQ4iRaVxQcSFDSIUsNULkBEr4PqlUs3/1mwACfbHHkOMTwFiCM0oZT0Iqq2iuTaxStiWq1wk4sM4QCMgtnwckjoMnGJbrP2nI3i0m9X3pa+7UyGeW1DxkfoF1YggGqc8yj5lqZS6Peh8Iu9oQWiTKQHE0pXIDVD0z8Va7nsSmneE0xRhk/C5pHQS6/X2O2f65rApSijoxgFl5uGcux9d+MA+V4aOsbXPfyi1RQ/wipFVrf4wIgTTm5CrGAF3DuV6Zfr3Cfz8IsETlWNGWEdPc8y0SU0/sICv99/d/r+otGu1GRwBlHGHjvpLd1TJBWKQ/KwEKd18IDEw/VU1RcNNDPfW2cpcJrNS4+r9nUIrgMuEX4HFca6MzIRDLGp/Uu948iQfkJjabEn3SF++5+6UZwtVKAB9oo1IZY/FpLyBSA4QatDBZwfIxwfqmv0V28Zq5avj1oCpdHiwVKYoUWdgjAp3ZufhQQtfLvvd+7JOfFV/kqV+Lh1W/+8+V+ZzBJNTYBPH8ItOno8mLyKDQkOJoAKxK/eiJyGaWzQlz/G/hZTlU/lNj8rqMu9LqfDnZDvgSDLH9j2h7ETfZcCxqbNoy0XnjsUZeuGnBgJRXqKGZFSSRTvlL4ayjo5MblgTHuKyr00rKHt/y3k5cKsFw1lnvlMerQjdvMkL5YWKy7yxIBAOjHnGGg0KaBTcpsURLlNwBAEKtPmUcyzi5RwcIdh6uf++bpmOX3dqYvzXEG/G5EM6F7Cz4c4gXAs0c6cLQpjdpCeaB4M/k+XQ4n7Zc8UVongFxT21F8AfwNHhVI7TVNPzugHIEk9lZLCKn9RfjbTGG3m/tRycmHKO3kjp0uoDskjvOsGpkj40x8egACNRESBNMZXwI/25xdcA0LgtoKAhQJU9XJd0hMpQ8uLH3tiImbortmfYmPYk4eRCR6JzxDxHvVMfvnuscjCrN4TzhpLto/2VEJXI5wk8+6+xAGnl+xFgvX93sZDMlL25rK3EX+sFn7/WSKPMT/TX8y0Xwgq+PhkXZphp9/vDPqbBP9WLnFlUJybYG9ssNoyDb+X+uQjYarN7UHTK/jlEiuD99ny2c7DoOzlL5LCUk0Rym+gwMmGmAZH6qID4c/V4F2nphVEJYlHDp9JLXYlj0ROMnHin5+NkAPTIHNlgbvOzNU5eQuafiqMdgg7RgXcnFNFvDuOM/Ek0cQGloq/iVvx4SpF565HsMsk8WPJLPgshvQ3F2znLX7TrdWtqXtTLn8STRqBdWGTFg+YEyas4oiwacwqgnfNcwvoZE3sc56R5qmGCnpRDn16kkVdzV8S9plMybxcYpIItdbNtmGEf6KqtDeVX/fac/jT/j2jsCBMnfqgNZNOPHEVesfY4K1+ommdITn3ThKOdthDaiy8RXkUYoLnm9sbHI1qU5aJCs1CBG/moQNNwM8u0S5Og1KumGMRjFjzz9QbTt8zREH0jTk+d85Ghjcron+N4SXFGrrU04NWEibGIKuf9kC16lFshKQKnjdH6dyuwOMQw/lJUQrqGRomgqZmCAriSz7CJ1L4g6QphHGvgoDh1jpFwcM5tKsrTM7UHCuno47Tj/vvgBD7Kc1kYUZ4AmsToI14R1sYT5i/ivIn5I4HdpQfRjlOOvlmdHUUtXCXv6qP5C7nkrx/IBTBWXKVhvzzogvFq63jNYBULMli9GXpuq8n0txJCVMV1pFg2ZYYOOx6LDfHCrzF84dwJihXbpl9hI/yFSgmwpuo5THivDN4A1SsLON716XrGVlnsIvoCFAfVqUpCARNfkuLLTKBSzEiNh/JHBAanxUMW/h7Bw7pIaCGv7+OnDWkwXVWQj47wlK+8lfS5mPhbwMhnIKxFwkYHTvFiCk6QdK6hXV3mWy/36ayah9ZZg5Kt5EsFyBvUzhhDhGbKb38bVVAFWuci3TZ5uY039HHQ+iGr0hVoZggYPFBy3bmGbsYhorovF1wT8ADHdw9z7LLHOgDEtMAstENNu4h8W1wKS63JWTxG/yx1x9Rl2DIKBhcGUGDBtcAdpQGdxqW09aKbbTP1CWzWalosZm4FhlW1nkKmt3ZQ+j424SeR/nlMfszyyz1sy+KNsvwzi/WacjpH3x2KAhYwsZhPIMTcztRPNg+6G4rl+1aAWK6TqJDPYsK2BFbeUO6+8trYSz9uEVEvOP/HJNkUkKuY6lnPfMGxjMSRQJMgcYiOk6fetP1UGPdKU605ZLOLFl3ALldO+RtVV2oz646YlbNyKY9EdSOZ5r1kuhyZA/Lr6C01tdJ4gzB8jsfHAjHJjSOIY0BThIU/hNf2FhS4rsVcYNcfubEySc26w2mZDG+4ksaajtMOZU2EJuzqW4PVleAuiWcChirMITfh12rVTfCSWoV34aE7UL2s3VropTtlRw4xoTNC4aaMKGWOrP2CMbesCgI+hEsnC2qJ8xpAWdm/V/Vrk75lrUwjcOWoEw8Um9/dofweXpwQy4SvrVp59yxcFrNgi1TFT0gXi90RRnaD00g8Gv1PZCvRTo8GtIx3ejAbt5RDKWACEa0jNUTTgqD35850uFSNLqOOrzXBb1nq1j+nCIa9axSGOKWUaVsYkdwAbDc+lvYZyHHrrX+HQIZ5QmhcjHGW5C6ioOCYbRfndyWvtSm4LfyQtXhXzUINpIGghloPR7gHCskH/VNUW7t5A/Nf0+SyYFmhSVc33wvC5BjpxA40GHoL78Q9O6SUYC7FEnxsR3L/KN6NwXGQeOeIY2p7nnn2J3hlSkBnT5nNV87haAKvPtbW/bR1vUQaUXG5/8vopiyotsBy014DcDt3vd+TxIwAZbPbRZLVzm80GM0i4MBkl27sX/9e+7TAUnmPZt/Qeblaiu9XvjnnczvrxGhcWmvJejtIZdKvSA9h4zreLuqbigJ1ugTyemyHbiPubNKULhDlRLTaP0sswSWEGy2hK5uYFzVWUT+cZ3zK36eq1QXd+r0prjHlS/oorSn6l+aSLkNYBSJM5ku+4KfWwF07ktiyO6s3TMRKot23huyNOF6h7FaVD0y8DIVn9brTGecDSeycfsIBozvtNKjEfdJGni1u1D1W06ZmfnRhBchWP4Sam5q+6bLobTMUQUKs67h2bmqhLsubyvyym17LJ4mN3iG9NZGB5jq3pOwWgVjgQLyde+Z10nTDYgQdvLTUmr5lB6nj14n/l5B69NKRD0zWEbT3SBhbUY0j0YXT3C9JACnpEwRRP+9ITMW8vHdhLZHZi5HQk8QQQn9PIxGa8gRrVjVRDs+SXY8vtgzsunC2cUN1+Cho9xV7jYM7UaqckjnbPM4ZDr4QV3Z0GgzE/+1HqoiIo7rYVjPtnT99SLtXyoEeqwgu5+RTpoi41Y8RUh8qRF8krKycxSc7Iexzmf62x0W/frPoTZ2b+8XxtF/6GLMTFoHj2wREEYPgcZkqmSQ/ZTqoATI/8KSCSuCRj1Rspgr2udk4TSkEgcZzG6Kluq526u0xpFJeCR5L40rSzwcu+k+ikYVhGwOzO/OK9/w9gdRU3wWwIZuHjWKOnbOTx5AxUuCXb19HtToKlI8Jo323EYsjVX8ZbyB0AEgn0pPt36Y+dDCp0XnFhqmm0LpZIAr/eA46FIPWxfkqHXcw4xNmG+2/ZwzNw2Dgye+F4opVOtYjQArHMbiImqpc/ppF9hJhKPtlMZY/J2h9s7v76kSG1crbK3axXtTI/5E2BVarNWF5EtjHkSMz807htRQ//mCZibOcGjzF6KPSOBb5lqYaJpQP4MUPPMIhGykb4qcSLJ1/a7q2XD4PF9L0KfXE2VmUIrwodIVG/yhSTIPDzvNSgaETQN0wuMl8razeBYN28ufV0XjhBd0/2n7Vmr6cg2XmUkwAi3H1JcpPTGuc/UsmjKEOsYpswISTB75sw6Fo8wWPyy7TwgG0P2V+NuhzmbRbqEChaM/1rXBPVNDnskzYODJ3M3MXMuDtcIHRl5JfrMfSOwgDrfdsbAtsPmBxyWoyRsIvoG2mBbUkh4pxSrp3t6OrQ2HuLYJK1VJZV/oGO4o6B37KpAs1I7yJSVS7lvCm+4dQP+PNFjZ4jZnl7fO+dr6sloJSLqQV2n9B7TfnPZmOIR//hjGG2cFpM/t5Tc7rXVZDzc0IFIfmUNDE5Mm2ODasQaeXGP5084ZENXmVXcc6E1CFv8xraaS6zj+GzefS8fLtEKbrOrHFWsIvtNXWZ8O0SB8qMtBf4LL7TsuTSntjhteOuDVVg4dZKr6NS5KMU9KxS3VmPP3ftaefo9miEYCbjtR9NB9P0qCXeGPbfE5OaJZFQ0uId86kynrvKi2UW8pmoPr1ucl4iaKJ+WTJJMIEoQZgEf3pq5FGxil6LXvrh7pjvYDNJ2XQIhBxhpnXt/M9XQizoQ0jUKAgq4dSHo4agT8V/Afc9mPwm80qEseapDBGcAsWcbf0zgMTViTn6t+7NESvvfxUpzwSf7vkoHIIO1pC5WYurUJZRZ+PK57dKcJ5e3qo+Jb5iI+tOjQBUCf0bn7IS5TX7wNFaJS0/ZPKti+vxEgKFsymuqCl/SVFaG5Xla87zn10rUZV7Y9c6pzNPminuHiPi+eRhfDLWpdQpze3dbQC65w07fVxy0MD2yPn4HrSRhMRT92raw8sw53bXjTsvlr5F+P+B+ouJqLbKGyIHGNwNKUCWRfeOHQ09+RmE8cg3s3QXIEHXBiVWh2YWrd4TfmdMFXsEWBNGiRK5vtNsRpnDHMYu/Xzij7AaKtEwwPf9Ri5Zr4gzSHSlt+Zm+tl45qXy+Gejg8yYVkH9EdmLKtJwe88WdYvW9n3U3LkcvVIzmWDMDS8pD28wnG8fAn+bA5yAapdvx2Nd7L59ffiH3J0II4bTnEke+5NdgQYwrXfmeqxAACcQj3Q3A1r3sOgL5jjcKEVgP/JDe22wuLDLAZ6wEDZ4tD7Im/6y/T3JVeZl+eQqMCt+OcNwB8uvVvzpINbcKBqL4CD8OmQB9zIQNxn1WA2wkwL2mJYM4hQDbDPNY25U6fcO8QhMPO8Nur2SlvvciCl4wFOr+ey0jPRYvmT1O6cy2Y74X2zCS5in73svr4qWTMyNv7+i1yv2Yqam8q0aCdurvErJDCT/XhKmcSJTF2sMiHAzxmerlX75+Wc2HOp4Iczb2tWTJvyjRq+IVKYoW8n+ERWTQRDl7yjCtk+YQ1702QPjCMs7L6sYNc2Ya9ojM+MOko1LegqKftCRiV0AvlDclTDkoKdYxm/BJntCIr25pOG/cqMKnMoeQ1++q2Gs4cKB2if63JBWUpoWvJKfpnNa0/CXqTI0gOSJYnu8kAfoy+sOyfNaOgP8mGRrzbBiOZDyhfB2cPqgVNx6PKCMVINsCkPJxGSaYqvk39NdLYFc6/sY3GqCucdRES5ZyXsMyr2WccTC8TK3g3A51z5BnysXchDylN0B4xaIPk1aKrEuTetRcjho++CLEDNPHbCBU6WYWZtBrnoML/DGn9hV1Y5sBIJoqeq5JFHbi5mAAijwhoCY109wC2+CZe3LxXdoTSiBV/yI9KI/+kapXPt3dxIUybFxWwQ5UQQaef90vD+pjznokeGneNJ6Nq0BuYpsBp2UEh9GOI5HBcnK4Q15eXkvrj/V8pjW7pKzlhJ41ujj0X1nSEbQ1myY16eXusqhWz7OhdNf2cJ8rvWFuROlb7V0kXXvtzQQEeFfm1oZMwLUkdCc027sT2C8QE3j3VzdMV3ooPwJgxoJyfTZ+QCGwu30RSLrI2CIFUFRJ24Q7aQgMKmrJhCFL29u7G49/qZhjKL96Qlj2oieB/X4gbmMr3BXPyGMmjgSy3TUYLz/B7k35c6pC9pVr/AJXMgOGs5BOJCot0T+OaKz9bzIEf+eyg+kRsLnOXx9LqRA7lF+ZXLVzQ79CoskyFdi4CRrh2G3SJC5mie7eZOB4H6O3jLwkYpP7RqsPebT8yS4SvSIiDAZfQNpD9mFzuqeEKgL+8KHuEL6QHKihMr7H48PQkmXsI6oGzp/6L83tBecMkb9JsLVr+2JZtEpYbLZ4UrCohhIX/AOshiHvIE47m1oi1vqrU3niXrwUKkkDdMNUnAWv9J2qTc38Xw9uG3c2u5GRofb6juJlwQ9duj1YJr9QJ6nf8zoPe572pmHOcecOLIu8xqYStXOEkraIF2caw0n8T1bZyuNah+ztOnBmpJcSE2jBs1+p1JgdquTvZODIsmum/QgPIBhX+FD6AIL+bUBm1N1quo1NPvftuDmdK06K0pekjdNXiduFQVm1+8KNqpImWoV2TfcgDdd8Od2UXkq61uJnNEbUV4TTquhyi2BOTN8LzQrctIHC6fjbE+J41dpwdpFQcy+YGrWZ7ddk/sPcp3739yxkHvpBnP6TXeMB3GsTUCm4LFgdsATsXGWyRO2wfokucqceh9phwipK6GadQS9pqkRfu7vBl3qbLPY45qAxR8I/qDHEQKZXvFaMwCRIFTqTDpT/spcWP/WJbo2YLBYk9pUb1JbkOyLe8cMqJXjIOT96hxcrjhu53DSXGc2NIBmW6y/tpsuyms/8hwfzJXEj3fzhrM17PZ27SBeCKE4G2wBAJl5Z8kkWIo/pIsY/tm/lxclAzJqHjwWJGbD//dV754nFoKuPM9pOfEi4ivPzdRJ+EcXAKu2GsPoT0wXMhc+XufplVNZAtmTgG9YIl9RtzyxaR3Hw/D+ydZ4i9yivKVO0T8ZZQ+R4oh8tQiuxx5HQm7LsV6MybgzM0ze4VoiC4DVGKPWgIGwNRk81bdNC98bdpayhEbB06EQcvUOZN8Q75gwXRt49Vq8/v+5GMJFgjo6gczwx4KId1xIDsOnmwGPztDXgApcQHlLK6mIt1cUqk40hUeqzp2VjLbX9a/x7ZQWKVc5MnWK5PV64DpJBhx93nZgxjoVxP/Vx/iCxY9nWLh/WDUjt7I94yHVbt71HS8Z5Gog09Vqjz3YPiTj0Wglri9l/JwjXuNA0Gb9mZdrJQIXzqWYhSnFUJCRQVNSDIfRoSTYjJNjTQrcCwHjXP1iW5S7EcT3UyzLklqe4WIQytD3SEPu2pw10c4/nTBb94+i2Z3ieZvkhVrxK7QAuVLmySlYD50EdmWRH2ZEbTLgU4vY/3gJmDaRlggcU9rrlD4pU6aWtZCawYfHWOJeAr8ZKXSyX03Pt9gJhtVnRLe5+RNowIKVxycJnos4vtLGHUmgO7tsTKfFpkIoilzoFtUnm8cDOhANTWVFXUXsfI80rm3yic4zNTFEfT3BQnbHHKScrTdDLv6hK3ImMWofFVWad/MEoGxl4XqkpF4KHBXqnB3BCNKZb0jepdzhMy2SrHHcecpI41q1C/N6c++D/rE3AcHuaC5X1ilwYX2Q3tOjZmsDlc1KkJxz7+UyoN2JfZIyRfDSrOdzezXVP+0jGEQGZl9BIoyotEi+f7+j8t3PgOUfqS76SLFuM9UY4coTic6+pnUnkACUjI2ysasy6o+8CbA4ojyJVOobXxJTpPyEZJs7mlfoLp30WCDqhSJA0f+2nnWaZUQKN6jLh7hgSjgaN3zNA5aF+JrXmdeW6M2U/3AE/0wKoeXv3KARCRmW7u4bXumgchI0dVdlIzZtCvmjEg/kdG2hrUP2aidqTxhVra5DiJnfsxLj2O5n+a4k4g6lS8tHZQ7UwtiASFOX6n+pias8nLGZs1o4hXbSV3947NUAdsdwsbLdw/q8DF73XPBhivob2Ac27l5FevB+ALFb0GzU5v5mYpKnQRCz9VaNWd4fe3zlv2Yade3zxu/i0CBNGfHSunkipos7KJ3s//5hG/evFmOlS0yFS1Ea3U9cpGC2ByW8N2zqu5EApAKUzGwHCveJCDLxEaBY/lREprGHs9A5nddT9l5WRw21TACRhiHStwb+cp+n8mzqTTtFzxNP3ifDTw/T4I/AkCwwLiJhxiQ7bhETgVuplaq8xxZtVGj8aqq9OMoZL/OtxY79J0mR7/y326MEns693lW31PfEJTtofBMB+8nPAH2R6WCTH5kJB2/l4NzQGBV8eLfJSKXzTcRKzQoO+hLn39OxqADr8ed05pm37A0xGWcMzJt0QqXOhNXKEziUNAkCxBM8Usg66B7KZzMBm6K/gAxrvLLfKeJ5WGBRNY4jLJUA7u3fmCBkofOA3mzQLUMHo8P/L0PbeT7qRrrk8GPPJM+WNikS3QQS2BM08cKf2LMZCGrscK4g7zzPHMfmnRxdxDOY5jWsLjMlNWFOjnug/EA+YYGCuzHSjgeBpTyHEuiIiWvU2Aup3K027HpKmTIH1YG60ecb0zwOr94wmMw0lcY/NSbhXKRehuB7dA4Ezq+NLbh8uhbacvUocbik6boEq/KmbfJi/8iVI+Fx+ulAD2FZshP80FRe87Ojex8vU7dT8OCx8PwqcsJR6toZzdrSOuoi9n3uWJA1oW7mjHipb2YJvtcYWzS8XQCQH4KZjEUmgr7R+z49mAGHecEuI0JrO7TAnmEqs6WI+niFzFBbbgMcQNkHwZ4wVs+mo339lzt0x3sBjt+JkGVoOCv9zpAP23m1IyUifqgMDVp1VzRoY1xD3Ou+a3HlOGHsqN37VF5X/3DLzoJUKvEWq3qGIQVINWIE5aJfH8fW947GayQlKgGMSbuAYwWqWt2iEJm+V6PhpeoDU9nJL/ZZRbjGSGivGNGElrItzSEkHrCNJwi6Uvh0UIvcWreuLStQK/YMP5ZbloQSNrYr3unipv6xEbzLl573CEpxqfM+ehzrYEaTvwdXHydPJrTlRW5qY3mnmc9YhsHL5NzQJNnxkPGdq5YdIiqjCOCZfzNqugDE+NF6dAtkKqXNwEdw4ZyWpJ3zl2GrBMgeNUrE9rp8xzsntCgBjg84oRl21RNoCjFz3mv8lK37I2l5aVSIa/CeBfasIbSmowKcZZjhVjW9dsb7BA6gT4AxQPCF/3cZAatoIJUQFowpLeiWPZbLShl1TqGopGsdVSIbe5cfClProVJeaOtvwvtWHJGRWCinJlGuhrMqDNA+X5wgr7IlUxhZL5POqrI+ApWfY3n9X1f1LsWEV5gYS3nvUif3WUzAZRd5o63PK6fmZQNwnBbakCWE0fdTZkjtInW2SB5H8CvOomR/I7b74Fsh6OIbANovQ4ZW++kUocibyTo8kFKhaSP3E/GiwMP/NTvmauudeRvvcIVVjHpLCZugzUK729JH7oIZagWgFQEQmjMKP1jE+7HuyB2RpZxSaPzNw+NxqxJJ5Tt3ffnw4WYFMxivxbxvJLccdin0LHufNwtObWIGxpf//bzY/wywpMq0GLbdUUZU4vbCW4FasbUeuk7bRTwBqPwGxQBrcia4shrDYUlXESm+6QSsqlD9lNPObHTs8gvIxwblxHR3I0BB66YX2Dzw74ydqdoLDtXQ5ebxaMFPd/Yb2nxAD4bUYMqCbRWWS1RhAQdojYwwG61tXLBe4oG82+CS4Ex5E2mGxRn0G9rsx+aezhcvaVbQsiArhq7nvfmebQYUSR5QrAILSOtnlgKX0SEUBXWGpRFyEaxv3hFZIZsoJ92sV+4MokzQePV2VZxSFZlYZUF9/tdKb/pAKqsn0RjfHvo3eV7y5sdYC1RAonML+636JVQMSwNtqdQ88/vZ6DkE4/dxcpqT8Q5+ZLT2yWmGir01LAMEOGhEwFY0LpTnwocHwsrnrrSX62TAR1t3voRFpajLVkPXiSxHsvmEKZ89iC+5U5MY7W1Wr7A1I42FZHSVb5zZe1N7Qa0ruqgyrBw/2ZS5QL14wpSDLD+PjtlmyaE7hGqzKxLslHnXKe7D/nS/ngvUtdQHW6HuDz2ca2TXzY9pLdamlENpBd5AShRBvpE6afOGioRp9a5Hp5dEC6+tIMAXeSWVHctRZ8pVSPhOQxVQEI1cr+I7l5HsUUEHQ0UW7vmEylVeG+V0udnu2MXcEySQ6rRBAufjxjjOo2TZk9QrJwLSuorj8Q5MbSCskdZh+1YXA54TNiVK42rFPwdNOYrTvKuoA3nEj0gP5kEKhkD3d4rCPZ34O/Xiypdqc70+njanzDynFBuecHWM+sb5wQJQstVQoynoqKWTkAETVRCZH7mzH/uvcqckLEcx4kdJndUL2bks//IBbBjcC6xI27LfU3x8A17Kzgph33rv51GNOgfhTpK9RfhJ+Qif4rs5UsKaNDsJ4UY2j0rDnpZWVhd1xDUb3mLgeRW3r6T6X7xKP1ucM95Dki9Ac8aOlaBcvu1QX5MHSki7losF4FQg6cJOSJjpcctl3iW3cNSDw8ZFIkOOe7a7QgMBCmOcr9HgblnIrslMFffHiBXS4vrvoJkTevUfPJXHG2wXROF9VfMieBWvGC8EYxUqlLovX52zUEr6OkBjEr9A15a6DzapN02+2lTdtzdsKBrJFHSfFNhmcIlDEhuQ1ZyJUL1IXQ1KKMmggbOiRtT6tfzzncIhJ+8Mr2CkHPmiVathLpsT2y+1bGoDpMoPdJ5nl8usr2uy7O9U0r9mpjijptYoZmVC2c5gaMlqJNgVB0TJl+W8SQ5j+XK05i6ceX6HwJrvXhJ7M3tHLJxlJQ8027xt3WhReYUmtgPZ20nvzXj7Sqmu1WT+q7AGCBW9wo3QuUvvCb8qqJzrPELtCchR30XpztN8aeemyq/+kRCqof4fL9tOK+/byTcEhL5q2wT8Ykaokr7qID6NUReg8E22chk4WBRe6r6ZVSycdbk01XX1qRbX0DQxCfl4uStmO9na1yxQ0Y9QhdOPUG90n1hQN8HPMwt2w8uzT7gv5H/03thZSn8iVIJ2lNPI7MbuYfiDQlqviUwhYImVtXYRkG8a4e0n97FWfgeE6wVPtbpxhsd6PxzR6SWUS4S4dlLElQcFwVv2T2bijIA8OdXpgcPhN88vzZvPN1OkYOaa+44HOJrkCnFz2fpkfUmsiVjxk13QePuzcgWn/DU/WUea+eaSFRRwgcPLFxXn2RJW+ZneEt5ekfDf+HJmmZ9VNtWhAE/X0ruPRZZ7YlOy0vWE7Wm4B319joreKpNFxTsGnRVPK7sdRNduAmMOUjGWBGKGNp7t/I5wm+fK5oXAzzLLLCGN8VS3qf0iuvayeJKz773xpBRyNPFKAroN3c5gHRzut2PSwFpu/5pnUKtQ3nodpRvml6EhuIDdO5irhtaxzvTodlLTpLreFZQkRIfCpSsNdlxFksljn6Yb1IeuBCT8jMFa5x1O4+qitkg7W9LiiqwvHGu0clIi+d/9+0ZT2bG1/yEHaHSeItvMBmTBswMG1uSYIDOap+cv03EsV9+CCPja6WPExT76Ot84YuJAFtFBLVJTU2GSczZWgnC1pKbBuT62LQU9bR3KDWE8sMR6r9XhoO1Ho7x/cYXSXImepa145wpk4wPdhmuLecKASYgwv17iCRuuGerufGIM/LNf1DjUJz+P+ipcRtKADeA9APJiMR553cHbl9F2+f0gHegYotBAhd2Lw96WUDAH6CaMLIgceqroKKYOMtLbks54CCjGBS+ZNwKQDdOb0TPKdy9+fzW634a76B6mlAYlT2Raa4HLB9dgjfyc+Vy4lBUBGbtXKLlBJnXHNy4z6F4lANb682ak4oyA8ske59ODF7LtDqfpsXxt8OMjf5lzOViTn4b2YbIFhgeBgSSw2q12f6y4ekw4zCrU39+UyFiW7Gz5DqMrybhwHMEFZjdmktOkLHp6A0+VJEoGC197oSEn7GHVZE0pcEIhtkqkDm2OdFJYSc5nljhSRv28fabg69t4HImrh+ZnYXXJRKQi+GKE0ZVXC0i1eIeKdcVLIfMFEj/ySmyMUXVr3zgBHKNda8qNTBDmQfdqtfu1l35gjOWGOlDoR+d9IrNdgbniI50NjafaUdhCaq4zLpICVsrkwLWCvRXe8AdZ45kuO8dMMsBclupkvNS6o4bqkwl3ET1vsABj1tDEKHJV2CRdHuXVoEX8nXpKGdbawcdYgoVmTuCwXBTFx0MftDe1D8dtPJMRiyC2o/q1ZlHa2ohbNrxtIUvFTPGWgFGtmoezgc90UTeV4OcG/fBiMnU3WOr7nUJF3ke/+siid16u+GZ1XN8Cj+xRpCfh4cQ+xP3SzjE0oFLM/X6AhMsALut0wF5g8reJcUt1bS3NrMUX47vBM+xaODOWgZQAKnZ2s9GdgvPu8ELA1geEQ5wrg25PwH9WUMxTBlw7AQUWz4p5WYhvyjtOBw14igAloHJEGnwotywBVVHE7aPZEjOgek2r+7zUDplc+lOvvHzrTW7Tzy85vyggeKL1mrSnkx05GXMUgFFc3dJrXNcgr/wDS+KsdRQScAdDEwMAgrRij0A9+AqRBiJLNSp8rPj8A1fGrSp/gGmSFnxTPsUSR9/fBcGDOL+w7WO1gZv6ASdv2zZeQoxn/TQstrhs3s6uxIrtKN3ktMxCmed7c6ubcQkv6c1dbUrMXorCYoLJO4xVsbqxllM4iAhc9z5WFRBQ9H33bcpYdiQr1DhLlcnyv0DRa/M3Un8zYbj9SHSHdVasuRc74bpGeOiOFlCI8QH6VzOs9oknlkn780Wrig7JYA6YLK47U6i9MaGHzKeZGnBcOmhyJaYIsHlfEQTwouc1dZ4sBaNkY3sUk0pw751JPhcJ6crSnjKgXbwV/HzjEd7hveFk1y8f+6T8SLIPubTf7FiVqxriRW0yxMtR8arxKEeWs2jvA/9wSE/+c0CUKvUYtQuqPLE3IiAdaQBZiTaw58BaDiZ7OtKmNns1DDXM81aNSPlOGXFTzNhTBZ0G+rYgTfCZusBn4Vav8yCdVXa3U9o6AuDgKtiLQ4oftdh4yqrMg1ZYw/0vq5YNk/UkdGJdofkIB/ReOj2jmYJOF4o6uh2KkmJshxY/H/3NT6DbFr/DhBrnvXv5x680PIFEEIBpvxh+iqp9PyrC6khIkRl3Yq8TqW3OvXB4KWW82ooHhXuu9bGWei6ofsaZJlQJ2pJrFh6IppUWeyswvQKGfN6eXbdDeeNWG/5TNg8cAa5crPyNqQbg/fwhTuOBtYw5Dtoi3at+PObuRIMSLwCcBEflr+oQ70elRtGa+/TeCeXL1pei6YyZY+KzeZrkqWOEyk2egcxfyUeBEJ4qEGMVmIc3ASPWj3BTqeAXop0FSBLlf+OS5ZWSeiPqgPDHlvdX4W7PK1Wr2kjG9s0gzsKZde3YKir9P8ldszmNLUfrtXqiGKziNG4APEVnHi1tX1pZDwwPWB9UKxUYjnnIaM5BtPWjvxCITOuTSxE5oYfvCoIl+rl7kgOFjpG4Z4duochRrTnKC9tK599SO44eL5PGb3LqSMMuZTh2R+Uh/9grNfrgMZRnUjq/qksBqXf3CrkkAmr2gHweQF4vsq9qauyUxER5x2156xectFs5yUSvxnSypIWBoTr6gE3dYIiW3GAD9g8DTqYxEIh+xKq4nblYpGIit3B3YqgNtQ079HBs9AlsNR8GCLggmNdJZdObGxihNjrPa85aBDfj1MYWg94INAt2F4ouRE0fgjRDrQDeBZoJIYvQjLedjYClmyNAvIDAsPqqkRRPVO9VSid2AgPtRjDoqNDa1x8sobwLs53YhvnFSDFhh5Ko6Hh4yBEMgHqFby4uCtWUr1Qk9r8Ttn6n0sSHFPl987Fv7KVdL1RHU5Wj+1YlBWIPF4VXcP3lkB2EbaQnxwhxwSNUHgwokGgS8O9zQc+nL/BQRRThGM4SdKizyF1ihAMaePN4GqM43f+UxYTFKjKayScXIM2My0bml4QdRNlbavW+SdBHS5u4YqpQJq5Ias38c7F3hgiotm1pEZ6slvn2Oxce+rSoFWvxaWxzprdTcJcvHVJh7qZdJt6dzSWHez3KfYTsqxRiFuKEqiq5f21+BPJd6lKpcBZQR1leKu5T4+6ouOrJhs9hNUGRZaSdhnpoLeIDzDQx2tX8g3Tom3Dtv60sFFGso/5gQ8SWemZ5ixi5EC2LtkPgeVWebZHma9PBmZX0LtD8UpCJBkew5qT9gKeMbUhu0ktxNRIiO6sztybFo1qqRynpzEWdgUhKadlteIq6pi2YYVljcltQT0PYYNp85xfWJ6jqaoYczlfX5F8kXbCCDwOL9yqRTufU7Lo7WGrHAA5Ero/7tjgYYod8isiL4wqAkT/x3q+HFyYVjOJ8xmVbupoT97FZ2LX8uksgl3N+KUTDRBV6BLL+V+eQKJ4iFxHVUFGjd96jtxxACgFFTyxuhnFj3uSbCPRO8+u4z70Hi4k+3+LtGl9UZ/3RZSUdCjCCBJEZ6rITS/vXhTAaM1koUcK0221mIExM6OGL/G33mBplp+M+W89072Kpdd7wzoGnebsvd3nFJXxen6MJbLuBUqsKC1HJvEBK5TZ0xmi7A0RGdlHZqe2MKBvLGdZ4ZQQLq1uPfS97HtB8cWBM37b0wXTe5FH804z4gbEHDAwYuKz3YNTW+jM2y/769xsTJ/hx3B8B8rR42qfK/eHhnLlELb5q7Q2fY6JhnExnexwBeZU3uv3QdMQ6ooq76P8p8i4yFlkrMm8EJiSuWYPo5r5LPIpxYpA8UOoW5NID8fL5DsX4ak33NADG5/I9r+EUfXKnVvlVOJif33Pb71BAKNIYlsB4Wv9fzMEdrnMzn7XNT9TnkFsUgXvLdOe4pwRZ/1PmxDEiFYdBQ3hwifURfpSg4GJBEuM9+Bq+MDpS0ARxTVOMo5+l1Ukm5y+XV1wRcDvHTjQ0CyrMmrFFVwyFlWJ1IWFSMiv4lIPpqIkB3Y0fz/UkMtcM2ZnwvzaLw9h4DROmejGEHHxYAYMUZDDUSOidal8uFqsPOy5Do1lUNEMQSFKoMDmJuypcVDTEbJBGdo3UuG8eVkfoNPmJyk1PqFH9GpGyiJz2R34zPrY9qE0wsx1IhAT94GvMJgqP9Dgel2nU0iz9H7nVv0lzv76NgGjvhBKYejS7SWwt9xrvw6cct/e7S/guQ+qG7ipWAYnbmclevizjSWzhg35X2QZypyr/Lh5P5OO0YCZLyo4qh07Nls7N7xB3jgXkpvdAA19ondM+LtbYxlQ1QivvGrxRr06IixyzKNoclMIALKMvhqkZ3bEv28czRoXF+iDRug9shdf1bZrQzidD4CFrI3XjDr3thP1XrfmfIv46jajmk/qUgbWZa3e0J1Z7VuBibTLdXv28x5/VLHaqcLSqCHfqpQ/PUv8X52iiyaEducuIh6pzvE57iFvr/7fASVVcTofj3SETx3IhFTL10YY5y8KdlI6RqpAD70XpjZhnWlZHR+f6K8CgC4btuucICzNA4jTRNZlFYpGSMW3MUbE9/p+Jtf9jXgr2qNDXhKZWhLpmoSlI8y25McruJKbwEVmrAOiYhNXANqaG47c6ZjT75wYOnaw/LoT/lixlGkC1CzVtOUUbvPnhAJjlpLRM0c3ocaih3N0A3wTyZsSo71P0LnpQnx8zkpM6om7RSvYutCAeKi9h/+kzDs4e7Jktq5n/Gn21iV5SNyDx14qPmB0BFRHb9MH0atGAoT81S29lvDb1U4fKCJ4zPSBhBeVBZZZUlF7iF0hVYZYfj9olls+nbp5TYr19cr1hYQ+2gC9gR5jbfZ/SG6L16Me7Brnyfn8BAvl8HYmeF6g6yqNC1DocUFC3sKR+D6yPuPpxB7L6q3HGv7jJjRMcnZERq2//8len7N87rqBHgFEzwgllVvkqP/PDbCLj87huGlmvzDXkdCQFEjuz0A2bxLDbr9Q6nyXc9tJ3oH3QBrrzIXRXbI3tw2Kqf9LqaZdq7xVjdytqfce2AhIu6irFrAXcWTWiw5JNWy2XIhw6sMxDAt2XdKeXkHIOgzeb2rQBLASt/Hafryxr0YqaZXe289ri+QUaaehZd113uNOK4Wf6okA1rtU23zo3ADvDqz100VEe7c7EqLZhjVXP8oKdD5Q/LVqp/MQ7jkGcH3VL2JRjpxY/qpMotpzV1gM6YU98VdZ42K1D7LgLlsIeFcT/wQBscPa1P4jQBvbM3lki2uTHzl/EO6+h/jU6Tjq7oddAqBetczqXOzPEHsDY7kaoSG590QNT1rV3UevtUaQOvBsdAI3n5nLJiV6ZOhlGhOWRD7b4+C5Cz/UVYb1228++lzQmofkO+Ya+mgV6uhLVUj4L1gCQgXaLaYwGjSzRYVFAjDRc8GFcd5shIoEaxT4zoXJGToAU8vb70CggbyPRI9sHnPCNRUH2lstpaeQDqIfl6wNhgPGQmww43It8YLMrPYvf3BpqmwNm5hgt9LfXtosoOGZ+qVUN7og8Nm/2KHVcbyNDYPeUR2lBcTwqLHe25h3SsLwsfte2IQmuzcXxWhBeQ2Y0f8LcX3wqiyklNksgxJhEWTB+AfM76IsDcLxdJNxA87lCbQCrupUPGo5QzwR1V1yW9b5cagn4txVJJGGr7XqlS/3WNpxV+dQGZGxVkqjW0v68YflYssKr9Ng06Y3Ox5cMZ60t+5kJFniM+1S7Umo4E2L7e2xIAO3EpsBJZuUQ6E1YvRa7Wnqv2ZwdyzPekENwpeyyVwLu0RJ0VQShUL5sZ+Kfg23Y202+PNf+b5lKyZJ8LCtj9qTLdvIIGePWh/1KHYIrd1J/b/JthjVGzuNWOGzA7z5JVEIERw1Gap2TITGHO40V6s57iGnVvAKWcimDjIRJVqONPlB4Vd/OzK3dA6Fpc+ZfUAkjT3+Kzu/Hk5158Qi+t70GS4dcJz1fXdklsW5JDxEJ4IuuMwmMLQKHiYxcjG1oz4+hbgEtL1uQnZBfw4n2uEQgQQNwNi1Cw3/tuEsO3zLlBP7+3qDdS2KtnWi9R0v4Ori7QoSKfix1xFyIefbITeNQojbnQXJqGQBzehZCMTVa3tBDTfp9pacxeithLYb1/Z6RvkMNgb5SaNgnGr1CBWPX2xUNZk69wwhSrwTupCz6NSrA/QQW/GU5Z2hKQoAMznnm0xRcD3apOF0fZqknalMKjPVs3Bj6uruirRRoiHwKQA6KaykMn497uIUWsHbgqwPJiten5G0te1sRRETmN2YMAZnBTVahS48qPVQlFe1TcCFCUtZIBEF62EMZMX0Nd6fA4SL4RQzic9i9FMxMyTml7b+gors5Vog4taEkRBM+xXZcuSaUliuXX4yiPkygndH8mPtuBob+38ZTsagThRVp4iE5D3OFtiT0uL8dR83/TP3VcModMrM4rRckVkXTBFSLUMP2o1ExM6uyqd2SYnueJLi2fTR4mwbHoMWIum4rdC2N3BB9E9UoD86cLla1M57ylCkYB07q2bsbNlZtqRsd4ZyuiMys9odmrnMdXLV26p9LqLTsjRW1mdlnu5ARFdEklIfzh3YS0mzY4Lx938SYv74gR313TnKb2Ce9qBC/FQVUqBkzozex4KDJrhQac95cdlwPrFpjSy+zn22Uef3US1W3DaTx7aLQW6Be5S4Yun/+JWlnTW/YHUcWa0/KMMfy4FUZlvBR/aB3lmXAc6vwUpCNLcIqsdWo18T2tIIZc6cUcxqa8+vSJ2+i2fYqPkcEuVU5ATxcs9Ujxks4C9wnY3J82djOIUYRR7CrcHxnxjhiKxd9fnQBGhSPIF2oqs2btrmo0CkFFI3KN0p8riYEGtOEsfPD5SL9/tcILJyN5a8mUrUzQwhVNOxKT5L6EHeDs/R05zik5i/HTcMHfCMQYYo+3DqJEngjPdNzpPZAGaYuJ7ajoHXzrzFX3ysyMWDvSIHbb0ZLjnk8ab3rjobrgtvaKPvhwGIWnjzbVsfn3hMCAX4lf6RuJlLeQ1n3FrUUECng+6auoWL+EFado6TMtTCVzZdtIdhQOl+GsnO8b8QC7ZE7TomYeVjczng45kTqp/m1nyj1zCzo2JHX6ipTtd6MBcd6Yi9yX4Xf0P/8TyTxUAsRLbsOn4irpcu7sQAuhGcgWlLx1r0n8MoWp+Qz4HfSNZLR92L3zcCTgo6S0sKFmlEAJ+Edt3PCJGpvrhdW7HPtErvXrTIwki4Ckb6RcoaNhLLaSo5rbzbxh/e3zALLSMxBrQcy/PCzKTxz84pWPWJFYzrBP6nCmLA96EeGGBWtni6m/x6DLjQhK1cEVb9gZ2xChfQG2ptY6adGC5gFDVLiXOyZLI4j44xTg2qmhPBi5bUoDpZLEUP9AWOiIllJ+kexk1Hnv5sVv/YdHMNQgqjnxxGiOJP3FNE8rX5yfhoU1TOxOSAKN6+z7YA4UBfhfPzSdVr1Peewte90/kqkLxuIsVNLNA8JaLkrEXUjTpf0E4hA6EJQX9xyfhXhDJQrVLnyQMOPocw9SI3k3PZyNvJdTkbcvNARxTGpS+Y7J73UawOgjHvCib3LtFRsfjkmsNFyWgp6Vj4HSOpM8zmlryVtgg4ipZqQqjJ2QLwBG03C/BV3qJ2v0lDfoJvbuc3I3s7WjPq0BYon5n16ltiDTlv50vDDPQliDojYkUwL2CpKHOSgrU2Xz18ANgn4MjcDp6IoIZJU/Q8Rc4BenwhzCpV0ZWcYd3hc9G2gbHMqO13uGwfCZDFUSSyir1RYibniogllt0pvt+4E7H9Oyw1fj6f35GdVxJKioL43N2eC+7YAbkzmc0mD1bAGFStuJ+siIrXNJDc43ckOghWO6HQ6rvoK8vwGZ9aJKjq5VEhiP+vwzjifmx8xXmjZ51frLdnNWNDw2WtcluHGb11mXojJQ6RJ6PLQg93T1+83kPxQBH1xUT4P1UiECu8PfN2wm/g3CITGrKdV2PexjKTkBexQsbm/z3X+EMQ5S+kyJ2Cezpp824NwZmX71DZTPkIQqFCi42vgEvGy6LSbURmK6GJ95/N1N4pjWjbd0paDv+tEX04WYV1kGMUHS9KoGyFrRdvkunG/ULPE+UqQo3SeeUDGOQDyUa6VEp+0M2D5lqB7hAgvP+iR3vFJi39MRCl7Vz8xfIjVxOExQrOzqXDNmxYcZ5G69dWg1rQEEjQOcxdNpKNLn7FFMeReHlsguTAbdrongcFxXFXKRRwUXNlDmNg+dv43eJZBOqPe5Dnt1Qzyod8r23YIUK0vWqE/dUPtJHwkdhUnkxgQT1EwDH4Wb40YVi5y7HqP/bq/FG4rEdMw+GAa/KORh9hRugEYiCFF9X3PK4J5qLODTCB+srb5nsqdxEQByqIjx5MngB4aNbfhhXIWkzty17Mcv5h912Nb0+kIS89DnGFoAnqvVma/3pcGZM94NrNcWJRPCIv6UZgXjjA5Crm/cxArwC/4l8AlQzk+0QwHNPkptebqaSfiwiw4/4PZGnPM1tTS7fotC8AyAE5pX2xi/sazWUkgSLmhfOuMI36C0MLovn5531Z9tcmVHWRLHGc5IlxDm48mDPwhMyaFkxEi/Shj1AgpN1yYTJHNQcx6nizvBeDFIbaiGyhGNqO87jv8/l4/85P3L2oB26HTnH976B6j1uddaqDq3pxi/pIp4bLAF6DSddD8EVOAZJSB1AppC6TCiFnkqWW4qP8cebKz21sBWkubhofMLVrZdx4rMOFXJbWu4Lzrx4DLTI59G/HDgLV0nEYmMHI/HorvCey24SFLR9R1UeoGP8jINl8HUhHEK58kg5gvgDKoteXYcpSPAVqPw8UJXXIAoeJ4BR2YTAlfcv+LfG4Sa9DOrFoeZMqDM6R6hITP/7v70/Gj2Cee8APiuGmIqD4i+FltlPfMpUoafoYcxC2T+7NDm4fZITzU5cHbkxQIG5y4e1fh/w/51TO+1EsP6F3twS4JrcW57OYp99JRtay+D5rVXaLwaRKBKGr7RDh2Y+0fMSwMrIkuyVoGKkSfX7J5vpX4hBKEUqNiFNrPkFaoMO5//vmjGQ+LJPvVFyZxmn2MJQn098nFSD36wiU5BJU+8zNjr5Kb+9DoFY1TbJ5DvmljbXcav3MctGa4R6bo+8VUVaiQKMvhancY4LAYVxySRmQ+4awOdjCQ3PYihAAJ4u8ELXsPO9OSrnteus5Z3xY+r7nNR1jRYyuYMHivUND4fWpLrkeIk0mFYFSJqE6MummZgwTiNlXe6cSo64clnSnM=" title="Mekko Graphics Chart">
            <a:extLst>
              <a:ext uri="{FF2B5EF4-FFF2-40B4-BE49-F238E27FC236}">
                <a16:creationId xmlns:a16="http://schemas.microsoft.com/office/drawing/2014/main" id="{23ADF47C-756B-4635-9F16-F4510E3749A6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4354248" y="1956753"/>
            <a:ext cx="7507553" cy="4303370"/>
          </a:xfrm>
          <a:prstGeom prst="rect">
            <a:avLst/>
          </a:prstGeom>
          <a:blipFill>
            <a:blip r:embed="rId13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167" tIns="33167" rIns="33167" bIns="33167" rtlCol="0" anchor="ctr"/>
          <a:lstStyle/>
          <a:p>
            <a:pPr marL="0" indent="0" algn="ctr">
              <a:buNone/>
            </a:pPr>
            <a:endParaRPr lang="en-US" sz="1843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en-US" sz="1843" dirty="0">
              <a:solidFill>
                <a:schemeClr val="tx1"/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6D1D0E4-A3AD-44AE-BB00-858EFE1FCB10}"/>
              </a:ext>
            </a:extLst>
          </p:cNvPr>
          <p:cNvSpPr txBox="1"/>
          <p:nvPr/>
        </p:nvSpPr>
        <p:spPr bwMode="gray">
          <a:xfrm>
            <a:off x="2545209" y="2159451"/>
            <a:ext cx="1268598" cy="226591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i="1"/>
              <a:t>Job postings &gt;1000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C208F7E7-D1C7-400F-A5FE-E3B19A27C17D}"/>
              </a:ext>
            </a:extLst>
          </p:cNvPr>
          <p:cNvSpPr txBox="1"/>
          <p:nvPr/>
        </p:nvSpPr>
        <p:spPr bwMode="gray">
          <a:xfrm>
            <a:off x="10322420" y="2159451"/>
            <a:ext cx="1331374" cy="226591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i="1"/>
              <a:t>Job postings &lt;1000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8D2C2EC1-35B7-41C1-918E-9581BDCC81EF}"/>
              </a:ext>
            </a:extLst>
          </p:cNvPr>
          <p:cNvGrpSpPr/>
          <p:nvPr/>
        </p:nvGrpSpPr>
        <p:grpSpPr>
          <a:xfrm>
            <a:off x="4120539" y="1880473"/>
            <a:ext cx="2392700" cy="211203"/>
            <a:chOff x="4239017" y="1851563"/>
            <a:chExt cx="2392700" cy="211203"/>
          </a:xfrm>
        </p:grpSpPr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6F0BC690-ACD7-4E25-96EC-8D2A85B2B283}"/>
                </a:ext>
              </a:extLst>
            </p:cNvPr>
            <p:cNvGrpSpPr/>
            <p:nvPr/>
          </p:nvGrpSpPr>
          <p:grpSpPr>
            <a:xfrm>
              <a:off x="4239017" y="1851563"/>
              <a:ext cx="557852" cy="211203"/>
              <a:chOff x="4322907" y="1851563"/>
              <a:chExt cx="557852" cy="211203"/>
            </a:xfrm>
          </p:grpSpPr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CC5E2514-10A5-4632-8018-2B6DDDFA3F3C}"/>
                  </a:ext>
                </a:extLst>
              </p:cNvPr>
              <p:cNvSpPr/>
              <p:nvPr/>
            </p:nvSpPr>
            <p:spPr bwMode="gray">
              <a:xfrm>
                <a:off x="4322907" y="1891482"/>
                <a:ext cx="131756" cy="131365"/>
              </a:xfrm>
              <a:prstGeom prst="rect">
                <a:avLst/>
              </a:prstGeom>
              <a:solidFill>
                <a:srgbClr val="33333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4313ADBF-82CA-4F63-840B-4C747E8B67E6}"/>
                  </a:ext>
                </a:extLst>
              </p:cNvPr>
              <p:cNvSpPr txBox="1"/>
              <p:nvPr/>
            </p:nvSpPr>
            <p:spPr bwMode="gray">
              <a:xfrm>
                <a:off x="4458775" y="1851563"/>
                <a:ext cx="421984" cy="211203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indent="0">
                  <a:buNone/>
                </a:pPr>
                <a:r>
                  <a:rPr lang="en-US" sz="900"/>
                  <a:t>2019</a:t>
                </a:r>
              </a:p>
            </p:txBody>
          </p: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AD2F3221-6F91-46B1-A1EB-1DB8DC5100A5}"/>
                </a:ext>
              </a:extLst>
            </p:cNvPr>
            <p:cNvGrpSpPr/>
            <p:nvPr/>
          </p:nvGrpSpPr>
          <p:grpSpPr>
            <a:xfrm>
              <a:off x="4816011" y="1851563"/>
              <a:ext cx="567089" cy="211203"/>
              <a:chOff x="4857956" y="1851563"/>
              <a:chExt cx="567089" cy="211203"/>
            </a:xfrm>
          </p:grpSpPr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37C969AA-1F4E-45E2-AE5E-DEF7CED41A99}"/>
                  </a:ext>
                </a:extLst>
              </p:cNvPr>
              <p:cNvSpPr/>
              <p:nvPr/>
            </p:nvSpPr>
            <p:spPr bwMode="gray">
              <a:xfrm>
                <a:off x="4857956" y="1891482"/>
                <a:ext cx="131756" cy="131365"/>
              </a:xfrm>
              <a:prstGeom prst="rect">
                <a:avLst/>
              </a:prstGeom>
              <a:solidFill>
                <a:srgbClr val="5C5C5C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39945815-9909-4384-9DFE-37F44F39190A}"/>
                  </a:ext>
                </a:extLst>
              </p:cNvPr>
              <p:cNvSpPr txBox="1"/>
              <p:nvPr/>
            </p:nvSpPr>
            <p:spPr bwMode="gray">
              <a:xfrm>
                <a:off x="5003061" y="1851563"/>
                <a:ext cx="421984" cy="211203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indent="0">
                  <a:buNone/>
                </a:pPr>
                <a:r>
                  <a:rPr lang="en-US" sz="900"/>
                  <a:t>2020</a:t>
                </a: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05F0F812-9B36-4DC0-8D6E-8E2390BD620A}"/>
                </a:ext>
              </a:extLst>
            </p:cNvPr>
            <p:cNvGrpSpPr/>
            <p:nvPr/>
          </p:nvGrpSpPr>
          <p:grpSpPr>
            <a:xfrm>
              <a:off x="5421753" y="1851563"/>
              <a:ext cx="566426" cy="211203"/>
              <a:chOff x="5438531" y="1851563"/>
              <a:chExt cx="566426" cy="211203"/>
            </a:xfrm>
          </p:grpSpPr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AFB2A092-A271-4312-86D1-C46071C30DE6}"/>
                  </a:ext>
                </a:extLst>
              </p:cNvPr>
              <p:cNvSpPr/>
              <p:nvPr/>
            </p:nvSpPr>
            <p:spPr bwMode="gray">
              <a:xfrm>
                <a:off x="5438531" y="1891482"/>
                <a:ext cx="131756" cy="131365"/>
              </a:xfrm>
              <a:prstGeom prst="rect">
                <a:avLst/>
              </a:prstGeom>
              <a:solidFill>
                <a:srgbClr val="858585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D278B631-1E8F-40B1-9741-73AE8B175B7B}"/>
                  </a:ext>
                </a:extLst>
              </p:cNvPr>
              <p:cNvSpPr txBox="1"/>
              <p:nvPr/>
            </p:nvSpPr>
            <p:spPr bwMode="gray">
              <a:xfrm>
                <a:off x="5582973" y="1851563"/>
                <a:ext cx="421984" cy="211203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indent="0">
                  <a:buNone/>
                </a:pPr>
                <a:r>
                  <a:rPr lang="en-US" sz="900"/>
                  <a:t>2021</a:t>
                </a:r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D54C173B-217E-43F5-A699-818CE44316BC}"/>
                </a:ext>
              </a:extLst>
            </p:cNvPr>
            <p:cNvGrpSpPr/>
            <p:nvPr/>
          </p:nvGrpSpPr>
          <p:grpSpPr>
            <a:xfrm>
              <a:off x="6049453" y="1851563"/>
              <a:ext cx="582264" cy="211203"/>
              <a:chOff x="5990730" y="1851563"/>
              <a:chExt cx="582264" cy="211203"/>
            </a:xfrm>
          </p:grpSpPr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D68A365A-960C-4520-9EA6-905DD1EA1667}"/>
                  </a:ext>
                </a:extLst>
              </p:cNvPr>
              <p:cNvSpPr/>
              <p:nvPr/>
            </p:nvSpPr>
            <p:spPr bwMode="gray">
              <a:xfrm>
                <a:off x="5990730" y="1891482"/>
                <a:ext cx="131756" cy="131365"/>
              </a:xfrm>
              <a:prstGeom prst="rect">
                <a:avLst/>
              </a:prstGeom>
              <a:solidFill>
                <a:srgbClr val="B4B4B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1191AA75-7CBF-4ACF-9CCB-F0C1CAB32695}"/>
                  </a:ext>
                </a:extLst>
              </p:cNvPr>
              <p:cNvSpPr txBox="1"/>
              <p:nvPr/>
            </p:nvSpPr>
            <p:spPr bwMode="gray">
              <a:xfrm>
                <a:off x="6151010" y="1851563"/>
                <a:ext cx="421984" cy="211203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indent="0">
                  <a:buNone/>
                </a:pPr>
                <a:r>
                  <a:rPr lang="en-US" sz="900"/>
                  <a:t>2022</a:t>
                </a:r>
              </a:p>
            </p:txBody>
          </p:sp>
        </p:grpSp>
      </p:grpSp>
      <p:pic>
        <p:nvPicPr>
          <p:cNvPr id="87" name="Picture 86">
            <a:extLst>
              <a:ext uri="{FF2B5EF4-FFF2-40B4-BE49-F238E27FC236}">
                <a16:creationId xmlns:a16="http://schemas.microsoft.com/office/drawing/2014/main" id="{24E70A4F-2317-4B94-AA15-93F1A8BD302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646654" y="6191366"/>
            <a:ext cx="1261892" cy="353608"/>
          </a:xfrm>
          <a:prstGeom prst="rect">
            <a:avLst/>
          </a:prstGeom>
        </p:spPr>
      </p:pic>
      <p:pic>
        <p:nvPicPr>
          <p:cNvPr id="88" name="Picture 6" descr="Caliber Collision logo">
            <a:extLst>
              <a:ext uri="{FF2B5EF4-FFF2-40B4-BE49-F238E27FC236}">
                <a16:creationId xmlns:a16="http://schemas.microsoft.com/office/drawing/2014/main" id="{3D4EA770-421E-4C08-8449-8FCE1B5097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491" b="22714"/>
          <a:stretch/>
        </p:blipFill>
        <p:spPr bwMode="auto">
          <a:xfrm>
            <a:off x="935057" y="5708611"/>
            <a:ext cx="551810" cy="30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12" descr="Crash Champions">
            <a:extLst>
              <a:ext uri="{FF2B5EF4-FFF2-40B4-BE49-F238E27FC236}">
                <a16:creationId xmlns:a16="http://schemas.microsoft.com/office/drawing/2014/main" id="{DF3EF67B-A26F-4BEF-84B3-6833946B04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9879" y="5754699"/>
            <a:ext cx="792601" cy="215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20" descr="Download Carstar Autopro Collision Chandler - Carstar Auto Body Logo - Full  Size PNG Image - PNGkit">
            <a:extLst>
              <a:ext uri="{FF2B5EF4-FFF2-40B4-BE49-F238E27FC236}">
                <a16:creationId xmlns:a16="http://schemas.microsoft.com/office/drawing/2014/main" id="{A85592E0-20E5-46F9-B75D-02D92458439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694"/>
          <a:stretch/>
        </p:blipFill>
        <p:spPr bwMode="auto">
          <a:xfrm>
            <a:off x="1856565" y="5774653"/>
            <a:ext cx="761831" cy="175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4" descr="Gerber Collision &amp;amp; Glass logo">
            <a:extLst>
              <a:ext uri="{FF2B5EF4-FFF2-40B4-BE49-F238E27FC236}">
                <a16:creationId xmlns:a16="http://schemas.microsoft.com/office/drawing/2014/main" id="{046C9F29-6251-4D63-97CB-C061AA2B019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011" b="28742"/>
          <a:stretch/>
        </p:blipFill>
        <p:spPr bwMode="auto">
          <a:xfrm>
            <a:off x="10102664" y="5749906"/>
            <a:ext cx="620029" cy="243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" name="Rectangle 91">
            <a:extLst>
              <a:ext uri="{FF2B5EF4-FFF2-40B4-BE49-F238E27FC236}">
                <a16:creationId xmlns:a16="http://schemas.microsoft.com/office/drawing/2014/main" id="{60A08641-84C0-478C-B58B-337395C4D61C}"/>
              </a:ext>
            </a:extLst>
          </p:cNvPr>
          <p:cNvSpPr/>
          <p:nvPr/>
        </p:nvSpPr>
        <p:spPr bwMode="gray">
          <a:xfrm>
            <a:off x="6964786" y="5746266"/>
            <a:ext cx="691946" cy="232569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>
                <a:solidFill>
                  <a:schemeClr val="bg1"/>
                </a:solidFill>
              </a:rPr>
              <a:t>Swerve</a:t>
            </a:r>
          </a:p>
        </p:txBody>
      </p:sp>
      <p:pic>
        <p:nvPicPr>
          <p:cNvPr id="93" name="Picture 92">
            <a:extLst>
              <a:ext uri="{FF2B5EF4-FFF2-40B4-BE49-F238E27FC236}">
                <a16:creationId xmlns:a16="http://schemas.microsoft.com/office/drawing/2014/main" id="{AE903E4F-460A-4FF3-A58E-E928C2CCF629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985701" y="5795304"/>
            <a:ext cx="752468" cy="165542"/>
          </a:xfrm>
          <a:prstGeom prst="rect">
            <a:avLst/>
          </a:prstGeom>
        </p:spPr>
      </p:pic>
      <p:pic>
        <p:nvPicPr>
          <p:cNvPr id="94" name="Picture 2" descr="Classic Collision – New Mountain Capital">
            <a:extLst>
              <a:ext uri="{FF2B5EF4-FFF2-40B4-BE49-F238E27FC236}">
                <a16:creationId xmlns:a16="http://schemas.microsoft.com/office/drawing/2014/main" id="{BFF68B28-27A1-4F1B-8BB2-911225408E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9512" y="5781745"/>
            <a:ext cx="608499" cy="161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94" descr="CollisionRight Acquires Repair Shops in Midwest, Mid-Atlantic">
            <a:extLst>
              <a:ext uri="{FF2B5EF4-FFF2-40B4-BE49-F238E27FC236}">
                <a16:creationId xmlns:a16="http://schemas.microsoft.com/office/drawing/2014/main" id="{0C9BF141-4563-4D27-A9E2-2D4F65AE35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88" t="34059" r="19297" b="31237"/>
          <a:stretch/>
        </p:blipFill>
        <p:spPr bwMode="auto">
          <a:xfrm>
            <a:off x="6073867" y="5763439"/>
            <a:ext cx="511698" cy="198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820D8466-3593-42FA-96DC-8E6709283B68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1087188" y="5729602"/>
            <a:ext cx="566605" cy="283950"/>
          </a:xfrm>
          <a:prstGeom prst="rect">
            <a:avLst/>
          </a:prstGeom>
        </p:spPr>
      </p:pic>
      <p:pic>
        <p:nvPicPr>
          <p:cNvPr id="97" name="Picture 14" descr="Maaco Corporation logo">
            <a:extLst>
              <a:ext uri="{FF2B5EF4-FFF2-40B4-BE49-F238E27FC236}">
                <a16:creationId xmlns:a16="http://schemas.microsoft.com/office/drawing/2014/main" id="{A2462C40-EC94-4115-9836-420C92B094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411" b="30469"/>
          <a:stretch/>
        </p:blipFill>
        <p:spPr bwMode="auto">
          <a:xfrm>
            <a:off x="4949912" y="5754699"/>
            <a:ext cx="645274" cy="252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8" name="Rectangle 97">
            <a:extLst>
              <a:ext uri="{FF2B5EF4-FFF2-40B4-BE49-F238E27FC236}">
                <a16:creationId xmlns:a16="http://schemas.microsoft.com/office/drawing/2014/main" id="{374287A3-5E7C-43D7-8B0E-E619B01B16F8}"/>
              </a:ext>
            </a:extLst>
          </p:cNvPr>
          <p:cNvSpPr/>
          <p:nvPr/>
        </p:nvSpPr>
        <p:spPr bwMode="gray">
          <a:xfrm>
            <a:off x="6829955" y="2159451"/>
            <a:ext cx="951590" cy="4053898"/>
          </a:xfrm>
          <a:prstGeom prst="rect">
            <a:avLst/>
          </a:prstGeom>
          <a:noFill/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EDFA418F-01B3-47BA-8159-0A65522B0D3A}"/>
              </a:ext>
            </a:extLst>
          </p:cNvPr>
          <p:cNvSpPr txBox="1"/>
          <p:nvPr/>
        </p:nvSpPr>
        <p:spPr bwMode="gray">
          <a:xfrm>
            <a:off x="9894322" y="4358663"/>
            <a:ext cx="1656742" cy="226591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000" b="1" i="1"/>
              <a:t>Low N</a:t>
            </a:r>
          </a:p>
        </p:txBody>
      </p:sp>
      <p:sp>
        <p:nvSpPr>
          <p:cNvPr id="21" name="btfpCallout526276">
            <a:extLst>
              <a:ext uri="{FF2B5EF4-FFF2-40B4-BE49-F238E27FC236}">
                <a16:creationId xmlns:a16="http://schemas.microsoft.com/office/drawing/2014/main" id="{E6F0C038-E1B9-A3FB-2214-07C51DEC043C}"/>
              </a:ext>
            </a:extLst>
          </p:cNvPr>
          <p:cNvSpPr/>
          <p:nvPr/>
        </p:nvSpPr>
        <p:spPr bwMode="gray">
          <a:xfrm>
            <a:off x="5508100" y="2384423"/>
            <a:ext cx="1568219" cy="715722"/>
          </a:xfrm>
          <a:prstGeom prst="wedgeRectCallout">
            <a:avLst>
              <a:gd name="adj1" fmla="val -62163"/>
              <a:gd name="adj2" fmla="val 28083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 dirty="0">
                <a:solidFill>
                  <a:srgbClr val="5C5C5C"/>
                </a:solidFill>
              </a:rPr>
              <a:t>Increased demand for overall paint jobs in 2020 potentially driven by customer focus on shell life of the cars during pandemic 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43970D5F-4271-27CD-301E-2E8ECCBA924D}"/>
              </a:ext>
            </a:extLst>
          </p:cNvPr>
          <p:cNvSpPr/>
          <p:nvPr/>
        </p:nvSpPr>
        <p:spPr bwMode="gray">
          <a:xfrm>
            <a:off x="10603607" y="736640"/>
            <a:ext cx="1253430" cy="43007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BCN updated 06/08</a:t>
            </a:r>
          </a:p>
        </p:txBody>
      </p:sp>
      <p:sp>
        <p:nvSpPr>
          <p:cNvPr id="22" name="btfpCallout526276">
            <a:extLst>
              <a:ext uri="{FF2B5EF4-FFF2-40B4-BE49-F238E27FC236}">
                <a16:creationId xmlns:a16="http://schemas.microsoft.com/office/drawing/2014/main" id="{BD733B4E-1C99-198A-B58C-7DE78CA1C9A6}"/>
              </a:ext>
            </a:extLst>
          </p:cNvPr>
          <p:cNvSpPr/>
          <p:nvPr/>
        </p:nvSpPr>
        <p:spPr bwMode="gray">
          <a:xfrm>
            <a:off x="1531298" y="2840206"/>
            <a:ext cx="1130962" cy="480510"/>
          </a:xfrm>
          <a:prstGeom prst="wedgeRectCallout">
            <a:avLst>
              <a:gd name="adj1" fmla="val -62163"/>
              <a:gd name="adj2" fmla="val 28083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900" dirty="0">
                <a:solidFill>
                  <a:srgbClr val="5C5C5C"/>
                </a:solidFill>
              </a:rPr>
              <a:t>Increased job postings driven by  expansion pla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09264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mpanyRatingChart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r4Jr7f9HfWypFXtqll0DxkxDrKUBb0bJKAa5TpGg5X2HfNqBDfH+ixdO7sNEN83Y/SqzrMthJMsSpQvuSxU0mXYKEf4NMkoDLd1HimFX4zHM4e032HYVth91O1THCFXJMGznKnSICRwjIH3VAfx9nNjTHRcdDKQ3kqsDxDRcmNzdVq7iOX7kShznT1+/MJlw5yYOlDPPtAsFWCYIPCcmDiIlljrZzaCWgvz+hRloe1cka6QkwBCZraX9868WqJ7ZRwhAQ73EwGy5bazG1Egl9/h5VwnPnSIY3+gbkjaaKTFF5gnMLvD0P1xbxNQAtpc3jbNaL3QOm4nE9pziQ/cYmiGK5KzaU6a0TVDQlP+Pskb8FKir/Or/jqPJlQ5tpIaRYPfuusSYDN5LmKqhjz36Rkb9BNPvLcNRwpBCD9J8lRkpU5p7JE+e3FchfmJk9sD25/ZY22zvw9lSLgLjFEis1tNuk4xs2yfhQwK0dj0Xa6Vl7g9kZP3PZe11EIum4Rm92GcPDd2oyx4ilDlWNpaIPRBT7J9IMPIE6bkPR14gMvkeQpBjrs6Ay7vF9+l90NCNZvqA3mJWnGhWZ9Un5IPZpbaaOZuGgFaea2Q1v/BRb8vBTzGGmoddpoPLa00t+t1HHYzkRKYRGxzTPuf8sACsybpfVxkCnkndTGGscYjZQY/xnoZQoJEu4LHybpo4nSRlYys4pB2OOkxzqx0yRCw4T7gfB0qveEJMmUSKih+klnIEhoDPp4Rya4N6o5P0kx2JmUJDyLxkOFW5VIJwotwIeJRJZR70tGBktAzeQSzU8g9T4sWtpnFhwUi0d/yTMfQQ4X2+eUC4T4aQIeCskRnixrKlN818msbKzsWMTOgTooe1spPSfcwLI1gDY+92Ujou479e2xSXGQBxXzFYp3u9OkOBTzBo2hJxuRu3S0/CDqoZiWY4DwtBrOTd9j8NQ3UWhy07P2ABvfReR4XPqxyYBEaHzOc8OVCOneUpVmIgbMLWZ61X2RrJxp49KOfKlX+TUWD0xPJTklxuK1iYfP9ZQyP0zh0aLqn1z2e7L4gsA42RAW4sctIDNIxIbDHdUcUdx7htg7wW/B7ps70lOc18wj/lgs3NhF5oa677PT13g3ZMvfZuso9T7TDqs3926FYwKjX4RoCcL5Dn1uW19VlFcqpVa1D0UgNBa510D1CAijVb3XnoKaoi2RthqPj4GG48nvhCTAjv+SdXkBmF7TxjquALWqcDj8lCOyZ306qbCVS0zCe/8XSmMdof3ZGQNAa/QbLp5gRFmwp2yk4C9phuT8fE+yaPsR3nnnSnl7Yl1nlRy4ztgxAoYYvE/o6AqhDtMngQdh+t0Wu+EFbdKh+N/D3YdOF5GDNebTwsLlxEE6JPGi7mQJ1cNe0rXCJfe80L6+hgt55r0IEe21MhgMJkUtlW1c9rfRLoq5mpgsMjfWRdZNuPZ/jIpr26bUutfZateYa0MdkiXHGQkAcLWxfaEos/qr8usSUCoFHCLCrGWxeDvQtyqQhzwf0CwJzIWhWjA/17+xQOiPCvzy2qswpl2QgQojg67lmKGj0M1edbyvh69er07Lbm9RfsWRmsKBsiOVlz043tsH9DODebB3KG3UUZmervwejvDr+0Z6Dat+oWBsgx/XI5AmFDdVuWQoMVOeA6tCU1AIx2+nU9Nn0jF3gu67bHRyCNMhK0wfDChq9hAPbANF/kV+YN/7h03LPjoWYTLZSEigtXglV2hzkCWSbhgNLDDz1yVJaZqGx50/oXQZV6Ty8HQkuOxvcBoA4Sj4a1MH+2h1jv1i5cfQF70a7rbF1n2+/hzZgCTdbAxDKV4Ti77XvOUxJFyeEY/95j5XBsLDP6RKpR5I7g13JQJ7yUHId6tV35qNAwN2Ou+yuvyTC5rqr0RhyHBwCXKJJO0bqUNlztFWvYPFnospKKnCbmSZq/oP7aRD+ZNZIvuI7wic6k+YQUgwwZlt29Vr7OTgTCXEuK/lxNN6jvF5rT5+pNnHzqhDThK3sf7IomUIoLwD+YHALUSwAKMQz858Ombdrc+NGXOfjWsEdcy5ShiXXrtjtCd4eweLk6x8mJ+vp98UFo4GPQRH/IiOhoEia0m6Y+gxFOcy8i6SYQrWjHpHAmRJ6Y3bb0i10ufaQac9wsVpZPMvUde4qmt9hS71lZRNucYL4HrupDtcMWuEsAH7P7AlHm9Ztks/OqCnbn96l8FVfNNOhrlic6zkl6TsarfXVbtEYoMe0/1d1uW+FjWoMQ2tM2BsFQJMCQZJcir+GxwU0JM4PrRRS2L4JDEfvj/Bz7Y8PRmp2xCBghUU5eCUQvKpGDinSpf1gDxK1MZ84FTeYrPtO9pGyYhw7l8sVdoGoTOPwE0q5jpae2rvb+JdMsNOQMMZi/VS8P3dNub4srnu/I4QH9FvxWgyjw40Yxu0L50CH2/pfq/gBCqz7yzaCZLkkTv75uGjzh9Jmb2tq8WqPbj0eIEm4JgC7PRk2C6EpJj0+TfNy7A2UTSLlMqsixeAs715H4OdcS1ZDV7USkoyIvgY2WGQwcMPYhyHijEIrCQjcg/fWkoSNeWFJM2EO0/OA++ILAWSLsgZvMwp29I9A3A7rkVQ2hMBGUF9AsQwlsC25/tAQBCIht7QlboCpoTnAD6MohFcWvwKOMyXERJlVZhVDu/jjbAIQ3WDNCxmdtOcM9HvbDB8Rw4DOYTDhrGQBpwf2l7tmtDq8ufDOmvkwqbd0N72pUzuoBaJZz46cnVP1ewZHt4d9HIDNvWt2z89zXovul6A0q2b1BuW20nZpEts6S1K+te1HF7t0WQVovw4aPSMe4/KMGttwdpvn6+ekTlSlKLKldCUI2Qj1/pEFiNsrktH3yOaCk94oK2+K3+jbAnwS+L/8qUuYNHZKITl+P0U7Hc6Zo4/8sX877CPUjifvHbswBMK57GTZcayebNTiYUy/vz4y2Qtxl6LYyyLsA3QkMj7WoP6MpR9bat7bpP5Jawa4oJ6QMD8WQDUsszu9LjMlXrF9NZVBKE5Og69c3sGRV6G79YPJmVEtEuklkOJ74P/+CO2ap5cAX1ODwnwySgI0LXVWlxuUiBwhcutn4+axaNU+Q/iu3C7RqRC3sgnWQHDsm43FnrEFEKE+TJGBA3cQubgFb+45UxPmtHoMcmUbc4t5hd+j8jsQpab1Z6sJYQmb9TskaNlrZuCaqtJbG9edxBQ1q2Lcw9BLRPmQAzB1xk27TPH4pjezOsRc/UFiFBhZvFowjCk14BXHaPhCMcf0pqo96AoBrQl9zqQN5m/TODzZcRq2pwrROxd5BHcdpbMf4Zx+VJGwc5j8SGpMPmAfnCHSz7xNFnAM+ayoy7WnFvNmgXHoVPwqTTRdHwupupj8169E6YM6fqMnXRSwzJWdsk10VWZAK61gipyFchuzKmCyroX+6+CAe1l0rojYqNJv3SgvkPl7YGZBwvSEaq4gNjMIU40Ec23qgLWsAASgYT+6vPUNNfsAAYu6wdqbuCsbmXrdbxZrdUTN1YXkt31lkdd1q2brJ34plUQ1LwsgXmLqNmq740YrXg5HZXfxdLR5aF0StJJ1ubzxCFvl0Gm/uyBnsOQJE4I/JO7UGCzEWThg59kzf0jm4HnZ1zLbrA+Fv7LDg1ExSm/eq2H3tPlkkzwAbXd+cHZ9tOAV77g+ITcDrDarGvXkwSxZMEtBxRGT6AdtpD3diyuhTQbuZIdT5qS+CCWczQGGcqrsg12y1WxuRpKXftjmJlpCgqg5psbXJmIlIA5DvodV+Y+MxziiF/ImopT12xcFbcma2rgI5CAOzjbpwVNHCg7BpEl+s7sFJ9xJkBUW5hjxiDTgvNB1U+vCtLiVUuD2Yoqio0RggCyAjhswGPJOXVGktKHSxtj8h94YKFr3njAaJtIa2GOVXcc35m0/Y4+y3/avtfi89LEJIvCGGqECbnmKMUDA1tjTq8dQZNkUW6+grbknOYpwfGgtPe5njt4x4hDJsdw4PNVxyAHlsgKmBW3sUrnZUmHxm1ixZ0u1GtcQRC16SEErWlodpPN+SxWeYzxP58D1pKmVW8r1E+Q8zd2a2LX6xEmKpWyfH3AXqRH5ZViD9gXWYfXpJkdmw3LeTFwKzP0tzkM84punxgG3X2moP6gm/SL+mWOhfEX40SxdUvRzx5Ls8A3sJOlwpwxkEyJlHWmAChZc9WpUjCOSIRyhOaJh4qdmadBzi8JGH/z4IhrUepeLxIrhqzBrpKyVkD8xl77k83bACjQA7VZ8EkwxpIkjzegxxqRGnJhhf9giqLwrXEh1llfAJY4AdzK+2E9zyxgTDrqNR//rrsxlCBE0JbCWkjFJGebD2GWOmvLRN/iaZBu9cfQsy8wDfUq5/9bGXp2irJY5GT2yKah3xj//5lTrB1fkgKhC3OL+MMwIYU2t7XEuSbi7l9C13rJnDpWMrXVUYXUlr97GsvPj5NaVhn6bDtLde51sEPxkgx3IBt8Zp86vq5fQECtCJw2dBbhzO2+iaf6VOye1mTHHfI+u6h8wvCrhGpY/KMTDAIutVdQceGryRCTmczKUo0gCPSDzQl/yrQ9/kTAOHF/G/O0WwwPZ1GtdlaGTUE7vjiEPUL4clN5XCWKPcu/QD1CrjsLIpxU1rs0kvy6XTMc3c8wlPldUZzaGuKo/i6Exn7kj+PELFZsBF5yvPLeS/Cj/rwlXQhMms+M0KuwEkARYxspI8tdmjisZgh3CEetJqwTKMOnd1gX9lraaddBZmpkEY4/9fCIkHfNl1xcXfHkP8q+g0rv6IikjN3bp0g2bZknBgmrNgwy2yTDO3ANdhrVuOHGy1mEC56Be/1FPpQ+3EK/mvoMvssfBiBV6+2B/tqqae9g5MgZSwLSRaPUrW3DzeYncr/dZ/d1kPpuLjRemw3f5dsdSoh39U9XNKjJh2BvOM9WGWY4xAZmcFfjn3dmEOVXP7cYS1PtF6WW0mASy2s2V75Dy+qB3vUsyq2DsP0gMIA4csURpEF7CNL7NMgUbRk3Zr2ZvuPLcMXOG9qR6raeXzfETuURgoOry/DitS4g1uSQGND7YesyD8v7vbH5m10I8cghNJlzL6ZiUV1XRjqDhSgmjUAeY6iNyO01msUfaliGo3B0yN00NGCRmO+VxG3bLqB7WygcV2PhJlLsFzjKTgNdPaf/dGl3TGmV9Tx0wLUZBboZpYeFTaxKsSyls/SrgSyQF7YKYIrKh4/2DxdaKfnkAEy0Wi7OIUO+sGGIz72Pe8QGU6JybChHON7ac6E+oLLqZSNUBSJmyqHlS6Yx5TBjVSeixELzl7G14COzDhb13ZmO83pHuOWNtkTEP/n/Fc3+Oeq94J7FXNOBlOX1mBUpOsfJWGaN9nUzc5TrFjMar+FtLJ8zbkXpgbh+9LJuS+gXXAMyfXCcrnHl6fUMsbfMqfqbIzykzK1xUnTJGE1QPmGQkpS0lP7obbIS0YMLPvCJV6Zuz9c3VpKNQSOznVq1vULHzGWOAK4hXsL2pd72maasx3mhk1eT2rz9sAXGEOhHWnZbe1r4j4ZtNDrQHbS8qx0L8ISNLkQR9Iqqg2DzYSwS00vQZHNCNT99+3CNMMLytuWbaKbPJ7/eepBvf6fsVpzk2ZbSLTnntOE6x+xjCN+0jpHnNlh30518jQwHYGXgqNRlWfx9VMygOiZr0xgUMnoCcvTkmHppC81ETopCG8lXhpUN9dni7XSYYkKaxxEkUKKMy4B0Xsyv4LBAH4gIqJwex5dPE/3+AWRh7Ai4iQ17hEvg+V4nfStQHEfDLtWAtEIm7pIrqSLgLCn7lyMpOLXlszS5uw308JXkLhju1ItwbOkco5R2woz1Xbs/sMIx59wDcz1+GUr63pwHkUvPknnh8i14LXWjZ4TTN+iiG84TpOgngQjh+qmAqEXtYlLZIDxgZDzCOr1EHwCdKzUsGDLX0/YaM0PRKYN4t4+bwIeBRulDN6r5DWV4OQOwOfpiDTWe2JOQEvaWavaEU447C5mt09v1tebEnQORyT6Fwe/a2/guay/ovh9wbGSG3vV+S1vzxCorOhIsYgdCYcCi8oZu+3Cvt7WEMzfkvxrqiXBP3UZ5JllFpI58XIgZvjHg/cpxqFD06d+WUsEDN5oBb1d7JuPuwTOiMlTzwIJsv/qqxc60QBaMkwsQjty4X6/pLdfESOJu09b1F2HWAXSp2HFVz8JViksNLUJBEvimRVGHCGAjCkqHc1jt+0k3lhFewF4Zp/aNYwAvz03qkcjXUX3HLyAwlO07MCYvVuZlAKV7qJFlNAckeu8sgCgfnaRVxx6W4/nHWG3n9AWU+RVPvF5hLAP4c2VITIAVG8FlzhyrbI7pSLe/7zP7hKnRa62hew4uYxKWb9GQNq2IRL+Oe4lXHzbiQANybJP2Ob4jkZh0BC5j+DNMcNl0+46/mHAUBryXFfBVZja0Q+9NW2UUNgmFOZUb+hrM6psGVywqUMFzZ8SlqQWKB1s6H0Lhal/0+moFqPOT3lCZ1xcacMVWBn4hGNofiwu6+igGWUTdo55+Nq/bLuZ8m1tACQN0sciOUm4MKfdYwnEz7/N1hZHjzYV8qRJJ10qIp9+VsKsAK+9q7OGmoA5roxthx5S5S7TQh/IQktyomBAuNdDytiJXYGY6St1Ej5T3kEIEw5uIrExUl0bA9IXCYWTP/nFTv59O8b/J2cVY/x6XE+3YA713QcvmqzJW9ccP7Zr2KoDm2MT5OvHYe5RwEyoEG3DzrE35psUtlNp3dim5dNi4ySDI3fOcAaEAsBYiqlR6ha7ZcYWJHlDwqoZm+Lu/bLdPxTYHvNdz101RP69mkEB6vjeq5QjeVwCbSYRFc8q8rJNBLY7rz8okVZEoDuAC9QDaYtmAHcZkt9zbCZj27TqPFnFVeQl2lImwWNlkRSkxHXH0EVmM4g8rlUAokUfwHfXgRI8TKBtRHFuRTZNkT8+hkkvEBTjmks0jKEn3XG2oO9+La7M9TcDox8bcxHE8wEpvjQCUAq89iO0NpebJWNLK2A5LYHs2g5CxaClV95jSI8MPNSv9mB/tcR0pBLA5vpI8X3FdxEm4xC1mo0zCG3RZd95D1gqPtp6lq9ARpWYbzSQnkKUKlppMGcCR5S/34Xbn133q/j9vMgq3KyHUqGwCjkcStglnhxBLk0qlJva+pEZG+i8z5st2LWjA6KLZ8+kvUokoznD3rCNUXpNsDHr/rdiB+TC9lW0/HtCNOaHz6ZX1UrirywO+5b5yw9f+4edDpghGB+q4ZEw3tDK5umZqtWRFE0TSfd7kiP2ZYmhumMqejNtuQQsr2Bmx69Vcksbv68MYzrEbDD2MHnJQFGEOjQctfAHCPEHjFjW3y15fjdb/MMWbtyaVj8RsCbzXBiNhxZxPWdP8EiaX8Jm3XP8kMpQNVjEl6JdaSsZrctrh5XTrs2/RKkw4x1++AepY4gXVzmL4DSQqUswuPOzGkZ6hffpvB4rAr88vRfGoqur2bv6GxZsJq8ezYqzOne9iwlFdyxZk5XT1NDbsQ8E5QXrHFnYYnEXlyX6UjiRK37ww0EugXLhNafvkcS9KFzZ2tBt3LDvOzR01Yy8u9KWz5CjeeLAMDVXVo9fammnzP5NvPmeTuyv5ZO57ASetAH6GAA8r7h1TRtBNEUvdmJCXvhM8mdE6IQkbjIwvmz6zKutTTpn8gFv8zf/e4O0RjqJYdXfUS+REJMwgq5U7Lm55OfKgJoHd0rYRBqgsBhT1o9RctdS0XYt0gkBZgIeQZJYYps7OkRoa0jQZagOcXjdvlfZVX2Xi/Qs3wfQfA/yDSQ4PY30zCxzkDg5tTyMMmexaJ+F+rFTyKvvKsZfiuzXcXUhKEJa+TzrmbKD5KPDWs3o9mlCpAmNTA5gKxOfbr6FSzpgend5Z98Y0bO00PViHvBOO1clxnff2We1obsIrOMEfejQsNU1w9oeV+joab7pjFdlfTyqGd1YvNSQKfYdcvzQJa45ruFQaaXsgFrq1+Hf+n6fVj192YrJxyd24xJO30Ez6cDQ9mXQ4xMzEHfkM6nDDO2DKypUZ501TyeC89badBGAOPGJb404H9NuwKxat/ezjyAbhL9lDzhtS3VjJ2Rr4WFwoe+LtvKCGHkaPCUUd3sCrNbKlCLJKISU8I6R4skwAO0cOj1JwZVLGhuBjbu8/mb+RkKMnzrN60bwGW1oTbFYxnJYmGoswH7HUNKmvTTSGMra6pJPlt25KexeOFedP+OmWwEBGbDmVlpnuFyNOc0BHMDycnqf7KQtZryaNZv90pVntkkq+qx9BysVgovizfNl8vM6cPUYnLRWfnk6CoNfYUYNNfQ7jd9rW0BMymgTmq/D3zTD1VVAeocMRp0qTEo45rdrJMkNL4ejDGTJf/YELfY+nSVt6ZJttmbtI2yZA2d6xnoc2KKKrpPZOPcm+tK2E+q3B1v/hkMSPwnwf/XOhjqOolZAfgTfQ7EDErXVIkvoy7r6QNmOcmCR5+YeV8JnwCT2znVp2WAvg2oOqO5iLfzOMdGUzHkH9EDXWjeRVdIRZfjnezXAfrlz+CujUC+nG0yfc8WQ1uGVcbvtBKG2+E2sWe4TlGNjxx6xC9GC6j0DQZXr1PehpzUo+kVF7xvCw23CuayUtZV3TLKo5sarlCRQicruJj35tVNrqJPSg3Bbx7ja6ITTiCCi4QlEa6hFyMA/PhZZtWQfJdqWbIPd8zpLR76dp0A18lPmA56Dl23LEJmJMxCVko2II1bbB6XznN6vPj9ptYRbYZRsjPAHrie5R+n591n3MxjLrXVcdxwKgdM3Ao4JC7UGMNpHqFLGfJ8o5k+9KKIwd5BnC3YaX2vECylvtSxUFL5XA4N3LpvZTXpPdpQHItYD3JhVDEM4nkY/X2uPPVIpv+6BPcizneGkT6LfufOWekJQKesqOKl3TQMsKHrC8SYbj3HZMo4pdw/129Ys6/FlBeWytbIovhgUnhEmep5M4Q79ZTb1qtV07jFp8cVtBDUOAymuDumJXUUuHkxX7xAwdYBdLXMLfIYcpbIxefmffXKPBPVX6chc1HRY2k1pxpARhvmh/YVce72CrXqjDuZQt32AGiB7ILcez1KqWF8NibxD0aybLoj7hOOzyS1QMnlr/AcbRL+hGjG2aFff/5563NPMWnncxc866g1O/hMkri9C1A5TgC87I2fGgE+EalB1Vh70PBWdCgfU/KDqH+282u9cfkHsN7V4cM60PBowLuFRrLNs0XWJZhW2Vf0TXQzGMNXLb/qlcfttPTbbcH21uTX+Ys6wUEsQdwaX3NjBQHZzK2cubxR4wEV9JStCaXiTHcA2rxh0z8+1knnA55i5qS0CnKcce+Avcwev8vXWXAo6lLab7HBDR7Tx2kKT8pJqDvtwpnh2Hqam/IP7HgOzsBtTLcK3JXFLNc8uU2XD1Gur1RxMqvwfVE07IGXtHf9/y9oKxqXDThoPaw8WVvc0mBgZC8bP7bdOn2w6MZBTC5kXfLwfHvPSr/4BByyKqTDBvAgCrlO11DJAXA2cJPhJv5k0Csrco7ysV+/vYPaxJAGpmwaFpQLmjUcVBg6F+pe8dHCIPkO3QwS2uUcBcPQve6dvwdtuL+xgxywEy0RfGm7kA3CVTxGjZ8ENDP+fKsNaY3tE72rOjyd/bFEO8PdrDmYWgIECFXYoCrmAGFKgyHCV9WxZ/C9livx989zyc/K0dS01l2mo3PYqVa9LPEP25pIvbtHg7ujm0wXFb4eviVYegsFE8dyoZAwiPb2OzMriVrK2AUCxxZq9CpLRHAYcqiIvAF6abdMoA4GzUUWnLZzLz2EWO1tScu4UPqSDoh0lqQFbQpJ6ZGuH+IRa+09+sJpJ9nIYxA6jGxUZ0PR5iy4vLsA14JIUbKkXVaAKJO8/QTUWlmO1FS0umVM8nkvyg164uOr7GCpo5qJabJOzCZFQlequuC79acevgAgx9fSuNZel1PtPVC/ux90U4AqiyM0FDUsXIUCbqyYOg+SGDyQxw+QtJX6y2d9lvsR1GxydwGFgLC7bF41XtxG17gBR+K5nYh1WVaUycBKGw1bUR/L1iPVpOFHIjVTRk4a5eN5GO3BAEw8+D0vE8fiS+caN+Mziw2ZlVXfUyk9aa+M4iWI1Lmq0LHTTJLIiir78QYF0zdpye4ASjwFNgJ3uQ/zVwAMT80oNtrMZx58pZyntATNxic4e2oiJhYivQj08DUh9XgFrnBfT/igA946hG69lAdjl8ZbYV8HKHMAxRaysbwO4vViH6jv+SGnHgh+y/mqWdDi4umjS/avkq2pm2lOoKogtOOdFl0mkvmnCchrOzHov9WXcC1jfedFkG7TM7bUbt2ZraysvEKqLNzK883sBFsuxOw2mmV/ezCE4lahbXFMttHJtZj+4ovc86J73LvqAyTxnOGXINKy9LEhpxJmdglSIoqkm+wny+85wWCQBR41iIbF57MMVL7Hnbw8iRn0jpBK5VRGnc+/8/s43TAIVlReYKRZWRjkdLB9jvBj52TmqG9aZHKmDoakYX3dM87caNht8/cybZhwfbkDw+SID6UxjRg+wfFqXjKyywfeZXJTO562Srd0vb/002OSSQ8hfgnxDQ55H6PcnXzGevlIdOOiyJFrhMq0yylVm6qU/EhfKtazcK5V8zt+Sk6qZxDJ/8IJgn5bgEgiQtfGTKlnckhuWq++aPQkn0QqtZj64wMZFib8yvoXMr7j69xZBCwGei0AREe+X+n2rt3Yz0yklGm0k9ngjlTdlPQTSS2WwiwfVAuPQzCmm4KYZ038Uxv1iVOrltJB2SJxZdzUzkwEDpg7f/W4UF1tUKN9Q3F4+fBHaDzHPk3z2wSRS1v05vU4uEFhnNvdgcVu8cRLBiplPpxxofP+znBuMaasnExcl6Z5jwuwHead5aR/CyfvfWf/Gt6ERe4lUC0IDJp/GMZ39Hhdo6tlHrABXjYMBbhQ2HFQl+gJdWvcJCyOeXeZF9IWBj2trzuoNMcP2AnkIw+zhk0Ci9oMcPWot3vw5nYN40/Vd4C6REWhaubJRZSMi1u4/v0Brp5/1UPH+25jxBwgBNYgQWiRtMO83UVr1sgo5mUwULuY8Mr3UMxPgZCuzCCdh2zQAzCMEd6mBzXFlSuLmZ8uPMCYVRvAADa72MD+ntNzV4RYVg6X1tAn/92Xv9XVwWry38kSmEAwElzUwzERU+K6DIWOIht3pgJu1XOqG8RSMPN6gbO74El08CS7LjbaE693c3e8wN3IAUZm14fbk1YYi1eq/cgtgbUkwSyGfe0+07rfLA6NeA6aig8KafeqSdCB0tqATJ6Uv/SQOiQJyNt07ECsTM6XVBWSEpvQgiDDhLWIOkE+o4amx9OEzCX3nRl2+AwhlxLl2xWXHN13xAzhVHAAv2h/cxbzXfnlMHCEMdXe3G1JwTnSUaEnFLC0g3Wo+1TdhQjVT+VLBKpa/rI6d62/yFPiIV1b6THy24p/iJrXRmC1bufTLud+lI6Xp6cHxDLVFAvsO6I8ChrOCV2EvxUxEwDj5eNH7cFICeALlNAg4BFCRrRZ7BKB6zw2VuhkJAXgaPcTjlW5XjDoUNmiW1dLgSnRSCTnh0cRzuXBalL8lxF3HJpgp4HDptqnLTX8FNunSyyXqFxXA43CJNMo9LB4vGdjsbd8zVM+poVdqncB6PevkuS//h2ItQRnFT9T8M3vX9UwJ6HELZDnracJ3WYn65UrX1ToKt1WsJ8aehwNdFCSCpYK8ClISbnF0O5TNKtaqKODD3YG6H7QPfH0c4dsZc8UgZL5/wl3LAvt6VIaIa0HFOAIDTEwd36lWcmDbK2UP8GpF6dQzEcMz7da5ITfFGrAR9cuBd56fDq/LpAckBnf0URVqarR7Z9jZVCrFr23TvknoFuW678vvCKwH3wLO+DhgB8dVTl9OZFpJ4Z2HaJRCiPsShnCkn3R4C4eb0eUXOTsESu5pCyfkwlBN3OB1XFoicyOWWra6nd3qIbU5K+LsJYSXGUviyS1OtBHzcSe8tqrwEBVBh7O3v2r1Z3fePweS4wWB82y8KhgNV8u232TkGzJ9sbAo4X9/QeKALj2OjpDalWQxCAKNXVy0q1KR65hMNyQ88qZFZk4F1wyirEUbODlj5d04nyGGYJYO+kquW8npC2K/uPdriCWQMAZ3lJUBcDxgHO6Ahz9ry2k0rRrIMF/lD5MpfB951YqJYhE0CJ+lIQTTsAlzqAxtFGKbHm8AETLpJLFguqyC8LWpEqUGt+Q0QVOx/SMFipStsWRnUGWQYqD7Pjsv+YFXgrmCi6unkamY3fO809jd5cskVXSnwPpEWW/oRka0auMd+KzEAFLRRRY90ayZL0x3WLlv+XCwfDnAoiHECRTnOh8rxP8G314hjtN9osT/KLPOKB7LVYpxmwdvh28JUTa1eH6mMjw8NJY2t8J8rFXKU4AxcE0NUpO4kjWSmbJzpsaqEToHQuTZ8muGmuiKWFjdl3ymd1zjGjSJAiFK0dYsHy1wXHJfa5c68BZDKb4ooEzgCNoYzmTQiOB+HYVc8MAswYtMJFF65SDNaAyorC1FcvQPz5Bv0QqCgVMNGGB3aqP/iGKm6G0o55M5KYkV1O20JcuKMBYlh/LV2JcefvuOepiiQCeXBtw0bCEn/Qx3RE2GzQyifHTIGZ9vHHlT4etpMPIBx/PJqVpkBtD31TQoX9QeobtLoG+1X9pBlUduumn4GlcIjwnjYY2mV8F7jIwXeEtF3uUe4lZWRhYg5CKd+CrZAjTrhvOf0ZROKGfTOyugHPqhrVmZoN31bR1rq1gl9zZ1iDIiEVpV6wGkeJZWB9MDItzUPa2T/7RijEq51OXyN8ZU9giA2O9Hv1YxMs7eBFDwPAL2mwlk9GZG8KQHfQia7cdZUmVPybATaN1WCwGcANu+v0NeTlmv7tSeuZhSEAIcyN9qyXr4o2roKMRU/oe2cKj7ttzFunmthZFYwjvnfQfZsNUiyO4ToYwyKI2+J2QuhNIvNmaRIoIaK3VkSASCzoZKgbKvS4rroOSE2yzkCKzWPxV9n3XoSlQBG0F4lFC5CpLdA2bGix3V9qDLW32+bPepiezpAKyRcjJUomEUQJD2wjc8/OAWRlwBR04kY/wXnlB0E+11xnupBfotj4jzff4MlSTzuknALkinkfnAHLuJtrusgxjCnC5vOnMJxMmkvmLqE7K34LRZyTiKEGtPjVTWZ+5nHqNOhzIn698l0SNmiN0Vn+xzWskmIvt1PS8AdlSplxQyXID28i8RQYNT//SiHZ7J4D3S5RR3zv0FZU9QXRsFD0/meQNrvj0mttxLCNd1c/P36FszBIPFpfQThmqHmECUeZOTiyqaJ4vfTCjqYlLuoODBV7nLYl2Vte3CZfQgdEHnmyxBNpwYoPzrkp89pkJvYNVb2z200z/NZvO6DuL/pYyoRLxt3JS0jKzVq77XvjjT7UywR2PcpNW3cuFUvayYygtjbIU/WPlk6VqXk2R6K/VdJ3ar4Zd6pcJpgyHWOJTJgj67+lN8lkT7SE/479v250tn7GDfHsO+r6Hju3q/kXSp4wKv1dnpyyFv5rHVdf4FF7AnW93kPbIglsp6XcYBM9CIRvA38bKhBl9Q/VGg8GBlzs6LpzmlLhqIwbK0IYq10N77NexGvuuarUVyBi9Fyju2UICjbX7uQvz0BU8emFuWsW5n7fYi4Ow2GqIxdCAYCs3SaGtxzhDQ/NdOFavb64k706NU/W3PwJFp+uVu+xnlcMcnFPlEWDTq2EeOQgGB3xswLLaHsplTNwvdZVxLIclMQn9VhoVXQMs9wBrjdl3EvF8caF+rZGL1WUJToiFJojTZGVKn5WvhzjsCi2nygHLt5hO1RusA4HQWrrbb2JSE+t4dXOt17RsxR7xKnnkOQkdXooNQibz9WeEhveCFZizMGTWgLuM0LJkBWv1lATuc3J3A8QB8rtbXma2PWCKsYI7WrPa6dVmJPn5Y8B53gj+oj1ncEA+oBLd4mBgO+WbB11mSRmc5Z1UDUjmFH5V37fEWUs95RI8fC90Nco/Y5WPoA7tGsH0pkjtiXmPJWFP3ZbVewu5/X72KDqayNvviZg2ysx6442RC89AL3ntKcnvzEkFnXDrpiNFJNPc9hz+GpcL+veHivSDdVUQD9RCRBMI7cA397p5Oey7y5PyQWqRUZDhR7dSBJ1wkK7WQo0JVqmlA5PrQO0ezY4SiQAV9uz4SfiYAOW1VFodzTo/SrVzaTGUK0Eo3/KjFtHYxn/mCVnja5rvF298imWDlxZ8XxTNYzYtGJ7+ns4/QgkSVxbEw8lze5tGY6YcaE7UtQnEokZi42r51leK5McL0Nmi2ESHvPH4k4VlkhoHuU27caT2W0007CAYUOZwpSB3atwQH7DY8Jt68+D7tV0OXolu9ekZkqXmzUzCwJ6rK6+/bXCF+j+8zq+Vhzu6GeWW1NTjObE3Raz52nn1rQRcJcZKA4UOPSnSh/XepiNwbp3N1I/NoUfkW72RvB9ohiVss4gui3HME4OvUwCWjQU/Y8W8o3WBkpMQFfOhlW7zKyGnWM5MGhY1QGSr4ITyXShlNwr+fSMDJaypQ7seQFj2y5ueY41WJraGaOOEaZ5IXv5yPx/O2AdO6jSdlRMFddpQaQlcE/Rq0JqZJDmparrqzEmeMf0I9+oQAuzLwszmaCxjKUbIdly8+FD7fEl27FkWN6RURJM0h/odQFTg1aKOYqTEdP42jgJ72ZGxNEK5LKx6xfSMqaG90jMAP3QWDc23lZydN/kDE87obKOlgicuArU0z3t2KwKOuYnMM3sZvT+I44uRy6Wgq935J6sMOLJs/ec3rXczFkXg/1zze1kuLxUr9ssLuMNxRU2Mf2Yx3ffmq6KfAmqvfPxR/4gNwkMWpdiS+B4lDIsN6vNS4Z0A4zH2E/cpeh1pDUxu/s8+cX02FgUOVrqgHtsiMfN19BlA0FnuqVfjdlDJ/SOdseC+mTWHRXwCVWM0o31xZFICfROg6KWQloYHugtEBvZHoePTcX2NuuAs+O4cu5Ppq/REdcB2SdWMoeyNm6MGf4vyyEqLq4/Qg9qpi4jrKqTEEG8z5iYZZnjmlsMCoESd9+lMvdxCA1xlDYskBTy3yJpHxtGYcjt+U/HV9FpogLnolUbrAyyf1MG66w+JNs4DH3ILJhQlfMUYrSuGFSx95RU8e8Av4emqTq6E+bHd0eXQkV6cb1XV6KRB5zGihYRzIETM78U9mmLntpGrlEDZbvsaDlVtN1B6fHq74mPG3Lze5A85OsCUBje+jrClx6bsur6c3s8I/iBnZWTSjAIX7ysmeLa+pGGt0LXVbIo2C5533Rd/lnPwUtT9fkWCbKkya26zY2OL33x+P+suM3a1SUROaNRfSgNUECk1w4nYiAlYNU0eaqb3b5p1M4TjPu9BuQlZ9UWPg+nwg5Vx5I/YJfVqL4UzXaeFFBkZwbSvtYHQPh9mbVVQWgcWR/wtlrwjmKrC0Xo6LbAznIwrVlKlUjxd6CthrDMzxWExRqA6E5oLLucZAj2u1KCSqYotx0FaKib7XyRxMGJKSVqv6EVR6vJeRgqzhrLS8bRxLF0+C/Dy26AYGwPyPL7r5+bzCtl+MC+3RnzAh2uRNMIa68CYQWYdc6YnkgNljCj9u3/KB7kG7dQR07g3uzUFO8Lh4rAOY9aeJ23I76hluvGxY4KxczKZ5H4l1/ZKjJZbzDmCub1aignbhvzldkFUS9CSDSnulZ1OWDsU4k5PXUio6IAkbh50CTTEIw+SVuoUzcAezniADVAYCbD3Dbg4icMGBpdscQGaoNPhRXYj3aCC9cz8NKF83HkLnGSYbvUkGoZ8rs0NziJjBeymKLYsvyc280eFEoUwE0/BjSh1LjdOBCU2g7HV71yLGjbwBH7Yh8Nm3ElGjWKnpz6M3RwtbhghDvBpx8RjMFhTwBld9hlJw+SOZWQ6BnYpiSpjsHnPQnSrvGDEpa5fJoWA376XHT+LEmK7Ex5ZqDDX2ZY/CN/JiMQi/ZnZXIss+JxESruo5QUzblga+kKiGGwDn70A08lPaSkvBKq4S519Gle5mK6UFJWwcaznh2F/zrgArpFTe00XlL3kBw6+QiMWtWemgzUohUiEN/IJoAHtP2gznvZMBkwPfuQRJWpqasM4kOBs9z9sq5Z/b82JJyQCMJcBTpfbJAV6dC/Cui2QsUz01HVDUrEi6auofqSBrgmRRs5hECI/+bvQtk1vITlHnsUp5kdWjb2rRkOiOnC48wH+0gbGfp9HN80Oo7/UGtdjsBg1UXVJC4UqvI8KfwfTDjzdOXUtxdLyFcDNN82U8VPpgVdZaG6zQm9IJ1eCfYNlbi6YGS2f157TU7MZs99Dbt7tuoUAmqdfDOgZAfg04ZSXV8soqa6BP0yFDCtexX3IjBRz5d8zzXdxPgncYNt1K9brc3UL08/PVqarW4HiTJDPuJ4IRnurhPxdLnos8iHNpKIaZvAR1ttUaUerQRRRydG4aGUTs8o+ue4ouSCroBMEwu/7ol5gtivmc4MZw9YCO5JIOx4+wFQfnCQQ1TbvmL/S5iERm9L4LRxv6ZJVQw7MQGoZrLkiC+vneydeO5EB5Iftjq7rWxsFiIyosMdC3dmdqHpuw5XBNI7AIJUf70vlMFTLNJ29/sPBFkesw2Xy+LW5LvNiwUp+YF3Y7nz3DmLYJmEWYHY1zbTNqmk6lGUsOOi23qil+/iU31sxCcO5RDeXTZ9UYwd+0jgXqYCUyYm0NqvAgVSKS7iKV0j4A8AuhL0I0RgC7vvKbcHYbxp5oP8fHAly/xUv7qdVKvDiJX6mayzsnyNLrb8dK/46bQjkrLQxgVzih2VbUK1EnpKjQoix+4StgSBp4GZgQwFrwhehrXCG1eHqg7GrW/xyv1MZi+ce2juuvJwxLCozhIYuVRFICnROMkJaubJL7UQJ2nOQMzIHOJpk4+z62vZAqTYi8+37tK85E4gCXGVMbK25NFx1UJjak37FVD+8MyPD6400eXvE+gh0NV75pYPy2PkDwKobvnoE98XM/JUusRFFxpAsV7OlT/WBE9+frCDobW94dnFyH5mwsQiVpKBaEDg+6BmfNgruKO1hLywgOmeZV0oGKfEjzNHiqk6fD0cXkm/U86o85US8Sx0cgjbCvzAE6NQDcJePYwZty7UZ3xsdj/aJ3D0ctcRGWSGPI9U3cCSsP+FO0N4oKWdeqQMLnF3eHQir9Uif4Qw7eUEaxl8u5eq4rQ9uMivDnpSBUpDLTV6IfmK9OITjTp6dj8HxxcUa71qnuVXsk21jz/kBf29AWroX9y3u78MH68Ehj74yB2rFnby3N1YD2znmYTLP7MuCyyV7xA/eAbD7NoFzdYLWnf1MdcCxc6ZoPYuo7V/gGrvYJWoBN7HNT6I3u2tOfzzTKhgbhJyF5tykmvJklQi1UZcZuX2lowJQ9KzTszWnYQG/0GtcSLtkgHFFiz97ffU7BQBzqB/S6uOOKiZzoEsvPX/o4HcKz52Q30GLbQyRWrZn0XyAoAZIomakSFzLecqIEzerTmpDeyBLoAD9SO2ecOhPegB6kWFmoo/lR/jdX0JAAJkGM/nplPweaxxw4bCboRT8OUP4//wQkS9cpNkd/Ve3Oe4x5J55HjVDMnk2QstD5sfUPXHB3+NSvhlaSiIfIsVrOx1yw1vIWNVMZQhNqc5aQ93CAuoSf3HM/G2eKjqchG6KZ/sQCxBhxOigSlD1NTHAsYyQmto8tAvZM9/ylc2qNabEt3c3ph6KtjNabVheUzhr9C4TV3dh3So5+uh4nCfCNsno4zbF1B9nmtLvwRI0aXtIK9Vi53xXoGHMkWlhRCHr1ia8LOMPVpNifpBo04EHSNfeBSyQKQA7bcCARG8R931MtyIVRh5vHYsrWRKV9owldmwb1vje1WyLid6Jv9hL0LtAxCc32QyTecqpgmrGfB+PpJhhdLcs2a+cTvunAhWBzL1wcd9xdSPwGzQunOTFTe15DalQEPpbCWL5fXGh+6tW39YwBokkStm5vqo2KDV3CaM3R2B7lNBIf60MTJu01qx9SyFSA6dQ7ohpi2WAM221tQzY1E8M9MuuJPcdROTs7XGg3p9wJ4Sw4wmnLlsWcpAHO3+Tn8axA0LptyUW2evP4RIWp5CqRvpbYPByirLeLR28uXhd+2Cbaytj8IctiEzXu7YfQLSqVWLImNBmdfD40esLOe6EanhKRTqlQ+fk/cZzr7Cc8tbGqMKA/b1tubpgnfJ1dpChDYyjIpgEtaGw7Aj19z3pVgz+dTEcsdNM2+pPHopkI6oocyi4A5VKo/W1DBSpuJpj4GGnmp6m6NwvY4ExOBJWNHsljb344bkOdUPZAuJxdESzAoYjtk9B5z5a6BKjXFJq1M9U9Q5dYSfmJ/LpV2wlKu30krb0mey5Ps0XUjc0Da+brjmuw11XrSk8n7p/P/ef6G8koROBnYddp0KdsroFhCYD3imfjm2GMu8JTwYs+7Bhr6FzSx6Omu++qRoW793vE7pEFE0Mdhdfc6Y/AjOTfBz1BeYCAtNoihvT0YnwTLM2YMc8U10W0hXN/Xva48ejgfvLmpXdocnX/CbVlQJb4EkXtDnqnHOUv8bwIcmPNZ24TQqRICoBKHWRCASfkISdkYIyRFszpuxrINeMM+rtth98ObUalIrCs9qsUZtESkHcdxhxdvYG9fA+1fO7W51YAtEc/s2fkGv8GGEPYpoy6DnMKPA/8qeoSfQsj2gIV4RFBOFwkY2z/OOTUGc2X7KcXrCSyQwjMRARSypcV6pOUkMw6lnEOH7Qig3L996qKkNPmUqvE0UVHrg3Z7QXlJF0DTXeB234NCZzu+LUU5ZVsRYrlB5IX+vLBE9amrz4B71FPL4pOKQfvOyvVEqblQCvXKOhysf7D92ddBHqPviOSP2Um9QPeN2pp9cHK+1ZiVMcj/KQ9HzL2QYUC/8QsbqvSwaOJM2YwYaMFju2bUbiznN2iSYRArXxSYHwBEnNlUGszUKwayoap8nnrShHXuD/a4yVhjpwnoY6F+8TIytfQC4wTZXXcXhnwZ87iAWCB8hw/LB1PqxxwTlSBOsF6Ghy9zQAJfSY/lpS43WZz61l+/xCihVyYC8Z6e7qSaOdpOTPvwrw8Z7lCFHIk1VP66GO/Yf7NTtoJKW2tv6480wgoRasT+aJhObQJaCsMng+FuKk8P85y1C2xeKuWp2bC86qQFbjVtbuWhbvUwJTU2srFPrhQLWBrX+pFOlv8ohtnkuYyUBl4DYGIl0v++2cjldpmDZLrHvhoDFkXTUCEcCNS2jqznQ7kgOXOwpwFYoWg8nfbnsTIxYbbSZxaXuCEZ98O0oWGRsM3D79Ny/tH2kDfSc5Vki2vrtiR5XbrJJWBWEdWxn1e9F2MGN05tOJNKNrHOm5FAWCNJnxr39gKrqjkCyEPnR+0uiUIwu+P1bIIumJBQybFTzuc23UCwpkhrmZo2mrll3TaRo47EsizrlhH0tALb8cCtVrxKC2ESSLDfWYWzcuxIALEzx1jjiref+jO0sm/CrtCE5jaZLcql0YQ6Ojs9Wd5V+ogxlZvDKA/nmtCtmscBS3d8qyY7iqV6aNBw85cGOF6FdHISaFwV9yY/Xc1zVi7IwcUqOrhbolvueZGCiszZCP4NrqMknCd+1kxlotyU1OJWuruDVlWv6q9HJsUgaQqvuVp4LB9Nr8U0sYYa3tcCFMTQeQGZVlHXyMnvurt16AjVc92hwbJA9zU2yE94krgAEG5HzZM4jrywQbE5lQsHJ3awZgFOFu2Jh3ri+2angEJyhW95CKt9M0+KF404pfafeJKXYmOKSNAIvOWl8NUFItPcVd1whvvKVfvoEdiBY81nr1CSzv1zznwd9ljWxpUokxXuqoQS48K1EbjOU9f+f0hZJsScXeg4svPGWiLXjUNz9DFfxeJmKWKAJ+FQ75Orvf3baGHQc0WwGUeP2QFj29Gzd6uJYrLQUxpHDgcMiZAGuT7xtVhBBXSyf6xyb7F9mLDRotNkvf2URcRvUxlZKz1ubO0uh4rbeImC7jjmjayab0nD7/sB3ALenNcSI0i1tkn8JAm/oCK8AeImN9lnWMMR6RsOqIyTY6cEEGvkNeu8fCGxftA8LHMC5hLU48cce84eXhL67ZJuLrY9Hp/MsEvX00rHASVwfA9Q5MrpG11wNPIdi/8I5VOtRHtuguQUZZ3JQTadE//+/hz/EnM6LPsAMTEe0jpEjHyE9jBzf/nGy+tbYaCo+HbZNZfHbXuOyGTqUQp79o86r+YSs4/6dt/7/37j7M+7lBUj56SqbIZYEuq1oSIpddQ32sYGBDJ9ffnLiMwqPJyJG3A8/o97dv7dMkJv/Ar3F4foUq+oJjnpygiX6cmgsct0PIqkC4TxGRagpm+BhDZihWDP+2qqOslvqNwx4yaZs4k8fQRLeK/xB898jzjnPJwMBC86d30pzgLaFa4mXpw22od0fC+WLp3DE0Ly08hfFqjQHOY+riZ84781XbXGXWO26sPFmCPbMg9zjJihgKjoUvo3Eeh7FVrAmsQ/qxKX7sP8/ZBsTWUPoNkGyQ/PE6OEGel+t34JQVCwxRWNqZ8utZx+rMxKj+eE3+Rkyb9MMRIkqwDbaOrqCHlee6oApo+P1ZpFMEusdWp/Bj/VAKTIhyYkUbTjwYH17uUUPaEgLP4vVM9qAS0RHNSnAAL4oIojRUoqoGig3sMOGefVFexiilN+1uw1BXBMUPORKgElhNRct4dUEzNxwfekRKrZFNTTVcLVENPVAEK53fxkvjdo/6/90XyjnqWdxsjLforawfSYiNS0R1ymPh2iIMUARmSzBhviVw7kSY5W4sOHTryGeKTcsUnm+J+uhMfL6gvJeZHGAQsMoec2VJWGCI7lE1tt7DGUxtwpfnUJGyQFHvkkCVaFkZ5H1816DSVHVtafqwrry8eHx7sHXvD+iCvZ6ZMi6eFbLOEAytrqYRUcIIFKMCsEPHX0vBAAJnje/DCHKwvN/qZDRsuyScxMx8u/orIhIjp3dXnLgx5FoyLwU8+iCkOU8oVwVWuuvPY/eNIjjVWcFueTlPSdptuU6CDYXq1AUFvtpaxDvobZo/WPHtoYm6Yx3pLmmD0AwasXi6t/QxZCVocNSYVfro6vt5KxKwmq1lpJE0FoICz09+MudXSSd3FTEXEVYcg0Wy4MMokNwNBjX4J3nkKJUsFTRwnIMhg8oF1gN09KLVumaAeouT03gHZ3dMBMn2ouQOy6jdd26LfI2f3eKpBp5Gzyb/DC9qwdMm49Oc1Uj5QzgdLqWeeqRFXgC28TlfVb82G57+xNdhCCtS9+6BTb9G7H/NtoqHPcy/vH93stKNYs+bRVGyxRMIxkMUhpGwR93M8uIbZ7okIJCJbVELL7G8ZUJlE5Zf04bcJ872h0I0u2BTtPhRT3dx+gAqHeCgSw1h7xwbEtyyo9Yv9nXX5HaeW2cGH2CPfvdfkoHbwS0PE/AXhaHFrUDMvGtjIwB0a+KUAzkSsg9Sv9m8kpadSMc/z1fHnY1nIoKjlUiwlLnCOjiZSpPOIKtOcSQRkUn9WyW5uWxV5HYzMQyrUBUjjTxEGXkVOMs0X7Cypkyq0iVQrDbqNLksyTgFH5nYLY40Fj9B08DXbvHKRcK4Hg9M15hzgpuPPzH0dI4tlLK7vDwB/iJr+XSgJB1o7cicwppDu5E98W6g9R9ZugRErzk9EPy8JKWrHgot9YbT0aIsGEhX2CLy689tRfu8Ir1A2NG911yu1oEZCad1N0rz8KOoI6Pwa4DZm56eNHxRuZ6mQ61M5L1WL2BdLuV8uWvZxeyDw644of8FzAa9QcgLFDikE0f3sciK8FwCZ+Go7/vMXYGLSedxfbv/hScy9y8kOlQ+IbAaAYNJj6BFE5QdoptwiAXWm4f1aTFSjh5L4x0jjRc56qI3LPW7lCYAGSYPoXwGFIkox9pP4UUkBGJ/SxxafpWAM6Q6IIQygGaHjZ+Dk2hqKS5JSknAGKvmHhMxv38zemyldIvuCEHdhviy3Li3P0bIDseOagWbqstb6hwxMTmPTAiO297PnVhKj2ilXYVtMCv10lLy3A3tyyrkzzAiOv0O4NicfbECCyZdS1AREiUZ+9cm7zAQtURasDymUdQvTrBbZbt8y7O4Z8pzme/DEQ9iwxbv8hUd/5hEBwWLHTcfvimSN5XBygikaao6V0Dcggb5OvRAHqLBA4/CXRX2XVe8xinMHBJBdlQ4QTJbe4lvDCWJc8EJnIyr09R93Wxdvk7wW3LjU3lQMkaohlWWIn3LGwZK9Dtj+daK1qrvox2+EW/ru3s3GYC/PvIdZiTTKsNeElf0ylcrLJ8PkV7/H4iHOO+wOj4FvNIfBPf11Vb+tfjdxdpePQJsMpqiPLBQFMr7IrJ3iMPn7Pgc4fRKV2ZsGqtH8xvAHmv3z6lkIJ0FVNE43EBp12K/S30++jlQSwu9ZtSOT2s7669SIPqx+bklPj0i0tdMIUci1RZLkvGVMWIucGiW6s2SlxcEqvLrTyvj5ANXtlF6c39Exzgc3FIkalcecZjp2xAaN2rtW2g6hSfbm5vqOISOzPdzNDwRZ0Rn6DefVn+akgGmXoZtI2h667jjoFskj6vxdYqrq9xlqnjwLvWP8P9LU6vKGRUjnDd/a35019nqv7hTQJtKRTXUhkDALOI2Ic6mRTySBgKyuKhHwdspSjxpdDD+Z5s6OMkwrJJ1MWyRH7I5XaWh4UJK4UsjKoG8KgAfhRLhx9MK1W+NtopGr1Y3uRkzigFEkqay7nR78lTnyyktEWxOAqRVuSCU6B0uUYDOcCrQNuWAPLsJuXxS6l2Z/ALZwTB03ad5zedO208Wb+eIMinHIsBb272CGljv0VvlxOWTmEMYeul3YjmtiqTWX+9XKKNEAm541yrqQ21BYU4CD47Gur+42JYJ53pGV8amAI9QmB9U0oxaKjfPvtP6GlTiJFka2nfPyUjorE2IpUArUZFe1qGCo+2SVy8EZYwkyRKwCD/9my56vMFhK6MSjqf7HUkt/WZX9CZhr/gKKb2je3rQCeQh6xeQ+xiUCNSNMltqij9IakgFplba1rVWbxlRdYPA+FWiDmHmLlZAYd6LQwvS6wqnWxbZ5g2WzboRt7JMCjQvfwRoV4tdb8pOoDv0IednZ2EEui1tg172Q95oLNl/Gvs8tO8Ub4WlXAIE2pdoi6ihSuIXVoKaPjfNDDPpMzZvYz0OdCBHHlUEpbX2zgA4b4O4trjDsjK/J9SzGy3vo6dQUyLcRDh+QAcV6NJVI7aDEd5tIo1v+cw54HN1/In0Je5zBumK/HMBGoMPFrIREtzQeFTgkL85rbJLt5VfNIR81LeRgrjTtmWpxHk1rK2Dx+YGd6ORnfweO3zGzEe4GmgNiRkYPdyVsfZQfFnecVfO5n9EGiQusb8lsiVNZb4CLEv0GyrfL08PQ+P704M/MZPyolyFa/LDPstg45O5dgxkIoFIRGaYzwCPeiaN+b9KL9HkWW9hzdWP3cNTWJmPeprSGaVcDT79w0HagpgPebejDhD+xyvg4arGIXfOsFBFyomnR1FDSrC+HNrMGOlU/ySazJSAZQknkbkwAn3rgp2NZd23LPmFeoCcrP3SeQ/fLZGyioSIj/H8FfgSrf4wfJtX0CAK93qzqD8gFpstIivy3bFd5aTVkyZEH7Kj03tROGx+O7N6L1V0QqaLlWQMNB5O69+q3q9uTRp5uwjp3oqVCIlasPwFdY/AT5DELuj47vGCBATrRIvZtEnml2tdz0R4Uhx/MBP9QzoCHtjcHdSdtPESL7+TY/tcH313slQpWEJplYTuilM0mRMgBK/zX+EAtb0EYFrkbmADpoKFNcd+8EVxf4/swfjc2eTZX2yvg9w6UpKsMha/xGRB1dbAvuVBJcwiRyXUIfn8BdS1TNT5Xe4yEynVFCuMyAA6EgorTJP8IBfjumd4eoKPQLSgDnXPeztQHzisO1DZB+B1UHTcNVl5RUNnknXuA2c1tekczvzX7p+m0o6Ud84zyOSO3/XSstIcPR/pSPLOjRpX9AFBW+KDkZT2PqpG9SKx2qg1uvzFLZ15mtlwRUHvmq+Mc0x1F2LteQTBKcchMkwPoYJ6wETI/ZvWXEdFMmqE0M8nNTc361Tke+vO4B9SSrt4FODab82pa9wFprvz5EETGc6UhKESXadCpLi5OpyHc3JSQXOFBfFDGlg41qFvwv9d4ZauwjEiUPNK7FSyuB4MlqJ5FTG/NEDXOT5LZ+yIjMZo3MPd/21l8RzXgjAKtV5wR185uCTu1wUGrcjQthvSPdmJAmoGCb4Pe/jc9TUSJWQ+BSePBiknwCPko0tuPbUQTY6OvXnmbQKPUrwCy5rumRXhgphRmIZs586aadbvPuOyCYPCdtJMDQdmNQLqGNSdX+dvmTaJ87/TZ7ROJLxCIrFDrQPTM/psBTDjFJMs1NY6cbhYSTUqCVCu3vG93MiAypQqZu1LH7BlVr7P+fK5kHRA3rJqAVOpi7V9pkCPx4CkFabg2bUhqZpMO+6OnTWjw8+VboCY/5zQBSD7VL31ezgX3YiNKLG69kYK3IEzOl52ac3w6k+ATfu7YI79dBK7bqm5qpQQyX6h1whNRyaZnzFr/IoirYtBykBt5+8j6K+k7v/hUrX7DgVx41L/fQHjvjPh02MMEp6uEcJKC5mOI6FbUFe/DPvTzefUAyuSNeR4omD1S61f5N25Jo/wpYTr+Y9hxV6NB58QMZ9/ZS6W2GvkRejJamaZgBHjewxqBbT0yGdXcT+cnxgyFPWPcdUDoBtjmCu6p6bNelofewhMzgne88azTjkbIH6Kc5sASR4UfWOS+AipVCdL4FhgFuKvULnIGkMBYWa8RFKp6leYI/YjPpPvPVNtOzNVj6eW5icVnmz/0mAUa+0PecjqJVZSOEQW354xpgtddc+EsK0D2j6I1wzM0JukQiagAUK+XeKVSoRRASj6/G/l1GsnMH8Sh2drVnCmxofKlmywz6VA48Tey1K9FqszirD4Nzcno50SOE5HlDSr0wGyFZ25XUI1R7wlxea7f9f9X573pUPvo0t0zDD3wVBynBLTIhAwEzll9slaTid4fUYXs1sxQcT9NLI4ThIW20wvE+vD1qufn5hIelMNeK2KMQ5wHZhhI9wZgX8qFxty4789MRjZ7Gt9iFBAwKFKfGATWPAUoERc8uCwjh7ncIssT4NMd5d+sNzOPXfjoYrCm97+NfxpJAJJKo4V/e5dQ1Vn2rFNCss/GChjH6VOG3/EGQSY6ktlO1ARFX3OhfZXWTjNFIL9kIpAA+7uD0jfCdqjkCSbJrb2l7uGClYn1Qxhh+3OX3Y3DpDeSqVJaMoW98ABJd13GyOGydWlIVukrhHetKZZ06buPjgmSsnfNhs4cac29wK+4FZ03X7Uz6YctzQo40tBJQsNpB0ELne0ChqZ1SSWinafMoQPsTFRhr4CXzRJvhMRBl5MQTFbAg3c680cm/bLc6ETAuSpGUPjh5k1D7Qm07z2VJzngeWL8BI/Hv/veDCNIX01sw2mPPHxGBEr6OElNWRDi1yPXv0wWjCASBStIpFGXihDpv4NKLTv7PXX7qNerVzVlxWSMJYi83HvX+wjwzjXm4EpXqeWQfwm8un7KMM538N61qc+81fOlvuwC9rh4Am0bvX6XZJ47iJRkNr+KBhczTOTpEanXopp9MhBeqZbq2Kf3hEflliaHzuo3X8AYuZSX60IEw9e85KLRmXFQezsdfcBs8QoZvqq8j9AQ+mEuszdLVxvnhGFaLzXn8eVUYupv7X9LNrioXIUYJ7goP82of/3Vf+sojMHd//mM05fI9wcZGehb2Yrv5bqk1UclaMq8t9qnbQo5qTYqjWzt9G4rSsI5cpX6KLZleV7uxBNR9Gkhzb14MjLSV9XgrXkZlTFsQ8qlNfLAo6U585VNVB5s3o6DBSAQnUlpIZD5Jy0zHnzrbSb3XiRgNfP8p/ybXagg2fld4MrJujpnk/AwAtMdB/4zRtHZID2oUcdTeK5Xf8MG9wf9vXye/oV0b9WiDJsIlN0VmZkD3vk7dQ+5kUI5NFMqZjxj9t8oujhPes/we5QPcey2yU+tLPsNncHFXGIYcVcP5Jor4HfN1pt8l3hiHeBXpmjqC8dtvOLW5DPQhxzqL8Z+dcOXHpqbnGX9/RhqnpFveO8PtfBSCje9YmUH7i/PYCBCZwgsMPT0fzW4jUovz1cWuVN4OPreG/QKHiNIQhwnuD5CHMkzFLri880Tu7+/00xd2NeTACg9S1oeH8OJ27n4ob6I2VbPkCPdfouX/EgTIRBk692So5qyolyx5H6bOTehyqnB9zb3YatOv59F68JnU1m231zhz8J3grKPGwwdlGAN7z30sNPygGmPNeIaCNbhhVUl9+8dW4YkCl/XaeFxx+e3yDLerHK4vMOY1Z1c7T9PHOzuvPmqonSKJ0CcWJCb+zZTwCRwtvd/zhvBZ6l/wfo/EK09oPuQmG8sjuxlfvGvMhrNmcBpGJ2//dS4T6Akd9yWytJ2TyC+3x57SQGu+TFgUDOU+Yb+NGMdAcV3BRQr7R98ZjU0vvst39MqKuWoaca5v7WQUo1TjaK4+3sxvh1wm1Z5Nz5FXhfVy2k/5dFhW42qo4fzNhc5apjBoj7+ILotKcxjW0XKvwZY8lBXs9epMx++tlFfikYaeutoVuGMArdHoP7NqejcvGneRScwLw1e4XzbnMEefMi+S93bL8h0hbHTgDQGelrBXdqNOKI43LD1EYALfyh2kfPLZH40QBLeuXOaXpt8gWJutYYKSLuXeigVhg0Ux/Jzf/RAd3C1AnN0dGk9YIyUeUxn5G1X9FWO2095fFAFRO7vqRRciGRaFIn1FtMRpNuxmMwQM/vwf3coreBnGv542Kd7tBDIPokdmdTm4UlBF4gLto9dsLhaWjn0hU1zXfFWgJiFBmN7u+3RYpjUpPIA96uVg9HlYdWD751U0fpSEuRdLSkBLZS4lCF9+7H1x5NaihkHBtkcJbHBVmz024DFy3RGXrNB5wRZhU/KIphcYHVkhtfF4sf3HAg7C66mlbmJnkiIXfxw9t6EXi+KH3JpsWaAoEHtHXBO2efv4lQ3AuJSpauuqxOVw1sELFfhjAc5e1hjzwN55aWfTplHHRx/MCBhKXzdtLRNOrHS8oZbRXMEQPZeWKvQFB6jx90lphOuL3m8a4z/ZsZqhzFCWWTiZn/HMXX/dCDjMJGBYcV1NUzUR+e6Rj5EG1u7Cnlrm96DAetb3gNt9o4lAB8pEOfVz40B3go0kWDd20BkAHD0shfYKeKLtpde1Jcs++fLJ1dsNyfMqmOoG5lNpYrkDHaW2Tc5pD835aCE/IbI4zxE/1g3o7sKfpqVsdv2w7DZuuDT7b8kF/e+QZYErACG4z2WJhQBWoU0zDYzB1E7XFvfz7CLq5tunugbnnYcKFd4yz51sJM7CB/2cazDtK5i1JgghE6t0XFc5jN14ezHsQnKQS0K/VuNvaSBrIf4oSdTa7I+lJ+w3h3+crgius4i0YnNotmyQFR49CgxUP3R7PvfOEW/2bLAmdmxT1wSAPQ57iySUTYEX1GvQssSxeuemJC8gkuT7f6CdVTjbBK0G7HJnlRV9/lJEM5fkTI5ox+fLqJVJaNm2qfRS+3psBywWWMGrMxtZs7DPuMhMhObIXpO30IW88yiIdzlxb6bmyucjAvv+V8QAY851FVT2Kye0fO9KWn+eH4EqpYfcFUZZ+eO1luO6sQ/EPaG09HAvwHxCrzX74fxMox5QTmt4YQeCHBAUf428q0Y9pEKszNk8y9zATn2LmGtBP3Kt3XFkuqw9vYszShNsHaVr4b/rzvtS0sKhBHk8GSr1p+aYdbp6qnjEi/dJu0mt6nHoBBGl0MeLmJGTRukC58/k9bURtk3Q8nS91qNLAOIz2rnErfoWVlKvq5ygaU64QEfp5/mq2FK+Qx2KTAbi+0eMz3oOwBlLwf9g1e42iansvPzQ3EUBHNqruJQSo+JnNgMfTJQUVW652HyHPjqVIjwHhmQ6X0X1OO56kPD7hQ9YBo91vI9eyH+udpd3rH2u2Bs/4GJCMsFNqnK4oSjxCUy+OgeNjVctDrWIaXPQ8nQ6nJoQ7d6Bg1RCx8MGZztZJTQyjxpp4nzncTFieaqzr0HpYWiu+FBx96+gODD6DUkAp1QTXkuyBFeSSLAuF8yGDSWyP6WICW0FyxGuk8nHjcAiZvXw/3SLsFrjNshC9wVH80Fn3G1TaHOCZGNbxZap2BVsp/R7zEmTmbEwAfUTIuK12zItKchA/oWxCpjT25NLcmylS1WVU6s93t1FDFYbtthym+ndRqRzkczWp6OOzzxw9xDl1BkAGqMExravS0yXLrrVXIqw515A5MuZELD+3y29lccgJTgD7q7VvzhmSDeMiurrLR87Mve2YY9IcrtJIGfmmU0Fx/WYQq0CuSh0p5e8ir1lEsj8k9O7Hkzo68C+HNvnBx4Ax3FgUR7VLlLkCbHc7HIR9cBwAgSD4h48gqMdt33ofaHckIfn4yfvCOOzvfiZvdDf5M9aA+GffKnvsaBkUak+MPxgAYyxXCloQ9K7rSVDj3I8a4deJjqF/otGOwHrTl+z3178v8O48wkuBxtpNKTowZbcHzb5GY7QwaibnftU4ySvS1hTVCk13t5v+sGV1vIzb8APCGodo8+EHR96YUxxN9hL2AZw8q/FYGP8u/G96awIR1ANCWvBQGOnF8ZBl/nQH72Nb8t5Ye5N+B9frmQs8+6e7CQym629WmAhZGPYCmc4MD1JZAzwdeA88RDaTDs1XUl4ef8HlrrCvtLptIvDDLSw9kw09NI6NHuI1yiHxbIqHKzy7Mv/Dc9tlhUb5NE52EWcU1wpUmGJ+wZMHDjQNCwmseuln/ie76a16w0j3/uXfeUR/zS97hin87BXkuz98l4UONg/u2/xBjSvtsWVwl6bQr/2ivYkD7fRBwEE0zrU7NYnsDkhxH5Kpg9m5pD2wRwbmV3qqOhJquT/azbu9yRJ+56KXS4bIJdPxqLAxXHwOTubhJMJ9AbIfQ5zftyVnDehyg1qojOdniRFRRGDsMFaUxWJX/WxG7OJs6+ch60cBLNfowOR9PoQzRX3Pnoie/s5VSnxIY1w7ld6N2n0Rb3VtG9GXEGh9LCtQJvG2o1dLpIeXQ8fscurs+9JjX2lvsElDebQoKb9C0HnqMRmuKNHEdrIYOuwa+0oJpUWK9dS0lTAyc+MdBlm4yquqoVmUfMd5CpO5RfQkJ7KpKws/u8JT2pHtRriyzwowj9WLRO8n5zA2aZTwJKAdY6x/t57Yooy2dmEnxKHYgHhDOmCvPGJeg9hnypMchicuYQnqzowN+vIfZIuTgMRdvzwjoj3PgMuKMzlYa1YKW/hHKw5ZuC2pKe/DPrHCPifv9QgoTtM5WCbkw6clP55notvyMZRRrl3njWkRH4cS2fhrLJuMQX/Kp3tITIgaq7fv6KbwJfofteY6IWzAmz35jz8Afrx7l2f9qH/FUSXlatHYcGR7BTiCLxj68co61rCHq+ka7H+7gz4qInoDa9v/4sNqxTYxT6V7wyI3FYKuojyTTTOUkgF3NOoiOqNQSenNYGQqqC9/ZY77HSnFMFxrIOa1TCEAtifJ8DBPWNsji/xodGOr3x/8t+Z4dyV1C9BJXbwg+6uP+Cx7/7HNQsp2U+DE3fvABEsc1hJNMivf3R9yzkkIhB3JmyjHR5AuOpypAzkhvAnASYZvTK01YTXPLyVTCY9jlwxX8jD2Z68sQe0TgPGhRa7s99IwARNvNhvIkOJ4rG0CKjU4cPDvhiDAnvKWvzTyGx+CdiF/ERcE/l7Bm5PZ7G9tZ7q003uKP9Ik0iQEHbzcHiAZ8lS0sfY63FzzDM6G4Z91TBtkqSIWqoXHdhokoXw/UNEB3GbDZqTbTOsM2QwbJ+tnT0RmJkQYEfw0R4IMLVi/pjjLO4nGBTkCz0M5a8YznvxcoaYuIDnpfPcUogRlc3LiAzE3rFnB7UpE2HwV63NlGzFUxlo9XWSUHpe86CGZXFdssDwChI31blZW+QhZ/AmHzz8eCuN6lckxyhHUQYfTzzviPhvkxhTS3ttb0ybt6+1ns/UGVoUPgMHJlweCwGb5rHUNTZGX9gTdCrLXKiyY4SPHAD0sX8uc4uhlhG0m1IhMKb0Mm48q6wfmN1bWC9lpRvWouHLWnmfB1AoC7A48+Yp2P67AaFubtia1vfZakydztS77O6EGSLkOtBmOU6gyXM37RIel8W/jIqP8f9WoX5CUGiWDbfZGLSBwZ6gYYjJHusg5DSwgjTck7VmmZVxMbLXirZhG5+WYrNC9I92zDajczhCc6NfFA8ArYFuLR22U9pKV09xzf6zBDJ3qErWcgw/rNOEbZQYrHDPSUPDPAyrYvBvb7uHfI74e7MdWJpJaT4uij0BYKGKwmP2oylvMGRxPl592rFJvK9LkHyMOP5/jgogdu53/C+YNcYC6Sndaji2g55DNvh6izyg09Dhwizq2vUya9DbZjcCZnvHD8tEkFNjoKaIhoTRaUe1NlIzRSdsjkSLVApS5kEzGOYE1k+dyl9pWhpxGafzC26QgHE2HNpJeGLE52p+w/mK6G6s7eOKep009Sh3k5agLOvI1n1CnOXB6qhzy3QsJ26pAtLMrespEqNfOCxjKsHrarzKNZtTx5dY6CwtGXXGtLYfID81Eedm4JpjEnR90VAVXfSPU9rV4VEX9ZZw5CYa2DyKZx2bSAgTv9YUefe7Hz4bZLSGi0W+NGy2BL/pJVWKi1h8VFQUv4L/0Stwy7gzOprrPjZH7IYHvKmAekBxIxGV2sxCTWK3K9tEOAxIRum+WubJK8aXeLC0NTBkUMJTtOg2l+XdV1YvnIPPZdtv/EjyNSTiTYkt0V6e6Myh/TNo8J+OSPw0XHNGO3x9pPd/zv61UoEnnLIBodRxiMEsrqL9Hb+r2ymsJ8gpGEl3XUWyn6V4wWjnV+p7B60rZEMT36y3wqJ3RZz5yQMyj9m3ublmUXHmA8KHzdvYtWrWW0CPmuXkj9NQb6Ot9OlrMt8yB71vE8EbTs2BbkUuUL2t8Z2tRGOPvene51bgGP8l/slfDsoNOR2FplLC9s/3qmnasX+MtoNuAY18Sh5gBqsHl++7RJ4Td+qxA8ftJF0SYmdImyca1AHp0nbWXK6E3UKJFKb3efT+v04M7f7F8oFFWPuHtyK8fqiU9kXWdw17p0viGuIxnZEZniZTsC4lOSjoPAhWH3ltxAH2VJlXrNcINiqYSPIOh8gl/62M+0qfVuwuNeQBrENuRQyMTH69SVMpv9g+5pZXR/TIfst3oCR7QDOjQi6raNWK2zb1T31r7OuAzJpSmmkUlzCGIpYKSdjuyfZ3yPnULnpPoquS/GEB0u3PhbrlOVY1gnS3yJdwee67fTNnc9tC+qO3hfkZhBEy/CwfsiXwqh5ej+a5/ua83ZUPe+NYSOzGvnz2JF/jDrwTVxX3ow5a32bStiPr/8J8WhMpDbthysOpL4owWcDryk/mhgT6325LhbS/9OxwJgCgljcLrtfR+/EG4qBiGDP5+6UZaT2K5r9GEKk2kaMUr1UdMPGtqbzH0rW5i0C9vJCn0Jton8QYdiJcd+epC7DqRptN8O//EbPy2HPJ3V47YK/JEbA87WEVTLvZs9MmZzfKD5OznWyMHpRwCUQIGfpfe5Qc9Pvt6tr5NU4W0wm1QJvJI1UCkw8L8Iu4cnpM5IzG7a2dbmO0BC4+Sc4/84rPE2o3T2UTzG2VDtLogxwy/kxitsJvrm0deQVzA5pSvKtpCV42i+OqSymB8V33LfOAORsIpJFj43MPsa0ToPFliSQRtsSvWONe24f1WME89gsCn0Yiz02h2DC0e/OmBg8Y48Au7TmyP0FaZ7NZ2dBFWmxbybc6mn3LiZLpfQ/lxWeIAzzWuI+xrXuuRl4+GbDf6LpMQ0MAP1R4vPVyRBxaBns3vZOzAzEpseMazunmPbHIz1kVwoOojhEFYNg6I+tIn9a9ua7c9Gxxy1T+bxusaoql4c+e/KOd5x0yHkL7MFleWJ8tvHQMxh+N7FP+UvlOpHOFF11WPNZIWcaYjCyuYHU9bw409VgQeQNmkauIw+S1auCWw2ugiTRslBSGuUfc7RBzeD6P33hMqm+lXd8hBKui8SJj/PZcupsMB/5Axe/UljSOuh/nY70BPcZTBDGpwQZjQVN7Y6JXwlvXk6yXCAXz1I4zBloxqjdzexYP4Q8CslpHcj+5wSCOtrKRdlInF+53xMEemQk5wqb8j5qMXtF86wSPpIeTIbHLB3VBx5tSZQuZFSZ75TbZNdWftIt/xMZSQPtVyATU8NOTNZU45StW6blspp4uan0M3hqT2RsSgAv0mql+2Nc2V3AyNfUW6PHW3r+/LHr9MrnjXPesvFWnK1Yu/pB01xTUgk/5nV938dhrg5P157hfvLwltVOTMkBN8tGe9po3BrbF+r3UhLjz8B+cG7c2lO0wa1P8TPivlwhnSnIwi0IBzZjZQISEc81HjXOpTacF5CEcAgsO19RIfjoIyi/Z1+/nbzBVMZsJMOmWVbvRQN2ijpvjEVq+KKXDued9mUx++b3yVRDVenuNZmhMUydf+xe0tbdTtQKM01Tm3CNasRCfmB04U6zFEFuGJklKmR4xQXPMVU0p6Ftq0pZhDetovWT/JeEL0IxN9o6vWy4Pit6iUGF2/6ufZ6JZCOd1O423Q8RsgDDfEIQYP5jz6zcwMFLebQWfV2KHZhzuq/b0ZGUrZAV1sD5RFICEoBFINAvtV2LuhT1uYY+ar6BDbxvI32mQKYW+TXH5VbshwmJHnm5yME/Ow4I06MkPz9OVAssM3jiIxU0z6dDiiO6dGEE464u8efWVlJjh979lFh0OwcoUkZpe8rtIQAidmXCRSBJ3mwuX1jt3J9DVPCrcSurvXEOyuD6vNoqM6dUlOKord81YchFhAwuoh4t+cOB0QYzP+MCAfaac1cEoF7ORMk4apOY0dyADP3AoqR/pUafTXuSbvXWXx9x3BEYpPWC6TUZw2Za8BvS76bY8B4oiBLzgYeqnI85IXsISdZy6MdLZFzf8AUOulVTkMp6Elcki+gtj9ikMqXZR7votDZpfQfHJDbD93bYk4eNXXCIZ5qVjWj+NAmi3vo3bvj1KMmOhXqiXY1o8uv9GNn4EqRs6Dmkk2hRHupjpnd7zpCsram71LOYRPmNRDI820tYoVX9+sYIUH9yRLpHDMWibkvK1w84c/DPYXwv8VdS2ifpDH7s3LitNTk2VdDZu0/pXomZmYbflsENfAKb9jcTdLMgcVeiSACLbMoJmgaWge0gwBQGUUZLNiJ9hAq8OwYR9RE9stQWzspkqm1INioWN2bdEzeJREwVnun0SgXTTuVLwBx+WeWfkNgp0QWbxzRw2nMSvE8K5COSIpxtdnaX/IPrizduVvLow7ECWBkJ3nqZ/gdf3UnGSpWUxF+2nCa9ZNsVcC/hn/X+Bcta2xIo3Fg1PFFJz1DnT4jxUHjQTeDNoGb72cyVhkaVQxH7t7gW1tGM5uFLflwDEHWMwN+n4ZQVxMJifxBoiTBzTF+zxDfFT3O90sclWTRljN1DFIDMcM/TAX754prOUnADiNJP8BYTPVSkXXCeMgUEzgvHRGg0zwnWBV+fGbP2w3n8BC/1Lnw7/0XRYMmNMK8LmPieZvTaPPNoAjonJFIHSjeOALLxU1Dshkcj+JCjGsGPrhn2YOSl+dXdVLRZo+gABkt/GXz3wSVODnuPEImk+k7Uwj/9mIM8JCdoNdfR1XkeqVcnwPWr2aBBXQhQt7Wp4OHeCp2SuRSnwDlXefBEVG5nO+Ag/YjRekgOkxI0Ot9A2YIyOlNzkjOB9VRNA7Ycprr43DG5n6pZG1d+8+Zh7QJdCcNCPgg6KDAd1/qKyBYKDGJnPmwJ5lADcpFWcyQBEDOqXyt5lJm40/G+n0Ha9XI9DKJDaS8RFZkiiWj4Nx8S5JhiSm3ECRY/UqXDgbhrGzCxRH98gmbmBbHQWE2DPop/k8w3foUT695oTNvNv+n9U97IAUjQAQMLyZM1JJeYd+Fv/29K5JWXXpU88j/Ko6HrTy/+Q48fU/s42FFvekndqqLLmMPCLl6W08HBWu5IxadoxqNr9/AZ5biUuDDflN0LcbJxYshSEQqao1DPFHjyEfbBkmQ0usbDxDFhrJJAR9ExBuilQKarg3AyB/AaDPQNsr2f6tPwjMynJcMhMvLyz3TsbxSA95Lcy1HfqDV2mRjDSdqsLIn1ig1gf065HW/bAdDmNl2gicRiSzROzjzrNHsQz7UxYeiGir2U9oi0SzHsfguAECqpHXYZeIlrxjWXJN01S9Nwqtn4TXtFHy78rvCM0YsTvmIcqV+07a/oIFL9wmxV1g/2/nclbYguq7oPUk3Sbkf3KznOv0qwCa9S4fkDnADcCYJLwL4RL0ekQOJRq5Pms8feaj1ssuezyNwC3/801n270qeAUIRqgxUy3kW0QyA7pdvgHYdPVjanppvQ6icSSKyZXzdhuk6kIvWlajVoVX3HaQwe8dbiNIQvgqxIShuAXza62fYOWBt7Uhjf0Pqw694wVKwmZpxa9zsrSThCzG4/UUi4poAZuJJGCnA/XcfQgheaBq8v+LQBrAsdy1O9bk3SNol0RGjWBc8d/mlFMQCkLF7roixhHPs6W3fqyaGpTmJPyF73QOyLdiAsSqeEdIN5m02gs8wbY+kis6DyduLvUxewtj7AVKwxuYVNNDhivQ4TtxXP+byoAbNae7noRDV94frA8XBmb/DTbOdTDs/2ocW7ppsHlw4pFCL8F7+FIHpwxv47Z3esHvCGsGx53R37TNY6ffXWPZnt0Vtg+Kvcj0re39XP7JI64n6UwhAxA3xed0wqFtrCJeIxCHbQsJI8ke1hu9whEIO0e9xMvPTGOvpXNqE44exNYUF0rJOPRsvcB/4XTly0o8uGOyY2g+LXOa5lZRry+e7K6JlTPVFJkBH/X7GaIav8lgZ4PgEA+xucdcybAT8+sZYyh8JLH6lYvjF0bFp0h1jNVUyvX5hIeIa7AJSkt0Ag/dx99FVhvcWF5v5b+qDNqG702i8r0isbZqZtK1teYYZ9VYj1fMovugxrfJF6WloY6MtU1QWYCzOU5siNhNuuX2kNCxpd9lroc5QN/n9/4B+MLhhpSH2sMMg38UsjAvjNzhYLkdkgCNTxnxgFtZcboZO2H47FQi9wyPuAj33+ueKopLbCeCbqHbQmpZUVxFm7sKW6mcRYBBIumi5XihPZedfdC50NXyz/NdTlizicr2T+UD/4+zUi/cMfP4Xqex804/1I9DpFuZKR15igeV07fKurKCdiOYBEhqk737x0jB1XNuSUxSe4oYMArMcI1cr5CpDACxT6p9b3J2NjBb4nzq2H6RnfpcPVa87EeXr05eKU2B6LEemVhRvftuR7WrVKKREk+1ff5lDrFL8rM5fRnVXOQgByoFt/jdMtVcRqhNryXAs8D2Uc5s2Tzyh58lLKNoVJg3492Pgd93oCTRRSKknstCzuyPY9tiBD9mp1v95PYgrLn33v4kUQDogCLVIksUXH1E8Ia9OpSCxbWXHy9H7+6b2+pm0sZr6K3M/czzKK2D5eaM+cncD4GwxT+6i9WCv2bTXxS3PqwfmbtGiVQHi+QB1ZJg3cYj4X5G4CpNxPdvRc8xeQ4dsSHEV7cZhmz3RN1WWd0bgXEJeKyyUQdnzsbs2sxSFadYVXGTrho6xdZzyIpe01X/sr8i3mww5Al26HZy+2kmcOiCVCAH/iM78myK7Z4GmmOcsE0e/gsK3HuiJa21AWcL/KwBFLmE2lhzSLc8k3KLuILFChsM/BJ+VeoSizQ+xBjG58vAnr0ReMKvBpW1MeBzESgCkKozJ48F6stz2PA91gTS+3Wyd8a+EpTNrOh16W9TETheTV9GHBLsneTvgtdaRGd1qwKc1fTtvWpXfj7YaS/OVs+ulBmj0DGOBAx7vEwRxkJBImaSUnSimNOS3Ix2CROgZL/hR1E3hcSJ0q6Y2r+Bs1is1xN6C5ibW36diPOJ3XKJpLJstR+56zc8tb6T6h/Yy91Bkh4PwPNkTh2X1n8W3rHGDQtMc5B7yRyoelz9rdoUDqGJArUcE0YQ3CdMFs6LVKmv/6IGPmulfzQG7JOpqR3SH8GcLbS3CI3DRsEHc1guJ2AYGLbUP201uE37clEFjj1wu0YZR/+7ydDrgmeqgHnwNZhsn088y/HD+Ints+cfmKUMUpxuLU9KZqeaMb4POAppTjeldw5zFCx3uWbS45koXb9EYAfOGXmQic+Raz+kCDoMFCHDaRB0tvMyWZI82ns3XQDVHMmXdOW2d0cJUq7aSxRFACwEBDip60gujmQKA37DX3vYGmZ47a4kZdEZEAywxW/CCr9rGSN19vjx6dXdbeVR1W1EnEmY1KfoHs9qWk1AfvK74iChq4NWb4iW4yLmqyVjg521jYH9NnSwiWieZQoPfuC5g+9az1VPlGfkg0ycPHUj9nfD3GiAF3vAgm+Y9H5ADHDEtKaDqcmyrMyHELARdhWV/+MytnvkrsfGnlFWMaGU5HWZYNUELI4YET6hYC3zJbcKpeneOCg2Y8GtW0k+NSqBOZdrAxp4cQCSLgL3nyAEh8n0CWT48P482dirbXONf+DbFF1Na31vBp3Pes15GZj/DeR7lEJcO3gWdQT7tl0PkBUzEAw4ClsGQ5Ivw/oyMOSwZHuzSdr5tT0wkZVZyz9BGRGnTQxU97oFAq39iW71Zytx/QEhBNUxUgtVpKXPrLv/KZRuBdgKDKWEQm7EgUo+6n8xH+8FA0uPSQLn/t2X+Z/VYs3YvrB+MZVfdAe7ufqFlZgubk0IQ9GkMkDGllyH58Xeuw8z2Zer9qHV5qOkSIoZiolQ0GwvW1mp+zHxNsH2UeQ0gth2AYqYsDdOyJEDQamapNxsNJNAzJSVcFjqiHvdx9lNiQoyqlW2jVXqhhruSNLt33tKcNt6lQZAfUJb75xvLQHVyxxGSzXgX4+SYzsc0by4yKxuoxPoA8bjznpPUx/DjqC8w5sNvGBoX5BAElG+D0QahJ86cuqDL7qQS0lzKDr8Ajsc3wDzXMcPs9vnusCmUZxpW49BRrqnzAUUWxrEPv7MoVcSjraQRE8lBJkHYBDPFrM9cqAIDpYhoYOmOjE6GxBBH0q1NrHAE/TvlGLAk+hJGBXDGo7Nmb0+dJ4CWgigYdibUbo+ZJLiOt5N8bYy3ypNHyfNAElFKRcjcWsXxX1dwRF2h4TErFUciTh8mm6FR8ZxfY3Ad5c7tefnadTJwlyd0w1QxSKLOimTeDfWImf1eFNPY9J+6KRXjKWE1xX1RMvTGcFw2Vp4/jxLPogYYqj/upMBAiVx6TOrgDAorejxx1v0bbKrjA7svgxGNcJAZZZn0BAUZxiZlRMGjxLIT+V2t0MllWmuQD1qsEco/4BdHpFIgLUSyoaedfPyzjGExBK+3arjwWFLgOwVxWDGEc2508nQqyYDmmtMNR7dKl6drIi4VY+WcR19zhvSB9zS2699Pq+sNsyWW0fN8++qBjLef8TcbWKDuuPe9GQK2kMrWiM7ul6ncCeoY66Shv4IUwgHjzAXnzw54Oo1akNR3oCU7iPafuQwdTKj9u/+Ko05zPust7oLLX7xOD1kbbbd6gzPeSxuY/3DMviknCJzm1/PKuWWqWxDCK7rY7dd/hA+ORV+76QTZJmjHhdkNMwwTv6ojQ74+6wwfIDZ/kuYpOBLIiGdvDFEiEZUCvOfPX2y/bIrGADZeOwYciqtRikp2oUSbCq6InIWHnEjGIIY44Fx7kYmmWm8/CXzwEXBfhGi086lL8j0hf02RUuakvHn51+BhBrW0HJSty403L0gJuLixR+W1jB0okY1zScMsRAN0ElrMynCvguJhn5o5X3A9Pk+5D7DNg5r8y0Tk4UkXEkkyrg4aWpzFiDsyf2liHNDZTI8osXEmFJBxYxtHngjWRPzRUZ99uX2/xYVF38YT99o1X45zGhKGyLqaOspTkT/UIgfb9lj/GHFSsasyIAVZUIa78uMcTgE8beLxbrljG5J/yxyji5FsCmiciuryuHk5HT0aDPgjpT6gC99pHLEQkeeArrOJ0bVM0dUdV1xlpyBUsKiLPVUIYeSMny2VvVgxp1Z6n+doBiNC34Sld10o0stY/Wc1hpcpPM6Yml4Zk/1dq48WlqX38+PqU5yb2HhemMAmRUnTlldLUmnueXpKDbtJ66naGglcIVpMLyuYekcuDoelCxl0hXk7CXXR1LUB5Z545UwOZZQL9ZjI58DPYDtfdlXfz53kAgXPDJV46+gyKHzukI+IrWIL8OT8LX1uwcM/HDQYXR+10xn7oI0rTNe4oYCfL1ct+Ez1uYUBf0Yo1p/BHiE1PVOqjfsy0yl9/coGzz87NCO1sTAc6Yj/IScOtOhSeLbX/TwhLK28YOComfUAlBSK0uP/SMeXZDsIilXtTvziJCCV3jWNeqLptwTlt5G8mNyFHx3RfHaUzd5ZG/Io6rAE0cYkwmohJadZrOcSb78uYGSSV4gmxXkx3Oa2W9E+QxOIP3S9yQM9Uv4YBgipJgiTsiJF8eoJ9YnJ2IZDdKdqxo1ZGJJoK+xsthl3c/DAzTcjZJbBnf+YkLZEhZWE+70fciP6r5F+l/Y16vUTRNGHXV7zTjabVG/mx0BXmJKxhbJgURDZnhul+aqsQHj71NTaX86hL466cHQvpJoJcWWYgXb5igD/hvZGJ8+BGHgWgZhdc+f/+mA5vcKMWspmXxSoCiUm+Tz9y9xwn9jEYXQjcerbjux7nS/Sy9lLcgwnhI++VmEBmkeP7zWOJTKCCh4XR8QH6rNwZt5F+DqbnEjdJnQtZRqhW1LM9l3dH/vlWc6/n//f4ZLtEiDyfBb8W4N5lYrDJiGupTrlhYfNoK+t5PIET2kBjOl39+0dW/lC9Fw+bVf0dbjJ8AAwhDvGK4UVaG5rehZKJY+wFCirSqOHfbC14gUP76z2wNZxXXLzRATpErzlzNpX2uKY7isaH8+FbGShBsQNTGyIiAgqQr6UxhqdnHUw9mRku+KXXSmUMkae7VMtb7snd6C+iXuhHJCPP3uRZLOVSIVL1d3ak0eR6x2iW6xsApBsj6HvyDNTN+7lC3CBtdVwTYbfhI9kQy1iY0DyELROWsk2LeiLDlbJVhocrXOF/eGDGIu2UB6hyqG27AZhu+sRQLNRUhWvrsDeY+K7mvGWPLj3F2jm5+rCG9c2uISDncPP9p+4FhmsC7GihTPkBWE0zP0nEfDh54akP1BwvcE+2gjrmj8NX+knCU04dSr30tbTZ10+eRmppO9NScl1A9i8Mkz22ERGA3PaWZKzzQbsIPydbydmredb19V10lfLsUrI8jiSMgiFo4udbCTOROskHNR2n6G9sxIYXyOdobrZJna4/tOSQqZ6ZgYY4u0JKuBmX0TQGDZsbW2WaKhdSIeGJzDM6L3gRWt1u6PZI3+Ml+ClR2zXUobyLXFqdVLKro1Egx31FawWonmk28zPvjjWngnJoasWAH0Qcjs4mgLXmj6wtALW6XpMhx/1aRxBoFfy+RfdsA/CUD8+INesDT8g2BzBBTx2xJVQ2biDbKRk0PgHCqlDZx1CAvjWJAYsSIuNzTk4O6pQCtiWXIhu3Swc7JtQX/OaPHBc3+HMjBKxIEcP4MBtufTOs7r9CdPtJvBtLvFD5f0Tqc1Q2qqTRDwWbyzZ5ZwrT4TCtVf/df0s3K/wqZ6k3C3DReHFtuCRDhVokVtsvGE17BkT26Gkc6erk5X5g93azyDDPIppxD56blqNR++57ZMkyd4mi8YJd1cYtmy0R3MrYNMal7JQ4bWYbKrTa/UpFhBsebhslbK2Kg36X8I4tPgJXVFpDRx9P2kiawdjtey2uUf6VDEug3o72OnVYFNMnUzHYhuFqdRL5ETQt6G1/y36wRyUjdvlnBGWetIlbBeBcQyGdLRWVhn+4OMQ5M7o1nr2EU7BmtwUopcJusw5ZQdPMwMhU6IvXDqFVkVmYzo8ACUCw3XluHbaTjxsQdKh66//QQLbIzoQDS38myNMdqkRM8U8KOipTsLufQBR1ZuPKKApWdFRNpqQml2KRamP/iRavCUXIw3oApDlRFfubdq8xnlmA+lwwEjHJhqn4L6obhf920uV51kCMFDwO3Z6+HvOFU+L1w5wPCk+Gs4/Ifro2wKi7OGcNqeDC/El44UDtN63fMeopPKbVyL8PVorQcpl5vj5YxFpEvQDBFFh9yjyLQPC9beHOwqJEtWAmYw5ock6OY11fcgK/XmANvmiF3SE77xLNQO9Jkc8J6PG92aM3R9QA4ix1HXJ1HJQJtNnKO7aIrkbNPb/rdhLWIqtHOf8taXqg8WfOuTsI49Wap+feh4+W+QLpwqJ5+Ob8VIp+vgXQxWaGOOHQw4svnnCHQ5zP6y2J/xYSR8mvSZWRsNqjxAvi2oCIqX9tRRcm3q6MIo5NO/zU4DN8M9OBgZZkSDjv3QEQG3jFVfnLK+N6nrZo1RKSB6Knm1p5md7bQGgavjw4jTrCZ0IAs6bjgzd8AC1OACuYtsLu0uHrnZWoqVgjMDjX7AMFPccY2gB0/xoUhsRqvJMpdWOGOAmLdYmGCUtLsZlnDx8U5yDTuKK+HJNKDjxFjZJgO/1VAw2Tfnpxc7oLGDdwneMyMov+aKiRrSWAXgEOy+layaN68SY6npjiXb2XEk+3K3OXvcSTVu07Yaje9Vp1NB3+Vb8WzREFZNjYySsMKlR1An+xwB5ZlsnDRjWascf8XVjRaq+19ievH0dK9L3WcSiXQ7bcrpDFfbD1nHlnNR4qOI7y+Kxu5D8e2oPP338/JTpJytcxvPw+Kdg1ngK9R8LLeURk2y05KK6G2r++Tu/TfK4bU7p0/68NazvG12FFib8BWAV8FH7X5KqSs4TdVuaahzZKziq9eMQBLwmTrams627C76i/QLDbv9RuwfBOQ+2k0Ep4UuURiHAMQ6GdyKWfh/SSCUilzA8mzAJ1n0sVQFhTOfnp+MD6VfSA690t7z84MXE8wb01PjqC9EVCul+KVQmhOpTQI8Nqk/wgqny6ey7saciHSD5OykUBdQ8go+A32XuTbg5HMZEZSzdrKUPBXBRtZ/TH2Re9z70UIUM44v4Pe5Q7cGbLWYxKL2W/Eh5qjsfZml8U/GiF/dcbN2s6Vou1FzFhMNJIYl+/SiU62Q653qvVrTfn9qK3q26Iz3K5B5z0pZULdoi/227avcBIx1Nvj66UMipuuS3tEmLnCFGPQQXQ+P2K9Rj9hbw+VjfdFDDDBIoh5wl2Tjjc25bTTKjdMVk0i9kvrropIuEig09o/rQGS3rfZLNhu98PWEB4Sq+Blm8kHtxOw9EB08P8NVZ59PKjFZo3EEFO905GuvgBklCSXZFRPITB7VodUNg1mJrswAszkEuBrgKOx7TSySZkbyj7p+xGJQplbrCQYAeJe0utkcGQcC6h90901bzEJlo9Dqj1UTYfDupAD1V1J1N/kkkLrm5YQa6jFARL88FSNJADFh2/3eUvGG7eJ3SMGMQS70kHUC4YZa2CODpOOUvyzYTv+CdNapzo1nFfjRVMxIgQZklYdH23xytdBzgE0kYD3Ec08JWPITraf0ipD1ofvWPxULq+QTJVTTKb9VbjFWAveM5jgiperi+qnJ5XtNYunXDb0adnQGTQeaTLSFEN1WMSktfUkPQH1Ocdjs1kU4AFXsn/SbcAtrqs96BgTxQm2oF4HBZVIbK5rcaENY4mfd82dLXNJgIH9WcPls4kUPyCBbKijJ1z9M3sAzyDULrtpmGuzZDwah0hHQv4uB9R78jvRXXSs2j70bWVP4dzjkBE3UDjON1kvG/uqecPWS/T2VzkootpJUgXk+ZGeNTiuCgK6tgl8yVT/mflgIPa3PBDEa2ZiARTN+/bDQGdIdUoEAoduR1V4UQw0uDsFdCghT59WwNtnftbpETTyEpsS1mMVhLZ7965IdrnaGHIbDWACJYJXD6xgPZkX1V8uZELXmY/R2X2wvXpA7swmBOGdXH8qsars0igavZI2X1OFzN/YJ0AyfCPenlRAjPi3uCslaIX1CeCNswZyc7/zB7CFldFRsWDxHIudbkyjEzk7xlj2LR58dqP6iMP2D4zgkf4c02Ff7rWd6ynOV34FxfSeVUkIjGV/MnxF9N/Fu/Q+jH78xmyq0u/Dsy4iLaHOgiawFk5nRR3AhoH2zvazw0yae7ZJUucoalygcZpvF2kNVXhAgnNeZ0DIlUtaKlp7W69jp/ybSYIbdQ0JwTNohoBuQb6L6GbSbaxtNc5GEfGh68Hm0gx//AgZV1Bt1Tjcp46uTeMlSn9DfhkRY87tvYf2cqmcfSeZH8DmCsLq9Ni8Kl5sKKRZuQ1vtJZ1iTNg7trKy084SjZxOP7OFtCmaI/4WSGnUpg2Nby7CLREh52p7/D+x6HWpH0w1rfYH3cl44eUij+59IKZljZ/LTJIlkidzOHMTE9FEGEP73sLiERcSJ/1RSUoLxz4cZyfk45OaJ/SiPOEyOJ4RWJPxAXE6RSfqfXBrx2me2Mo5DWgDWeHId6fqB7+xoGyUYa2Fw5zICwUe2xIiuJzcjSSwGQdhDjimt/90WbcfNaSFdKBhtG/aDM8CpsDz21d122oF/GmpZrLgr7PckaLA4zpAoOCglNZp2f+/LRjgy4KC4mNTmoqy7tU6mJH6Kyq0tCoDCWpPQxsNDO+8yj/4RiKJFtlg1VSXEVKmQd29wdH6n50njNU4qkD7nU1D1BLsqm8r4vu7a1VHTnyarSuO4cQIk28Bd7VYLEcXA1Ij/8EUFWp5xeOriPDWp4CnuePG9Wk9pLUiFmtKPIz0ddyVyTOlCUn1zIPLrhy6IKbi7076kMmvc4survUQ0aWyN32X1x7ptn3YToC0eeiqdaA+67RHpZIelboA8KyqQy1/7Vn/HC+qYpnKCFGsspDVOPbT2EwEew47Xj5MV8/PvXbRHcvMW+lfUuQKozIRWl6jDiXQVj2ky0tUT0AxYamgM4YSfCEt4OvsesHePt3nMfe93/qtYCLuGM+wpXioUVJu3oohqPwpFetgHDuWfXiUOMn5CPOp8LC7VPyj5Hn9FccGQAVMTSFthzCE5MzB3g+Odyl6o0bQzxUiucZON3tQYxouuwnL+8StjBwpRQ88KXn0EdgTJi+WysnK7QX6qLaRHuMK+6DOdT9/KKliTQI9cFlZDRawKwheQDasKxM6VK2kLpDohDPm8cGv/m7n36n3cLLgi40WNVzrRJcFnsTUBJzcJAw8MLAptKUf9Bix7QYyDW7FGm6IKskWnfPzfN1r+xKyZVmM6Mk+WHX8ptEynXmsd5brRC2havJ0zh4LCckhurJjqt5EpQY81xU61jqdeylR4HpRArnTotH2Sf31aWTFVuqNhkSYBEr5uylwjodfsE6qlynpnpYgA06N6CZDBoSlMr8nZBYuDL6Ex1LJmRvh/5fpPgtvpKX9S7AXKLpeGxCDAJJPQHppcM50yHX489bdkfY5TwMWVP38g/SGvNA+4V0FsJQjLRsLsnQ2Sc2daTp5eSXb9J0Pmgk76megRKjBsaltDncj677SiUBOfLI6WkYKF6uPcxeBjozyz4Z5mw0nfl+jXBCQijBsIWy4gWby0DHvnRc6Mwoge10SOgoVwaNmrU3cWI369Jvqxv66BsGxTQuW13NQ1NDLvMbPjsm2SwhgO9KRH0U/IkN8VbRAeb+js0aLEP6LI6BCxx5lSZGiFOqGACkxjsHF4bok0xfQV1MjagP9igDJxrd1HDWtV0FnLg5UA9WCl4ZxNSK91BkW2DxmjnapdpOUXuOVGkSIQEvfxEPHvxkeuaCY1bhvAykiTUUsS3tziybLPO5RITfL7XPL4ZJMGWjAy2U2OfpPiHj7CqlQFR6ITmDoOhdl6BHlhR9hQ8gjm7lSP5FnX1bqXsgKaVQHHrk8j61midZdUXqW5UuwXVyFzhQd4+CrVLlKJt4ap22vXlW2iat7pfWDWeNeSGDtPSL5xE9LjkJl3poUfNbJD1wbULsmqaAvusRoSOjjYpEp1N83drSNsWVaMV8LMKbsR3Xg8EmAsA19mXxXZRBj1DBnpC1OfX3HhE1d0yO6uVVuqZ8gm0iQ1+no1eInd2pyQJfuWzgcHiIxBJnT7JS/w+MwaMYjZUM6nTsIwJOKyP7yh5YbCDmbBlssQ2MjaWGag+mEJenMAyR89KpYApdYBRWMa9vBvjmJvv5REvN8aBGFgYR2wkfkkZATWeRiGpq7j1cRTiOIGMHNrEOsh/OcpKcdUQCFGUPBA1/dewaxJ6GI7lCXIVavses8D3Ejkh6iIlcGvPdRT6m9JFlNxJAmwzH/djhjSlyLMERwAcBGVvcOTWtoBfZU8Odq0qIY7JCZpecXAWHUCNNnBJNNNavMwBLBkCtR91huNtMVucCe+0uRhBhcbseFWgo5wynuH1z7JZSZ6acgkIlMcU/dzR5FSxxTA4OGz/G3wt08wiasjmX1ubyj65ZxbCutSJwojpqDA6QhAaDhCbiw9laejYnQ6j0fmjfpENRpsjnJvvsAt54qeskbewrvp/d19c5/F9LEkj1ya2jr0DCwyNLjBOqmnOPt+byNLfuRHK6Dc9bordEsVPBQQV50zOl47UMaUEMStJg8Fazokk5lKAzErvSNexSeGYY8eTqN8YMutXNCDEWEbn3TikAZmv0wjYGUYQQkm4WmagRsMSDhB2xR33mQHxEm7l8U0GUTeu68fPYG6u5Yfea/DyFkGtvPdncWkPlsg3aD0AzXwJCLwL1Z22vT2w6lotih5PWAfHx/DVkd4/KO8NQZYAb8cjGGRAobqCBhQJCUPHHEuZfaD6vynwoGY5XmXPzb6321FPbTEjLPbCXq+m7EAIqLDjTmppiMnnbJkoKA5afUYJhq5rdMnYyI9cuIKjqnkTIibQGbLfaUJHeHhITEOA0TMC+7okdc8RI7QreAsqgYNBC7l2Iqk1NknQYGIO9XfvvjvQAhAAaBcawr6C7jcPH4XMuKvyt9Eouhy5d83GsuuvjY8t0gtZR6sQV4ZSMTCBpo/5CXZI5LsyAOwmMjmd+Y1ke+U4b+LYrTEW1l2A1diwykWuZU3VId/Lu5xyd7TjNHfysMfbNqIKNRYlgiMWohhd7r59N3FtQh5At6kSoEgpgMn5kXTCH3Z3/0EGRNwwP2KVAQyw+9vUfbWj5xrS002wKWgyTYd0xSY//KMz3KjnLCjPTWhU7wRsoL+7shDRvG/dSbirZk+MqSYMooS8tIuxp79NneBEgx8lvbCYmp4sWUngARFATILeZHEbzJ9FNKXls5uz/NHdbQLXiUxcBqg6JgqLIckro8/TOYqnDxQJdePeUFJ6smlmhJhLGJMftHYys1N5T1CvEYuEG8WWujQwPqpIm5fqXhUxwXchKOtVWTIV6H0DpuTk+9hyjMr4eRGPqZjLEJdsBdgWtP/hNOq65RS34eogswQUOKX5hDE6c8AF+gMm8gyePDQZZu0Vm47vgFpt3jOxCVLnW/g41k7+gUkAV8iZd1YrBTlr9cu1kOo8u2l5RjhJRLl1L2k9a6ezptDAtP0YJzGPgDFLclJmbP+tM0wAUMgEAejc8zZvVg/36ryI2AAfdWH5QtSC7f/NHt2VMKBi0a+Kif9RBmY8N6biFlCqPZyhJYOpa8czVN67tr9ZngxfaXxCneMfAU/lk7MwZAyUPodTxwSM9GtuvCCzMPpCuPM0jT9p42C105MO4FOJH+kqIGYojfqYaZlP6JSr2DZr2Kcj1xTF+YxeuK3G98q40meUKkrRodhMk86O0OAslyosakCxBdAvy0BpU8TC6gPlmBR6DRNrTuneWogfudVj7tWjG12UnZoTzo1qmCXyFXiI0+ZFyP85mfkC0v7mdbBDqDuFBXcl8ntrL0AsdpCXeAvWEPsd++tE4x7b6x5ywGYyAsEYyCTBh+7AMWRzqHZ3wTDRDdvdZ/1k+a7oh4sU2xjCt6fxxpbP6wVU3hbl82iyGSspVA6NaebIylEq1thHPPj1nceHmhmiveq5SEN9ZbGzB7iJwrnMBLHjajdCqwbMlJIlv02d70IdO/RcMm2f1sR1IZqeg+tJ0D6o8b5cAGBLhRZEthT6SHn+Dtdpn5QlpGkj4pxts75JFjEXQpGTwa8c3HUdKmK67U69puBT+N92OWnxeNrU/usGdNPxaMhtEBL3xBDDzbT4gPbiMAV8mT/I3GPPV+XEJIW56cXnikf8gXgd9Knh+IILyhWkPVV1ff6lmZ5/pQZDnBPqVu/F3mp8rYe2C9TNKZE+oLtYlm2TaR5P8/89bOIsNF/hxqBXrD3LAXMUwHpJMiAlG36A47Vx9SZncRZ+lDXIJmf1hx0GrmWXPstAcqrCkZR76151v/qt7+cO9siPmGUMFHnNJSHePDXfPs2xDTowSI09CgJpBHi797KSUCTHcX6nZBo3cwV1QmAkHlMrWL9M7A4ylh5KeLVm3lErQNe+71X6empZKt3Firvl2SWPIIvRx0jnT8d0zfw5jYTwVpXvhoRbmcLmhQYA9JuRjvKChDNnyfLOmQyO518c8dP1uiVAgetg5uB7hCvhRqFZUTWCuZAe5u/2t14dq4teGjgbiqYlMu5fEp32yZaWC31NUUzPZ2yQm5uVAicV3Q4GyBgF8hUDn7AzGtKkaUcmvdIOPLhJzL5PHiWkAwjScdue+D52BIU+btn1SSvYVCwI6NGizfSxShi7W+3OBUprIedxX2cvfzUo0NngCmdk2bpHQaASxZN1K5NSf9HDppv7j2PPgwlJusqq92nUggqnA4Viq3ETqtPyo5ndQ4M3igALlhU8Mxv1WrqlchKyBjpc3BDuS7Sl/BjtTP2JO4P5ZgXfuRMGzgSrkPmI0PBTUMT5zSrJ3pyV6d3ROa8PUAwngqm4adh8hvGGuzy2YminnFBze6vRUmIHFlnQyhWWeAHPxSreBU2LjHQQyUmuCBccUBbUoFFsP0fXirpTPwDHDAyR3hUiwsZO5ys2tzZ/UgJtIfk0ny4V8lIHzG63nWyF0RaR8VuiRO3f1pS7lkH88um/EgUgMvx3roMISaY6MjvAtbIjlvcfLUUGvOoDv11Bh8oGEFiZLLxUQCjNeHgRqOGliOEEFP5OkHoCK2jl1+Q/ezpW+Qoa3SYRzJBFEIX6ZBL2tfg9w3OnaeOIV48O+NdiBGjztj+c7QAW1Lfv6MJpCslf/42J0pZWFbrirPkrjx3er9gke0XfU+N7bfJPWKhWZ1GRgE0hKWSn3cjrvi7sC5zUMFRs6Ln0RJiR0grDjn5BCG2KVCaF6ZTqqTSM4Lz5BFQ0sT3rBKJzq74P48ZgjcxtjX59GJQp9U19q6TpJnMJIup37Z9GdJ1Nh2jF09Xfg06wVxFxV3iFD/g2HGAAFZlKQt3DNhtUY8jGi1bXA/whkMP+xOlfcwn4wz4itmoY+d+DomFUt1Eap9SfRecPR4FLvH70V6X1ACOF9HFYA9sNmyEvijsaS2j2pfIXPKSHXQteei9klrvNSq9gi2cdF+jnY7I5hq/BazMW3MdBZZJuZHUG+6h6lKoShams1/xfQoZB38cHVqTTcG8Ah8QXdMpoXJ+/M6V0tUnnPRUAZq3+EnlRRI57EnDugER2TaoaL53j5D+vhbNZFMT5pygw4vq1gAHXypvpIFzXM3R32nY6I03M51uH3VA8BWaOmqssEb0+/TEy9Fmkh89oltbe6xMul7rRqq9OxMitO3/+4AAEI+HSQBNGDtURc6qmx8NaJdga6bOH0LwU4Nm8GHRNJsiujAJnRgnbElGSVbIBbfG4wCGlIkuIjhVBhJneYpGLgGWWp4iSmxRDqFz7t4SC/dV05/DcYcN2Gl4j3sn5Btz8SvAXplbjPaoOAbwoe7ko3Lun3m9F2a4Cteb6zTmejCqIWR6LqMNrlhbu1SUuPT/biQiolhUWoG7YFlWfuaBGKgRNfUwAxLar7iCH4k9QqhG+6JtcX/tAs37BR0si9CXnl/F9G1f4XCLeYJU54C2DcXtUNes16E/83zsO5ZCmMcVHNE1h2UsWshGBscZf0FZPg99iuvkrC1z9LSOGaOBGNvWlB5+euRIriF5VSV2yfDd95lWOiCGmXS+1+ODLvD8rRgid/UlWNs3T4ungB7goz9diIzcCMt205QydkCi6c94VbnEGXPhjfdluiGmkp/cee1LVlF777i/94V01sI4n/k46Pb7SSYxGzeZHyt+q6NciSxq8FRh2VDXjgruIa27VZPfVCQWc0J87pDbHmjmEvoHycEZM42eyoT33ptMgnC3vnQ8nTC2PcHwgi7hhrllia9HRDf96SglxtOygp0/XfjRIDSbePgSymUMLUbkGQnJkyV1ULoA4+qjPed1czhI/lxIUJDbMqjg483k7+Lj9NyFWRXn+7sQl4hJLqt1DYcPxcUz/PlZIcz0VlnqdkWEaIv9bTz1esg0V2ky8jNuRo2MKENQsajQYfuXZ3t39JW7tEF4oQAGEC17BdwUTHhoDkfm2uwtmbVOyKcKnWeBwi5wB+po790pf7YwOoki0t+k/cVnhhX2eZciNx1zWeQanYHs9T+5hOP0rhBBARdbIokFe2IH2hosRQTci1aasnE/vmGYEHNkZA+NLSEnSCeACffSkRHkOUhQmfEUp9wsQJO1w5HCdwHqU9KbYczduG8xZLrxt6TZIXD6ci+/FICH86vVnyuLHv7QOK6ZdZRLAGgSIPd1pmrLuCVn8nx6hqMgY8KAQ0xamXoAKorRu9lKk9JilEgzr2bDJVJ3IfKmBAyUCT5aBM5vN2oTWtpC4W39UHH5oyZUq9b73LNekc4cjwW33XD31jwMwRppX2TMlJcQo6BRS3uPVD3EceC3ptVzVU0WB6izCz7VvMKLs/erbX7QTRt6Z2SPz1b/7OKHYVfq5c5aF07pFzqFmZV8aIvuEIFiSUNd4UPF5TUfzyil8t2JifwxNjpJINa86A5fUVb1HpHj8OWtxRKck0RJ7UCt1dqsEl1/f/uQxXK+mjGxn4cVKA5D9fQSCvUpA5P/Vxj4vlo1u9DsdxJvZcQhQ2NwX2ShUoinyFjXpy23UMcBTs7C7I7LvVAAE8bVyIMfveKcmuJ5+8s53Yn96yC5HxDH8/ZS+R5k+eM/xKayBGFDrH1nw/JVK3c6JDL3popoFxxzO22l9f2cd8XwkPHJXB1zYOAdzsiFcrQkbSCd5f1wpcTGWqVvr753zpIQQWL/UehNLR+RyRNLivG2006Gxa3F8x4H/EmQKNKJSWq4yKa2X7aBCbrHu/TOBaF5HJT5VH7gzSTzr1PVQxql98mRGaSN6tO/g7HhvWshwlWt9Zappu0/zfK4Z6HqqQu16BeGjygUXqYVSY5UlQ3yYed2pw/k/yGObsxTe3+sRX5XHGgzF2ZJPgRor2LDxo1cl+4wFV6RmBEKl+o78SO0FR8BhdTPtQ7AzkxBcQYgB0n54/REt30py3nrucGBdSffbI2niySyCLWYPYp4EG+Oi4bZbPSt+yDhzfZBR3jhNXiqBaKHi54SOYoHRNDfS7oI1F+B35JRxDDy9pCiI1Axi8FEEcWXuYUDBjPv8yJynIey7TgPOf2ToLqRrb0NIeBQRPbarWF7KL38ef6yNJYPAA6+qs/db8h3LKTsWzdcQmRNB4m7bRroqcrpPvkzZE7CVD34P7J1lqlNwRQoaMwGOn/aTvyMJyTJLy5ddXFwytoKf1RAbWDOvv2Vh2o5Qemj9IZZcWoRCRsr45LtLTjDBUZyGKG+VrAK75fEH+DIl/17ufn57/824GQWP3tZ8YxINpGe1316r0ep7CxJDrLcz5ZOkz116q6wIAnXIccUvAbBpndtlsTAHI6/9L7vd6M9YdqBd2u+fHjjRcgMQc6aIC7YmnMT8mzIg4dRz6RS2oMuJapJ0s6w0drt2wzh1xCi9IRu3RLiJmZ/pyh+YS2fdwiVWjlg59RQr2NaPnKQ+LL0NmaXjiOHYKqIAAV+7TycY+h3ihSNBWdrg5A6H9niJUus3j08o40yMNRQBX8CFVnVs18V6i6eup+qr6H8v3fZL7L7di9Tvtk5hs6IA5nKzpasFMkdLt/KxaIZPgwRwp38Y7OSoStWKe9uOIQ01r8Y1TlCJ6jT60E0CLzbfI9JOmRvfzH1MWxF+6EtJ1DHz5fmisFn7SNU+Mrpo8iBruG/brgKil4QGkba7srz+4MhKzznbLkOHWKl7H+WQc5o1TMp31hO1ggPnygmqEgQLwSzgm8ZEwF3K7Nh0wlcbyo8M5ftRhNw5psxXcyDMujofZoxwryPMmq4PvCJeRsPIjycIEX7HrtuqU+ZxZu3C03YXbVI+YCx3jS8NAx+aVeur2aTVhYGwVaW87QnMHLYhh44WvDs9OuZ5TJjA5z5VixMtyztcqWZ1osDGpYXxA9GUJaI4FIL0V3zzshVhDAhg5j5aNtihm6QV0qQTNQRZuInj9pDVgcTTVqyCKkjqMTnxGsB18FXsBzxbDrKaYwsab/WvPUwuvgdrAhogA7cBUZaT00Zqf/Jg89Rnt7bLIVPksGrYDtacWEcWP00jN1MnPJzi1O09qraOwuzYheX/PdCm2s0/Yyi1767ZK+05WDDDOiMN6efR8Z9APi0amu/lR94h45NEW8q7P9z5vg7XEkGann5En9vW1U2a8ZR855pu4IIYGtVHs8FugOgzaEXS6PgGJ2W1+wb229F7dVHCIzgSl7HNl5Dq0f3f+PFtaQ52Fwn4qmh06IokurFl/gPtY+aorlA5R11DJfMBIrUMG9KkX1u/Fu53ZxNjU3EMzARFT8ovoXfkS09asDWILdgr+1Ms4O3ZBX1mwQIr5iAQ6oqqtFMKfCgSQc40swkM37jlrAPbRWCqsHGzg0FyYDoKZfEItatEhVziKJtPNcmwAgZQb0Y9crcbe9qO9jVI4HqptjTQop0R9WlYMgton9pGSH3fSZ5zdmnS7c1n7CU5qmV9ER7ASLNaO+1ke8RGqvXgetJ5Pln44O2ZL/lqj+Jkrah9vUO3UMtKD7X23ojz8kt/441PEUkJGRjYj5fYziwSDv5y4gtyX9+UdjDc6iY5yRRBzgCeng31pjRiPqOeoOA4KN1VBbhydld8qKu8c9/CerH+tmcP2gBWdUdbwOH9Y69y3tXipWKksvDG320lnHB9qz1Q6ZDwW85EFmb4aniYu1RqIdoACwiio8gGkyVeS+wkcL6Pu4rSlBDkPU6uexvpDXJvNM9ftqlPAtoppDpTie5fZbwIcYgYqDWxZ+sjqfbIikCUM5MX3bb8UC+yGTN1Q6EKEkLJ61PwBeEt3J6DApf3P8KeiAfrDMmTK/nBdgHu+ZP0kWM/0fel31fyC5nm07T4a7OLyAvnWBJb1kQZGtGdoPNsvpxLQV8lmIAHogQqYDkHXEks5vpdYLSPkU7BDp05Hr9OfAPPl/AOPksu/JzVyJ+5r3HHmAIeDztqqeu6c/LGeDg8TFWx+ClQXLVSjKKjyHTNou66sK9Ugpq4RZgAKQS9rQCuRphRmMTAW1yVFLmK5piHto56AIM5w2My/mzD4Z/5PYZFjNELW9InzumQmwgzWNWCtdJOEI5SC74hJtGcC9mGLEBtTnPPp34GcTlWpiKyIJWvKMEEwIZpt5O6ZuEstPXn/wjXqTqlXYak2FplTuj/pvJfQ6owuruOdRzsVj6nmVIOgiUzY5EKEUPuXp6mZEhOVSWEN1DVl34pH2vmKgkkg3w0myBLkYAlj2053zqR5ZZp8XIUANb85kG79LMKQ3VZQmN9SV2ql3OZZk4kh0GsEinr8zxJKW+p7cBiEJ6WUaxxYjGzF0mbw0Iik0wjzqewzK+vImPKUv1foZUyMhX/9Jgf3CSjr6QdMtkvUBC81YIAxEQz0Ok0mZ2JIYZWl3h3KtfIOMoNDZOWWYeYqG/7pv9fcSJRnFTXgbH1R5rlD1HdvTG76Tr9tJG35ybEissgXYfIUnTLNoJCMOBhasUdWsQYYBV0QUFz5udUG/dwLdIm+341uh7/mbp7EiLOexoD8XhwNS8LjI2FOWezSVNMXjfUV9IC5FBfMNM19p1Cy7tFEaezGSyS85rz7HcBuNwiNA5uUn30dq9sw4VacMUQjF0e0qkiUWoIAzJWQWYm1JJhJhlV6sum33b/+fi9ZNjqubuquXzZ1FjIgCtkvZLV8i3/TuiM6puDLe4+bB4H+TTqHbtVW4waa703s4bU1FEnBSwsWns4a5w0oiebSIUBGXv1gaFbHC+MZpn8um84lOnr1zUJKubq4drBL9jtFibEXHs/BhVWlSvepv0NCti5kACtJHxBMRxM+neWDM5WZw8CmdgVq+MfD/XOCE4aE8RzYCOsTiS/t/Ab4VAuhT9OfnAzCZKES7feUwjH1BvYp9wfOCh/wsiVf0zyvxih9vhMRNor9Dww0KsDNyS44q33pFCmVcoysSYrL19p4gRnG25YcEjWtqvmYFqJFwWWFf2CBkEJnpk5Ew+3AgVWNSyUXdCklFVj/03e6iHVjmKTZCdJqRdnzmkI0vWI40iDXInbHt5m9ewMi3bYQVFtrmDPk6phbbvahZvrAXZpCg5cKZ+WbuDgOMzI7VOTUhPWEIHPxrRe/Pif1Z/FQ5LOScc1FyFvHDy/TvIw18RXc7k8AvivhZEXeJYZAAPmcXdHDLmfgMMO8So+QnPzrVIWg5DPAO4bRl+rQSYNhN3Z5QQJQ9jQyar0wqq4iJ5Yv6zGhAmYFkjV7CK3higFui/Z4CPvQasc4UpJhgf9WJKorGoQUZncIn97h/6Do+2u4sVnVU1rt+CpY+Jxf+sZBDbpOiAolnwX6qgoV/Reffgrj8fQ15euVO4VgQiqou7bO/AHe+KXytCdFYNYZgJqiY1G+x3Rl2I5H8vJqN1iNdowSWObeKu45dP+SSHYG8oeRJ9prW+sp3xzAolcb6dZyAX3df93MACTdh2P/IF48G5VQIJeMiKSKM7JMA6729l9iF8a3xiqWABWE41cce9Gu6g5E5l6Dw3mlKHu//jIuykulX6+tV+ebiUiz2OKAZzB0gIXRJMfeZfAEDVH9dBICav2LMfMlXiKDFSqxmowpNeezjxTJPG6zu4L6U44Eeteyi1ocmAuOnu0boi7FQld0iKV3FBAV4j8vVI5X2dWYWWX4dw9WVMAdg/OJFZmc8V75+J9uSTiJgZ6x9vOuCfrypTV3ZYTo3RGLQKmLwR53jd5pvwahokp8bDHYjQEP01cRVTeQbii6hZjAjHcvp9Jm5zIHhXWMVDPjkkWksSzVzMeQyGR7LAxguHFAKp171WK5BqlOJrOILMGiDLS6vpd0HPFdh/Wj37uI0DYYzTTC22oFUD7t1nsxZfozFhLNkHYG4jzxMa+k0/HVZMdQG507uKZo7n4MQJUz+ST1N0Cm2rAqOSItNqr86MT4io0IrJwtoE7DSPUX96BFVnmxtjhCcXF5psoezRD/G61olSthhOWyviZd0SAjFZ7/5tsHrD8zosvqSOeK9fNZZsTq6XEGFRM8vxEGCFg8/dyr8Z90E/vb0AVyClatYnQMb7l/lVeCeb5SKUpl+4uy0yVtEIVs+iVeLWTikJeCpGe5RqmPG95NxwcIDMjM08ughh644VRvoRPG8PwVZQw2h2pytQXv8iuyyVizbbmBSB4L+305ASoF3EKa8+sX3Hlsxc6oJKzmx6yZLt+o3R1EexBfuhMcQ6jDr6wpPIIKVLehYMK5607vrIvuqRLc0Z0J4NwPpAm/uyKKGIvFpzF3aNVDRT33kJv/WHhVFQOFdXIzAT1Nwt0Un5edtxQmd2aURcMTBP27vAN5mSZPm9qhMbkZwE3OoskMZE3Z5TFwjuJxXQT1aZYwBczOdUarwUBof8OVwmt5PiYSZM/PROniZwcA3J4wnVpIrfUTpKJWMvJkk5oKPnWdZbAYXS+BqZnoN1817X5nMAM2ehhci6yvDD2Jy6f6/3jbF4SB/1+Rl5Sx6VqBfJOn7DFLayZICmlSdb698CPNx/FEkuqA+jJF5GzxYkDSJfXIbZq6Z4ifWaseL6ldFHNylKoPQ2YTqd2arJ2jEjSyBveyZdcyc0TZNtWsJU62hJ2YljhDFcXjkLPf8DIxF68E+EZmpuahAGUE7NoQxqoa+zhcgd1tSVvD+vUpQuajLdExzgwqDeQnecskmBzo8sT49vLSA3+XjxVaZ7bs1tpr6FAek0CtohJmrU/82Whw4ndUa9ScOMIhIltUe4K4OF3Cvx2IOZPgSRgDG1T2hf6chnziWzHqJIVxjwhOFdA1ft2QzJVRjjyYR39DXG/l1d7CPpGehelVrQzXMtcTjPK/7NhnrNYQEePUGC3DvAggaNAKLNhulWHYyrfv9qg2hkA3UWDsjrje+DBTJyPBhZG3855Ht8p2gk89Dqj+Acc5KQMRyDJcjczghMAjpk3Vo3/Qbu9rIAebnVUKNlIOI7CPTkBAwVc9He4cdEslTbqMk4j8s4UIhmbTO1lTWHUAT4DbPtm5GzB7JeRgSx2AS/hikt5DCIq7dl1ryYXC/3qZGbYDbNhZY0CtSdLDcmSKci2Mq/FTdeC4xuhTzEM8huZKw1AGo4+DUJnjp1qjfQ6onbmo6kkW2q0nh9+X5rgy9eflfjOil130fZE5nwGaG2tyranCkxt3mTFqjKXWNBH9xb1+m9VG/noVUdMnKvkoLTf7HbPoQQtQp8q3TN9bFW3r84t7kew90RdWf1R0jXTfy2PrUreftcZSDSHmlUc+f5GsNlVHGzSlbBUcMhqekMVy7LNfF8M3yBDs5QfQUtklDZQ/RA/lkbhLb4PxIgvnLOnb/tktrSkKJNfCLaoD23E0+PUK6ot3WWIu+enOJrXXVMjg2zgaPuNYP0t+LxIwZbLyiK74y0QqR8j7T3YmRibh9cmpMIhnzvLie1JOEge1kc7/czPLFnsEvodyen/NRQ1lkdneURPfaXkVLuyl4n28S0Dgm54itR7XvfG5vVi5Za8YpVoJNJEWC8QBOhpxUM7LwAXjBvoaK1ChR5n+s3SooBZH7kvNfjryNj0cjdKQim1CLD+2VQD3IBvAXTbIs77gd/1tKnIYPCiHptACrSX1os1wPK3EAl+6Y1KpXEIHK8tse8d1qDuBzeMQqyjOKUGcASQlhCnc/G/CoNfcUX0UpUIjPE6VDwg8RBFsuEKPrdQomHrwfYNHpsYhOA+IaMf0vnZ6yJGuAHviNLbkGpGKpASkauU3HLwtdkZQ3Z32UT0vnNOtqDmZTdSc21k+NvaCDUtJCO4dh/AlPb7XkDZ1rxceKE91bP8q6lEwfAaFtvfqe48g1izN135g28T9lIUbuJN5a4VliZIFLyBEaDnpNB1D5E4xeTa9PtgmP6uOT1eVgbnOHb3Fw7itWkH7y1cItRqbqk4ZWv4EqbByHtfBvkWRf5xn6D8fw/58RdcKDmki1hFpZeEzkTfyxVcsoPaUjgsiRi0d7sDTD70K31Frh+rak1+uozc1eiiIHeiFRk3KgbvxECgJdE5cg7AOzKPykN2K31d7sOdQPlPBZP8av8swGMlTD9ZRRrg2Djqg+cCN0CcJduu5ygcEcDSpyGl4VfAgwiOWInp8GtPeWS2+sFp23IgZvzKd6X4/idxlsxtrvQhGi4jRBK5hc87Ade98ulhj9fLFkpR5L4zHXt98NJxEaU76F057ccJVVhptrE7CnZytqQMHxFzwoa4hxaLOgx6WQDwGFcH4oFFNqe1p2yKmvofW6aebJgp4nWmP1GRI5sXx6yoQfuWZSYBjKUUceuzuuKZuQXL/9gYtH8leqGByveNu1vkmxkiywDlXVxZr8wyiTZIawP0LQe9ePVlNdN9Haguch9/eLBlxUaO5OM/Ew2Tx3WddMmYHNc88wUbL1Bnv1e4TbmBYZ6rUrTJL3otuGcQdAQQW++EKn10rBgZrItrT1KFXlBGktAkd/3Bxyb5bo6DIDdyd6icHY46/TOWjFxtqJqRKGq8bqffVkF/p5xSVMmbCQrcriH+JsDTPfMcEpKAvP4Og6mEryClkgWoNtPZVsKCRqn/FfZYQIY+WAOnrCTRxX4DObXEfhcjQg5NV/AE7Ok2xzYQTH2g+wXS7hXVLOaq0gSsu3tL91zFPuJt5oQsyf5N90BgbwdNf/5cfCOqWkSvgY2jpDL6x95B9qUenG1Au4kv6ge5pfU0y3CDl+MDevJ5myL6zdlRPmeRgiQ13s37/JHnObTnvC3ddahOirNBJ1NBsT5t/KpnqDgrdR1U1HnUo858A/OY4XGV0ouG3il9rbnx0re1bfpjvT3nDAyos0I0Vw3Gzpnae4UhHZ3JGSu/Lvc6RKVq4Llq9s7uDuxKz2yCcoob/Ig3EtqHE4HFeFI41arhRnae3HGKnTuaxPTy3HGSaaHIBau4dXbFtuGg/zpQ0atdvE0FCPuZbPNjurho0cF3YIf0ec17+z5B+t1ERV+mqd0M7+StCqv9uvh9y9f4HTdA9BCQ008x3Ytguo5vUNCCE1YdaNbODLLITmfePBsYrR7JYsc8nBQOHCiQRLWTgAAAsNNv8ssGWaLP0oIp/U/vI9ckg79OOR6MjjwCUlwQszgeUs5jWsOp+nyYjOt2zYURnfrDaArQKasM9PgcvcQqUqzISRMaJh3ArBUJo+xofl2Ybq4xmxhg4chVvhzM2bSFeOu7vWYPE2fDhcurL89nsWA45stshMYBF6BP0KnOcfNqzrfyZw5RN8WJfO9OverpxWgTNZizlckKgR8tF1OTnIQjIqJiSchkByIhSpSxawmbze5MqiB8X4/Gnk63ogjXfCchdS1RDPq0LXqRr5ZJqCuw0UguhU3Ca0zSoYz3PkupYYzVQu8s+oce13he3rprl4bk17BcZiscOfpdW8aZmuTuFexGqoRbH/xraQoTFUQ1p+oJTAE7QfysGKEEY5RjSOhC5fKSpd1BfKXETcN5o2D49mf5pUErQoW+fTYa5VP63/KSdRfFKiUb3Kiz6oxeNNcGwQE7JGTiBWBhgo0jsrY3ln9utc/x+ygrOVwBBGC46U+oBBxrgkHDedhAAOVgxqAfsj+q5QOARLOigGgrK9CIovUDAwIzAUni0WBO3IBCtTgTWAbrLdke8Vdsq2BQLUzd5WrSQuZi1/xQqGcI21gEAs8TDh3ZP/zezqeFVE2AppSOnM8ZpX7CXbM6/zMEaZjSZv8XAwlBaA93XQAIEClsVuRnVTGZJE1UcGX6vEHjJzYGow46GOmWqeb8g5oKlIe13upZGjA0qKL1ChjIufeXi36wyEarFBnoC1YpilvMtvJLq7X0EpC1kN2BXuYlDRgWtZWzqERpO33s5UvIuNbMBq/Zc13JnjjT+22mAb8ABFX0oAj6P7fRnxhgcU3GJbZQwjDsiVZMC75yS0w/eViw00ttDJ3f+h5/oflxur6vYrsrSXjc1ExiqbCPfiNXXvew0UePk+Plb3JGsZYy63wFIWPDD3bIxZFHV3noj9QYaRMRu87632n8DjmneYJQfHVCfcm1J9Bl/H94Zeuuf8Jj+Wb3MBQJ4GX4nk2R1WH0kEHuIWxS7UQwJkluNBPCq4DkHlqqy/l5ahgfOusl/FGxrZdaZnBKJTXnFo++sbluc1JurX2WWfLvcokkVWh8g2VyYrWk9sC6WyaXgm3Y3YxbW9ps5LvqPzncDBHmtYz+ZzaHjAEROu7gGkBW45MXPZXwXmeqBZcippx9AIu4HjnZlT8dpRBN7VkJCICo9wvk5khRptc6MrFoGfpZsjPd55qzP5A3FENIag2F2tNCZwDuBhc5Vb6hi9j40XNbTbwt6tIIiMGl8SUaeAtr5yxULhS/k3LCvmT7hDL/6FDQ7z3GQ9GZhDHFG8lINUGJubmn6A/66yrQwB85lT2X2yvtn5ZBw1glB62OEWkshxXXldCJppxag9E/U3HfzVxzHnhc2o34M9GeZCtFlWnND7Vxdapot1GqAcFu0PisKpmuYrAFYxc1muK78+E6qZII3Fq0FX+jszrY/uMZk1RUgltSQ3bMeTarYZfPsgESqSXRo9PcUJ5l7lDgWb4xqq2ELTOkmlxEEmFmMCGh+eZ39pxmQ0Id9ohJgM92503CfVrvPw81NA6VQClBjtTf6PC9LWo4dCW4uhSupxedTrsYXMk9Wyn4aIN2BpEIqbgCN3nfDflwcnJocWO6Ftt/Sox9TweZJ9jwkfVBHTUZ3jDo+hOgt+vuPQNObkQSxhf/u7/NpXD9FKjI25GLiCCt0MAM/ptaSFyKLRlHugflqqVgKqMHqPFdb1VKAwYrDfYwfmNvfUCnCM1TaZRqCYd4rEwNioE2RdghWXLVwToVHCvc/jk9JijPlPAiiSpA8R34pr86KcRACfYKjKIMp1FPUeyaDR6H94vUSTYYWoK91mtGa4G3MJe+W2a+ihPeskpjSRTihyNMsPFkGWs7ic+1Ey2R26vljzT/m2fdCSAZcq02A2bIAR7DVKgbrKQVzM2VozUYm3uCXO3Mz8T5SaAotv1caJ8tMH9shcQcLRDFE28XXv0gvHQu9OPBpcDruL3WVN/UU7dW0/esmdeHIW3eyx5IhUoAevT3/W+j63b9mKNSLmnGZahEh25FfTZRaLKu3gJ1ioqC1HUAxfICSN2+BUQaEA9n5v+zSUgDN/1jkP/lvGHTMYan9UyF4BKsJBrDKNcCLGKW7nb21QBBvKBEzV4GhfP4x3CDixefJwE3sXVaLtmXgZMoFan9KPOwQrkjnplmbFxufGnRdYS1ZItmJuRxk+4/VDJhLJpnZCqa0c+Nod7Fogd0Jrg0ACtIr8Ir8NKsVU6TXuunuEt/rG305+mHUsQk5WcfXL4tO5Ewj+OGXl2ltT8Bl0KygWET+ZIKPjhw7wCKszLYKzXZHA2JiQlfm1/b5HaYI+kaJ0HoK6kaji6NqAVcYVXA8T5gp2YpKsEXKiM6BbdkfvaxdVndd4xwOAUH16an/ScR2dOCDjPFJKnVqev8AuvR18dwC6xM2hphSQi/r0ZHapuK1O6wYRUAueh4sSTB6NbsMPLsZMR/SCoTiOj8EnAUmcw3WpufgmQsCYVCLl9oUTaYyFpYkJSGhXipLW9IbhNfLipnyToSpb6a4S5197RmIgitREG1sn16qAWgKT3hEKJLZ1ox885ComvtUKwdyA2/rymJ8jIfe1e/vFRdPrHIyA9UZMkmvKuE9Ht/O4IaDkUCcEJrRwsHQ22xiSMZWJnTUhIlSRHe44diH+55WucwkJIDUmHBlYV40VC96/ncAz3aTYHpCz9igRkSg5wn0awHsgVNZnjTNw44Zp+Ss73QLbY3qEFHvWGLNNgmlUaAAdANWEc3srR5wsBIGhJtVO9+vAffDMsIftACoI1JdBkc5TAD91BossHZYHmS5Utr7YdtbWDsNfe/3Ze8TPAAjhZEtjKj9lkF6XABrMC3kA3Ow7oZt1638HIwEcEG37s4H9NzJ6CVIDRqMw/tExGNqna5x1aunGc0behrN+/37xyy6+epy+ePj9eYgxnc9rn77zNB4rJrvh4vcM4FwKJxMWRaU64Kpi6Hmkqi6pYuKafXva9ugxP07ZYbOZxq3+Dassku2k8YDDM8tyLjkRkvrP6OjbVBgN8qFCSD0pQ246WIcP3ppT9h38Ppn2Xs4KRK5hqfouT4Q1d+pPCLKjwqYnTMqKeXWIl+XPvCpd+qVg9/gBpXlMszRU3jGiKFRpktZIOfmjsSFAQ6QV9G28zCM4EXWIE+DT8vmdyEy5Jvj1NZgxZRKn9siZ6fg27evbeRKbKt3qoIEwI5m2WHoNZyKPEuFhz+plsBWsF5HV6pTrFAP6owHY+Du52TRtXvJECUl/7rtpihrYTRoZ5DCEwdFkGI2DEf7ySoUzO7uH4pf1+tkJL9SPOECWYXGd1I5k3WM3eVLRHkUVEP+un+EYGIObPa7rLCdz9XbOSVewbcnzh8LJ7FhrdWQfq+shYOjsTMDJY2FJhwddLPasH5Z2SZ9TM24Lave7quqj9KyqYIuHe/rMGBeZhhjB6u1FHe10F62d8Vu+Rhp1szI3x6SpMNXBseKUrlHT0k6OIhV0SrXXA8jneMVwZazskctfldCQriLMQ1YUvo/dgGGtY33t7yIjLfyq4VBr2JBPZGGIEWeteNp6bTUPEBzJ212O9RLMeyQjFkkZ5k9i73SwtunfeEuF0R2vfz+Sbkbgaw4uKWMrPAoh9D/aEAIf7eE5OPv14BE1yNzJ9HJcmiRUhpsdMSsE3ZlMPBoiQa1QBxCwGvhoaojeZ/0p3Be0M6L86PWMSlKUdDeR9K75o5nWI/y+iExl6FgVOoYEO83QGl5MTNmtXhAPEINAlgXYJS9ei1YLNM2u3poppsJuPobE+YM46Ejn7+kkN3u3W0Kgj+SaBGHSr9N1YTyHMumunWP4n1zoWDzDb64mZV3vlFZDx7ca/E68a46VRp60uEfTaKBr5NMbbLeyS8A4bdmEIp+1uxi38buaXhRChLkkX7oG+J8i9U5I+s4Htwo9+j8w40I5xjO5Yfo5sj0wLvnGrnPyBVs6iOCDGD1CLN7IZfgFlFk6N+1LQ/HJ/XBtanWNWmZ59jeAD3Svu++M09AOl6K+I8LkNhOEhsLhyXffP/CUgLe+xq/hHQgWt/3xvnFrwtsj2NuiH6x3EqoR6yDGiZTGQHco2kowSWGoSqcbhQpr5k30n+1UWh61fl0AO+Qn7pXdM3UCCRADaqVd6/EyGQq7Ukgv1V+oPf6P5neyM9x1yKkcSanD67hbVtwiCR1THkGe41vWg/KbRmdxk1EN99nx6i7rmJjnb4K6T8hByEKPYo42X13FJYRiJlFelyJ5Os9jMtokhtF+e7sYAfAMNgGzqxyfN+f17boyAYHY47OOa4vp8iqT4X3p/tL+fa8tkW79ejPXYXh36tcqtVlOXBZwL36nh+OHmPZFKoEHmBinVfDqH3ea9KfAvMH4NgS+1YrogRjqVBu2y9crnkzZ0z0Wu9el3THyYLDHk86Vp/WBSpLvl/y8qaaHzYqzv8QyKoUpmHJ83007vrRmhVHn7DkT6pcH98vpZwVTKyINHfFI81H92tD0RSnbTdHmLyfdZRypoQXcxEgEZ2tW9V1CnI41DLHdmFUGIsIrH9c3DynPmo4R9tMD/QRg6h6CtvxChCg48GfcLUOTgHz/ulExMiYuf1dZPH3/BWPCQL0wI2+ZAk4+pEPAmYtlCOkmrslI0ECzritPDdW3FQf6i5TZ8LJN+Ivv9PGMyciYpO91pJ9nUPilfVI7waWc28tsyQJtSekPiHA3PkGkb4FlB/DVv85TfG1SU4OgJFvQy1NOr6xHfjtLqcHvFUVBp4Wl32JcokLbmgPwTzsjoiJ1IFQP/yNTTfxcAGeisxo2BnpwDeIA5HLIkBuaCZKetowiuAoQzt5U8RUzdQ98sxV0hhho5DaHEgrckqepIYtMD0EZPUDOXnkxLI8l1LfhMtLFpHsP+Dzm6sgOKkCvlh6WECN7MeR7bBAVPwjqHKbUo0KrLsZZjvnu4N6gOZUz2bGMmooG/eRFgEOGznkD7bUELX9z8YGxdA1snb/vXlmC4eDGVdgarvTIO3r6XWk5kc2zZPtzcc6nrXBX3+JlSn5xn2wVySHnxrOTxHn1R5VnP82vYsuOAG9zfn/4B4WCTSKt+HRGLiu5FskRhfX6Xg/grPkYgdYHx5cjaZ/V8pLvDwwhgXfE732VKudrn2nJAHsIeZ/vx2twrmQGpSqoeZO9+igWjp0AmSogLE8dFknSb2w/iU3O0MEwFF4bRLX3VYHosMv8PHMI53ufb1mVUzh02dcCpYz6N14H6/Y4myvn6BEQCaLjijUhzI8GiY/ksBuqW4uMosgboJzc6kFJtenJkieiSm3jZx00oozZVKRtrVj01BCp8FybUQIa5JydriM6GDMYQHxxHME7230X9Zhe7kYgsFxE+YmvVdRP4E2sAly0FHFwbz8YDIwKHtEK7VZT1rhtAieWMlwhoJqh0fGKooiVt9VyKExefE+p9WH9Sm80FGKgRv7mS03zroote5JyBL6mM+NNG1OTAkgv/p9mjkAcbLzEKXtJ6k1euwtqMzk3RMIHfHi8vQ8E9lXZnQOwH1QCxu15OZ/QDom3eBqS+BacixsAJXGL3qCQk7PTO7jWKeVZOQ79dxLw6/uT3dBuEC1PzedykcyfvlNh50DmDDLLmHIaNfoTSznY3G/m+deIbFVd3AZ7QXBaZzWSSWZrB9Q9Q4e2wiqS4ZniJZmCSvbAD1ssLTqIqw05JSpygSLANhEkYp+AHZ+V12u1LPL5woX0qNTGBGuJpKT8a6OrCCFkwLAD+YB6Hmdr4/OaTfyhr44KWpftd0AVflLYxv1GcNDk1fvGMssLqUnxCP3OSPVkmgxIejZyuUzDwG3deaxvWmaOZ783KGdZV726eXqu4ajJlCNRKALfDHbx37aCqdniqWDj5lW0+icYWn5nNXzHqw5OW12OwMQ94qQO4NBMk0i6/0y6h/p6Og9MHWp82lymiSrOUmlyAR7UrrZKKKGeRJgIUf9ODiThkPw4ePKArYSu+nBy8yKolSg4u74x18ZE93wE5UhiYTpxnRSK1hKmCnXTS3Os9PKbHA1YLbWDaGpwFL/9+4dctySwWmjYcVmv+Wf1Hm8uCvx5o8XlJQ19VcBSkGqjWn3qFD3nfE6ttiiN/5Oxdn2AoiNwHh/WuUTFNoH6CCsPKwftV4LHFQJWbu5ZRmxYJr91cgLj+8XZ0SX/Wb2gvIkaVAXioKS3iXzlb4bMOPz6FI44ppBqH2+oTARTp/Va7vDtxuuxGxiFr+IitOo4KTuWK5oK3kkirWIf9xLW0SjPv9Y4AdOsaAAFfJGQCzpyMMdw8WpJG1mdMogZI4geFZMqxyU4Lm9y/h18m3qwGlcnsey+VbWIaNnOijqVDoMtbcjATd9QNubb9EXvSikkw7N4/IJGA6qwO3sMEjLylvwJd76b1kSsoaqDJrDSoqvB6De5rcZ6mKuXBMlAqXXsDCzzITlvDuY1X9WIzC9+hb/aWMoeEyUtajmQ6/O8lRyT8/IyIrF77joO+td3zeSKjukTpSPNHfHCeZAkDAXnMwCw9jM2d17seN3OGqCcU2eZqBDHY80PyN4SoOuK/4MN2lwNMwH93AQXq1TEvdH8FePgEuMEtZJajLymRq6fY+eRin7j5k1sznVnWDW22bwmiQ6ZdBcZE2uzN93YygpxkY9bRfXX7mdfByfdSyIXcmPbgNfIxrja5Hzgam6JaQM0kPyugfZnGUTA+ZpCq8tpNpQx9nx18MoG1D5QDU6nrfBMA8J94jRzcK3T1j4Pha9eai/aXRV8jXzqlPGdIRG4G5V6qC6ivLj2fAX8/fg+DVtqnAEiWoNMGtmBPQNZfM/DAKlpW4mxSsfYeSj+rEz8Lihy+9UZm931XXh8jfEGYXI4GU3NjA0lK/4YowwtkNkYwbr9HgHMuVhdF4GTvPbmUVoG8C0A4kuasBHcy/+Wa0CG1Dgs9nIfN6WClIDvETJv28Ki7PpoU2sGaiE2W3IXhTC9CoX+qdW2cmpUwtKp0czUWSN4VzgMFrgWYQtz5nGkvx/3pdqN/XBr3GOQw6Z5PByTdZ/RcnM9wNUZyrDXQzakdr91AeBugoAE8jz/wppZhCLXPMW1ZPPW0gH35SuJh6UnaO0Lt0FJBLtzfCbbBPV2+Mc/WckECA/EsWo24ZZgIWK8oE7fXt8laUk3G3MgG8qS+27OIzsWcHA6Yb56+QB1yxH69vQyXLO8imjxXYvSB+RPmw9mvArL7B3kLL/6o+6NPFtBvfMVcY5V4N4/D1O7bL/7X9QQqqB701aKa25wYqYfU4duyiGatQeimp+PM99jbGRWWlOgxm6qFtwaULTEsOa6kMnaT0ZFxYqeQL+DdzD97ankqHJFdfQ8sjrl/Qc8Unxt24+fqetkxsY9f+uT/5Nl9BFvCTyXCX36woWqEaRUOaztjIIWM5v5JWlO7VUdF3gBK6kJqCkb2FU59R/hVujpTgqvY7FGpkQRpd+QBFjjpbBFte1QFvXGkpMP3U6LQza4a1hYRsOE0SIYavBa/wahrJoQ1XrnWzshuLUk3b/3tDOD5reEsJcye9Z8XLNN5cJwrew9RedXj7eVSaNd6wyKSkeu/h637BTVSkSdqrHEKJxQlQ2sRuDg29W9WGhVhLrqEoZJKsWdr47vYw4wnUdAz6MrWg+i44M0UDNklqfP1LWJ4moaz0qNLeuVe6/T6AfmzPxs1uG9imW3ab9BNQE9a37IoXXZnOCO9fBhLSl07NnOzkmuNcwHbAu2tcRxJk33U0pwplASXD/a75mQ+c+OT6GmL7V8lwN8fJQeNMWRqPHTZka09rY++TWCHqUFNeU7EmRUaLfukomRSc0icXd1ZCnmUsUYD2wY9WlXkXEjS4B644cUqLTZ+mgCbF6kHwX1yH2o03E3WqkpCgE1HFWYsUy8WoL48yPHKAFiCsE6g4kt0ffYbP4L63/rWRvIofNLP8Y6rTVt3ugJ+oGLwbjE7CzMo0jtLYzFfHLm/pDzH6PNRb9F26HV3OG9n5YXxee+PvfIoICJ/YoJfJL3UAYxN6rM8sCzIaK0C/8uaW/3/SMmss48aSh6r8T7yZlVmrHlpeEcp2FIMnuydqe4DVxookqOpur5tEvxfbS07uyzv4M1WvNm/AF9ZI024P/FgKAf2AOhFPjAaQdaPD0lg5ilFozeFk1PkfOTXre7wAjLbk6foh0giICRygSWQeJTgFMtZBwngutaw9T/0+VPTuOeZ1YbRC2t5Z0DdNQHunyD+5dUrF/t905pMlcC84R9+Al/zbWeYrE4fV+Vi/UG3xROyqF43bC+g1ouW4Lyk7t9nih5mOisKoZw6ARl4c1BHTwE0y5WZYCQ8mPjgX9Lqjcn8sxWedCMWT1hGft5AQzz8RFalBdPfoXjL04Tp/jzmduNxIuYsAADE6UJdA4BVt1qrDA3CNLEWhX7Um4ygJqMczls0yGWoyjWHDEu7UgrUDaoRBvfP8LuSxw+qxZC7itLTh2cNoECVpC2PXSaLSUmErq5nxm7YlxmSZo8+URqZQZGBjYosL6wanf8D8As5UVr4PsUJXctuT57Tmel7nThVKpLPHHEEwkr565gFOPq06P3a0hORa5mp+qZicI4hjuEG0pQqKMR0BK8P6DbmDfd8sBf+t95j4/WXG/zWMrf/c/3NPIHp5aSZ3Re3nVdknlX2CewbJiZQKu3UZq7Z46Qrh2RqmbqUlhpxCiOBhTb/6H5fBUiZOHsmVSxVwr2aid0bA1BccBL7uq4mPI9oYB8HCCE3Wr3BZivKXQ5htDav4B+hcQU3YX8N1sdT871C0p3psW+gR4u6m5EUy+cgU+IZ4FFhZk5jrJfBFWLzDgoa4l9M6CZFB59YYoYM1NnTFg1+6+9fTPsr56gB1qLomp7xD25TYQNDG0oSibSHW+ksJSPtJ1IcCoW7/D0JN2M26CrALQS4ryjkvuEPeZLYmYYLKvErWU/1EvsktyK1ImME82Y0JL0uOrVZlFn8TX3OPleyvtjKqSvs3z3MIG7ZV2OsPnqorb2BvSXZgEERnrvPJOk8W2+L/xYqMzqwU3/b2KgGBQqFkx8DvO72P0xfZES/lrCczzfMmZSGmnnwZPiOq5XiTimrWhAp7jYI2F8ir227eEt9ItwA+SyNR/L4lC3BL9gMdO/niccaZgAH3pbkQcrY8iEcv6R7HzgjII5BzNTBEj4GX3Ls9SYY0QXLHza2NQJy0GMUjbUY8a2qQJc9GyX3R5R+pvyr5M24f90VGTsuLVuJjltXua6mzOTMa0wTQdpvLaF54NtQ7jd32auobM08DY/8VBD3W1ONmyv6bv28iqJJlghX8T1rjWbXdIdLWmfqjFH5oWXKZn5JXiDC8exZf3EvB5M1HScchylBJNNa32nxk2gHP/5ol64TyXB6wyGsFmm16S88NOQSQDWtAJTs06NOhtFQwFxaT4KCs95CSCTkK2ffNcSVqmPqMNZ7H88rSC5hnvnAe2wNg6QpcHmpL/OqOjantjR/FBte34NFnjGr/vTxHcdmamtJTDqlSefiHLAjc+x99LmHwJFSiTcqfprLRRbw6HbPwGI6eVBXR+3NcVyf4vyCVSegud5yHlPC7jq0cud6Pxo6rUImXzZ9KU+jLUHCQ0eC6Vr0GrOdu7UxKqgdXNax4J54pSlcwUy3q/NerSj6SFM3KiKG1EMC35eECTE+Y3bbr5A5qeIrg6q1ZUnl2XpUCY3aOxSFNgMsTYTXKC9fwSHzZyHW1xWTobZCQ+3BBl3P+/zaUW7WjtYACamKTGqpqKKFI7gnVdwj5fPO+C0J3qRV079gqZbx+pAOgjxQPEZ6k5YK6uwzGnYK9R0BVC1QcihYl3pzSvpPsFu3LSf8zFwU9ldGV+PcRNLqzXpafzTbwGmx7WUpxA8cG+Y0gVLw8+u2GTgSRSD1DUthyvgEcKcP06oNgxeR4jp+UAZkXp22D9cQQtz5StGn9htXKnG90r5Uags4kFqIAFzdcnAXrF4t9t9cTKaFUvk0+Pf4ZHHbEdVsPpiHmWjFW8AQYmgJErS6MlHRxzTo6U/VNEkOjfH9hx+hZ6vPtsJVD532zWt+67TcZ61HbUS1OrGFzJphwaYcnUZzNySIEUmiHbYLJm/Wrs2fbpDZw7NkiODAn8e6eYjLlYjgiVKiJNlW9oNC/rZh23GVqg8bkmO8GROj6BBi7pCBvv1OREV5S0MlAT2Rp/94MRBrGkXDmB2M2lCjtWfSpOfmcgUAuu16I1uQZmBirYgB3IMEB42bFFZLBrfYsa/W1tYyfcPGGGW15MLSbpKHMt6D2MQhDLOQdp4JaRFIwE3S3imlXb24kh51fmNeX1Tew9LO2NDBsAkJsd+iTUV7GPlJQ74UXYZ7NGzGIgYRbF4M5oqRk4+JOe1bd/L9peHqaFKxTNbvL8sDjtUYy7m1ge1n2MeVP3MQyoq10IDP8VT3R80i9h4B6TMVp/hnC1FA8YP0hrf+d7l1N8AftAjuRqHIDHtigMx4mlDXMldY+WKP2eagNC/7VpB1VxY7wURUdgmg1Psvb2n7aXh5PJR+mkVgd+Pc0stz4OwQH3FhXWTV4+q/PlwXeGhfY3WK2U1Xuk1Xc5Yv8VGplMHLARcGz3ODw6JcCVXdWrQSIXNKZ2lAmSt2Ie1Lh0eT5SvYMYSt7o/2s/WEDhCGoGQecpVefQA37Lf+q40yKvyf8AnesYEhLqmV/FmzDXq1SJCgStsg5lTPsBuMDa7FYNGGxtyC/peYUxttUJdP7vSwg88TJ4KYAScTUbUWrzj+PFZfvek73Z7pO3KwFY7b3dgg16E4aOULBoLPeCCPfaNnLxJ12iQs+BRFfwzTCoMM4nbzvF7xSmQNLju6F58lSExOv3JJqclzK9DXGtsTvKHW0HFgb4giZ6YTNE7c7p6G4lqugquN1yBBu5X+eJzEUCCUJeD+QeRuxR5cd/eL2fngbRfiiwS36t/s7nHojqUSZTMTXu9p+9xtnoEMnCbMqdDHiVr2xQXCARr+YrTK/9kKDBPeam3lWqb98YP/TujbwBYuyIZcZ1SwU6/up6Dh30Ylwy9GD2L+/blxgC15SyN2rrLEd6t4qofrnqQxkQabwxMQdfcRH4oRVK1GdUn0PS26mM5LH4rzJkCP8WNIpG6MjshwgM1YM1FjhyfCbbzVs4PgWL0HXW5fgzh87U6sNXfJG/yfsYd/JiN0/wdbHSg8G4xEGwW55Jw2DmfpZmnf5+zwZ06wdVHKsNUcW2ft8OaHRHIPfcd0+ux68LrNYKDaymjUjtzyuLNXvMpMYTPfurqV6obijXIm2pU6/hraq6AdtNOflFdESQWrapuFiWtW5ES0gb80Bggap9vEg7HOd+PZMpHLGaxNZ/0kLAtmmthp5x7k/IO+m4Daxbtu0c6kllQ2/n/2RuL19GiKAt2H3c1oWHi6E9cHwIa7lAsl2szHEPSrJwhKF3bdj6AkQfe11G6I5W/yzmVHQ//XPCZuspxtdncLkGdJrRNs9kX/stJkFSMR/ktzXFWa0cJK3JwZw0zIers4II3J1SDEPkUoDJj2W7JxxUouHU+IDZZ7TuQSW+YpdVz7iKO5+BFv7wTYlzWvcxUeFldEIaoJJj2Obeh3+O1qAlbiIs+GenbucWseoSq5e7Mo0F+sBr6VVyAynMPURWyxXcVlwp3fo+aW79RKcJeqrIQoy4AfBpkh3cy5BAWLR9do6+psAht3vRxMCrLmEowO7qxlaP4Ozt/PLPwFGfVFtiSGWI+QlcYs9sCUHEvti+W2vOEebx7JpyEe2mLPXZNbkFdrsRWmTCxSVFTAs6F1qTpTOIiZo8+iQxPkugApd6A/dijjCZjUjctcwuTepBfHdefIYsV/StPO6u/o0/a/N7RiFStlrSLMDnzGvCn2+VVCCUOFFjN+U5aikxwxYcofGKUag9my1sYR/AxtD/oqAvR7A1cVTAEXMW4gLMBRWwRxi7fbPIMVEtYPIkY8E4fbWEOAS/s95ydBpAYR4+6+TJvzSRjLqmZeb9UtQIg5as63suo7sCf03VsCjeS8iCJdSJNSkmYM1N1qGAwj0gD0D3/b/B7UuYrH55C30utheIZP/4i0qEv862wVcFlgcoA1zncLg3F2dZzjEoJaBBzZBMGX1QBeTbRVjHGeF8Xoqyg9oDhSGbyEZpaofX5N8Pmn1mCBglQmGNwcDn2fm6WfqiDmZ/u02wGO8r4GIl/CSoNIMbXCO2L6lBSd4jmC9lr0E1GweKRN6MGyIoGfGdSNbwId8RKkDpVP1GWHhoJeazRkD/mwgyrRg7g06X9EdjjDa3MlmdxVIV9uxK5/zoYJR43UyyRVogV80omvLww42dZCWGHzCUuPcoQvlgYqjpq/V2mxUvrl9UsdvdHUcow4P4ejH2IsuvoCLQUTGmrUSpAz5P4Ca1T2IQTs5TbAvefHbCEX0FTjYcBFzgSah20wzGO20ucCMhsHaGXjCgWSxFSLOtgLvEYpd26sTTdlF+vEMMuHIRKJxfMdz67hvLq6alXhJbH463h6dpcIOziXNl0bVmCx0ODpilQY+brmNnm/MCK8tVOUl9v42naIeuJbHy1rsi4weH6jUqmOV4teuqzFVKeqM1FkKe4mA1Wwkzzrqi/S2NHJaTNKidw/GikEkjF/WYP5WFRy40B2qH/WQuulHfvAbAaFTLUmhbwwMoVdJ24bUjolix7hDWFcrF7PUSAnOr5pDJflNiItCpn3EIUztECTTUtUw92DoonTG5DjEHeiSpstOdSqIDETM6fEFLJwkgYwSSJVriTQiNJYN7+4bL2fTYdCQm5d+WFBN1GNIOHWHv93umC+07nNaXfu5+MZSjLycLoJg7EivgTW3uma2oqT3KDTYGVVJj+1ohgxW993P3oaC2RvKJdioZMUhz8IRefzzCdcoQxfR3wodwdbsitlsJs0otf5tbgR047AboJ5sozjpnJDKPIO83W2dlVjDmO+XgLg4/s+tAU5Av15ZsjSBmoTuXbVa301oLIKaShCrNHhK44pfocIJJhffNPvpJBjyFf5cAhgdIit4pa5jCAaJ6oinaz5a8zjYAXsMjxiyOPWsLe0B/qBER8hW8LzftZAkMSw5u1e6I7cxOZI6zvtHWx/3AR5rL0DOnBmnuEnf+hSDpQhvz41wGzbUhMDZxdTR6UFCFu9rn6EZd/rbIWl2RmYR+jcmfxdw+Ozx5vQq0WJNxHhGrQC+QTmpTBsUM+sXbXE6kij/6cT69KgPZoSZ9v4V3ZQaat6AP4fReIBcZgqu2cyNx452mEPd4vhJoNNSbWYjal7PVfN0ACtr1Fd2naQlGJg7nALVK15WeFikO8feJhqPrppLShLwC/Od42DSb3/qt0e4aMwgFBSh2RwciKJbGpe6unsW6Wab4aUVlachix5NRf9XUNczRQAN4unoc7sOAsIHyCpNdCOpyTQmTvZe9s7tnFJN8HPcOYqLqA5XMlTlbzbW7fJ3muxliCBJuCpAX2dN/aveCSFvkgrUsdfvNLXAcVhzW8xdhxUjFGzNV/W7QcgRvhZL/8CYxdGzY+yV1O2uQqrteXEBcdWfQ8T9t+0Kdd+ucvuz5t0vap5AoYSu/JwIBhv/TCiAGWSRh9Y2mxFuH2pXRoZK6DaRZ4GYESuMHkh5yA/2uV4aYIhcFDiC96UA8g03wMundEv2aV7I5hlphoN/m7ZtNmBea9tYHhMHGuLQvPupc7TGa3QAL6DKkgdDYgiCIc81gaV5IuuU6vvpI8OTLJI3loqDqy+ov5THMorDfJ/wl/D9bFM2Bbt9wR8W29Dgt2ixFksjlD36URoRgUAt0M26+uX5iTT/pCUEeibpXKFB3ph09DaDtE+wkErNLXDzezXe3Rya8qaMjUKNeCufiCT6RB+pzRxrQYjW7KipZytadYMmIskmhQwHNUERUcPwTVatp28MYOS0iv9vu7pMLgfN5fPyW3c+u57fbuNz1KoAnFpA4wVFYh7pDklKxuZflKNBBQAbn5/9gKtaZgOF8jEPXLDvZC9ggAe1ijBUbAiVjA734Z53TXy0wCoBbwVmbZvuw3EFd509yGhawTu0mKXMR82hzvXjUEnPKAcYo8ZvKUSVIx2OyKJFn+0EQKO/CITUVgfXjF9Md211HbekiKEYBVf5cTJE2hL1o4JeKM73Iie1DcxyCGPDRjH8KXCKxQALzUJ4B3v+4mhpTTX0SY3K9BBLg6r3KuIFqYA/3qObDQE8MMZAAoleOBNrIunATAQSd9v/C552i+z1JTPtxGidxe1Z8HVmuf03s9jl64KNNrJw7kPZvmfg1id7q5Z4r9pb/Rpt7r0kkFm43xipbcEksC878RjD8DYmXBq5fAI2FRCcGYY6Go4GTihmf/LXn0dVFYIwNSdectiwf+mCRlvvO4uw6tEz9leZbtK1QDLs+pjBZmHNF/c/jBub5m6Bo9KPJGjI52GgC0PkEPPRP35CEjR3CajaRYRIthrkHhpPi8oVwMDDgQtB2xKUAzm5xQaVHcKcluGnVitjwVZhOTrRXZq0IolMjoVNtU4QaqxeXLicoNhbIpp8kqjYPPVYQEUKjme4MOLfU9BOCKBgt1Ce5G+KIS00b3sm4AsvKSeJHZ6yFEEfX4E3bwZyZk43+itytfmVXBvfyf5oAFHB8mjnHVUMaIVpD0Z1UMsYVU18tXiYgkCjUIKV9t+ACriW3HcuvIJWX6hJKLiKaKnrsqTIbKuoIJPLYKlT9baEnl+2RLHiKC2ShGSbB7iU7BKqxofC9wnExYdrDv/ZYxrwnUoR8hkklVreBWBqJU5GcrbgA/NFNyfjholpj7TXp9KQotYzTZ1bjzUD4jS6oeTTvzA4EDgBFFxxYHVDPY7pNlfHjw8j1ng38KFbBAcPuhoZdy/EIDiJ+TmOwFuEs33BzeoapbYzuXOZzjK4NIK4hBndNeI8s0Kq9JbzOnvqb2QE1UpyCgCMq5YjwlZuiTUFquateMQkzSa++5Lk9jmdDBqKylMucWmZsV0h92FnAoWks6WnSINWWw2lBYp/Flj9i9FZ9BHjIJYxsGtt5L9tlD0Vnd0TZzhU6WL2XtgLzdaUus5NSw5tWgKgHPe+qJIMpYbGX/eZ6mV70rLSUpWXuY4fiLPc8is6RtpC5/FrnOw8O1yVYdoNGdGnVeNh3wjwBVk0SB4Nb/vxlLaGCcWlUaBXqUh/7zc5xk4j0iCbQ1J5n4zaHFlDvJHM754zKoDTjZBDELF184apZpfMVUpGf5JxO3Ma/7bvdfU1EJHte9drcYWp0Twmam/nrTx9ljokaLo+X6BwJ45bWz+s8cgeuAJsOdHQly9IzvCYHZ+z+x/5cwaNDs6isa8ViZFWmh6U4v/qPsv1Ny5mMLjC0YOG9nQDLbK3ymO/MeR1NFrIu5i5ZcNDHtCcpOZOdPw/MGqW/grkkgDDsYYeiMRuaIjeBqtkCPsxltHFUnuonCzPSRDeCTJAz0up0BHFVkwnP49OlwoOCF4q4eycccG94jXAsiPaJJl7snnpUpkpEuRQYm/DKKIqCyv519nhw3Z3oz86z07U6K9zz3gxvub0bzfK7iuoARt6/RMjtEc0MqU45aGDsCZRhs2uBlJ0tvJ+Fr7CSme4ThAIWmOanfQTD7cLvcXOQcKCF6tTFrA1CWLcOKaGEaiQ9joEX97CliIfgrcNKnaDhEMsu5k50eZOlkb9qAK4BUWOoHPikoU4jtZXcby4zd5bzhtekeFL2mHxF0T2Ty87ViTWt5qc6Y7J8i2Nc470hz6GOrVOq/niaW5dXnp8dP9lzT7O54j4C1reuKqE/9K+COBDachOCa3I14aRt5tZA7AAHH5BltGDdPOopLo70nc2Z2m9kikeI3+JMeA3mKARyrmVJ2F061uWC/BQstaDAsfLjlSXgXX33RowbkGPF604Hi6gphzrsDQADymX+AHSS4UPl1sUz+LLInEwLw0dmzgjim/Fxp27E/eec87PPTir4Lmyo2jPtgrc8pmUlrqRVo2uYfTHCraFMs2s5mdc5r/aOpx+/MKyMu+L1ihyo1eb+diaCJa8VYsDj8woTpat9dEDhZST5blD+J75rgLhHhCvlTzsLggImjmNwkUvYC4nw6BKZqrHcMGe8V9UzfGsmXwWiidO/qJuKfoUbbIq6hWcry7FH+iK/Gh8wE0bcn+sgfFT3/vGB5VovWgm2U5l4ZMDLy4ZUA1ZEnIN+qMr4fq23C6iGvVtCCkERyekuQmwshZcoHdJw9BV4L9pAi2aSjDUUdbxUkyJmm14ANrB3qCF2k580XOvZQnvw/hjiUtypbIyR0NOMmZv9gycuZQVQtAaqYIswERWXqK2wD1/Ju8HtpYQivM2td+kZMUDZmr93z/sUKLl1ubLmuk5nOhVdlp3XBESjBt+cCLhFd/8a54K9V0s6u3jFISfiSq1TBCOBMtm2o0J3cJ2q/PUjKpodMR/RpTy6YcjvCAPdjAMJF/uRY2nY6DJS8KLfrpLVnM86iz8P0zhxaQU+W+bA9fTxIx1BeSuqDlvbJxvoS3sdDt94x3KxLKT9bP5z7rHF0WPBRDChXkN/cRl4CNhq+8iKO/cBZeuiMJF8o9KYsIfWWfDAmBs6MSnzS2Iyt1hJ+RRmceSFowa6LClcdJ57gN2tLSXpNnqXT4Z0heCnWumCZmE+t4Jm+BQCTN9tQwj4uEeTp1cG2aFdyyIr3BLIOs7ONHWoQfe3hlzVNYiazj7uqIqXveaDN76oh9n4Di+id0b3ZCVpH5FYOHgHrVhkwDUEZXv2znhCVsFRGDbt1Ezk3scIB7e//6kWR8D1gmiJk25ewZ+lALOZmfwURfOjAol1NeMy695GOz2fzdHCJcTHsABHkvj6ZvJ9fnppkiyACa24Oa0q13QQxRWLlfD8tq3/nm5qxnZ3PgRxFvaW6hXIRT0aiIxQ9JaDXoyztdjiiGWHTNY13nhyAMvb8Kgp3qM4ub9BmSjF+X+2uzp3/MvtBlb4IYgYtHpEn5pzhrd22ujTV5UkFc5U0Kk32PvPeyhHRPodlXdrHt5rUHxTst7tUQt1ZyyoYXiHIhSQbmz6InxUQgfs39GHasFtsVVmBVNTEsd07mR0X6YDcmrA+nIikYoWGJ+1tKV4WRZQMvmeIEG6/wvH3/y/euvoWF5UIL07EPdcOCSAsSdkMwdoLIowjYafZ8KbsbmwDxnm5B40MNnM0wS/d+NKzHpgQRQx8qazpsLbqRQ0uiXhcivxsSpdpZzfvG1WoK8kDKK46y5o0Va+J8DnlcbLV3rp3LUXokvtTQhyI/7fFS9kQ3tuh47X85Og4P2bcLf/EeCr5op2wbPCRmzjGYQBC6ngAHyC/tuHeQ+vvoDFB+xp5OpGw4zX6BiW4BBcx0AgtUS4jfBgQjhpSVk4eijQQV3pvwGWz6EsyOwHF/DnQltZbpkEp69RI2AWEc//SBTR/gEiyCFDh3m2ARbYu81pltMq0BfLbA1R8eAyEcf10a0duPxwIEWcDdvY/OyIgHyznVm/0aWRoFg1O/URRWPoZ79RV2s+8zy/BLsQQiFqYAYcbUdHcfG7y2Fdq8qMqBn+8VMPobX1JEMlHTiEDZM1rOwQV8fradQAbaIXgx0cE9d42SdCSG1Y+P9mXL76C2ngcWCVv/RqB6//MmiQa0FRY+BxQ6+L95w643mil45sYNiZjXQTkL+eVQUaTAKf1L3qztvlmayKEpJapb+4ynlFME/iF/lu+5s++fRLnFVG59M6nVvaaYKm7GqmpT6Xc1HDcYw/AY1OXhcJzS120AuxrwlP1nNWV3o0+l19/7Xuq3UDx6Di+t/MaEVtmQ20edIjhqn69dF8QAfLJy0YVjhSHUryBryc7WEREt2HDfnSfULoYQRfcYLAp0RgavrI7waMHwHtfhbuE/O9cSKFS68Va+ZHX6bRTRHCOxwqBTF34l9l1+9eUL10WyKwkWItEA2LinKjd9QsPXFGIiUtMhIKSy5KnL4ob7didAAt626WIpVcOpeadw+i3SsGZlU9QyewC/XNALlOszBQG0FL3jcGlxCDXHVrphGAC+me5IyXrmfQQ7m5WNHqQAcLEGL0iYwidjUwDtSoMGce9fHnJ/eZ6sUYLOGtpM0PRFwxPzlbwm/v7TazHaoeSayl+fxJm0yxQSivUSgWmhTuMdj28CagY1euPTxZf4639gpll4//Tu2QP1+dCF4uO5zSFW2jvoVh4dgU8Ffcbbyx76w5Ym/kiRPcM7Nuv8poNzIyExop2wOv6oz8ThS6HwX729e6IMCqYs/xkz6UeWOZAr/1hYVh7GPkvy2Z9rksl5hEykHETaMOr/6F+u4OtvEAecMWFSvikdgTGvdlsJQB+IEifZmp+YhW20oyoSNNamqjBf0C2SJNBtPcXRv8BC8DjWCZ/36wwvy9dFtS5fXij+jb173o/BiSbA8IN9Apv4CkEKuY0Mzan8oRITv7tYCaifhb8fy3EEDkH+ZX11/1+nyAuYF92NfHHc2dCop9n3GKvMqB5BzxHQ01ye24+CcJJAJesgtVxNz3CozmirWjYs7n1lEmwdiWBE8hF84aUgKF2uvm5w5skZiWxWqEPZxjc48787pES9dxF91enB6v++Lq7VqeNQmiNYr4BH7mYS5RFI8t6/0DYlPqqM0T7TqejUpLKvWO046iP2qjPIDGrOhsS7q2NkFitPQFhYL8nYSMVXBypjc8zOeZa+Gba3uVh6yzRJiWBUlylhwjNNxT96AEu1bI3f4XUkAMrhU11NGPkqC7VySugH66TgxBisL+AvVnR3sYglzjXLvNWXwzBbskBmO3weBGcZgevD2MYBAOu8zb3PPPjn0BG5D/eONsQm2IsaPMgIJGoGte162GbGMcuHbuWF00VCuA7wApGY/r0s56gYzo54hrmccLi8jfk5Ija4yqIItvk1EjeqPCmNylOsouX8ew6+VGpozgR5RzZzyiIzIEsjIdPXbpoXq3yvBSLyeKSQWz1lmE5JLv49rBOGExe48DAqs29MVovqfV19i8dHhkFhbyCEKW+fuw3kqi+v2jHXb+p43oXHSqNL7G3/dFnaOpD2T5z7qdk+daa3siOP1e8wypRjfL0XT1uedNh3NzMoV2Cqd3em4j8OHD3S52oBLUfF8fL+OS8FwGJD+waFmH2Ood2I4HcqXhlktShg9HLidBDEP3FpYQX519JGI+/x+7d+O4MndQCcQ3XSL0T8+E/1Jg27AgowElUoq3EtXz/jRuV8oo0r6iWv7oULKypWE6/bwO4H89RxcGPCwsMm3352wXFySeqZ3+P4Zv7zfG3h/WRA5FdESYbdSP+s1kStrrEiCZ7DJl1gezQ/05t/M5Zcp2MM4HREnWj7PjVxbWcRndmXteHOcbqeCDfbhqkOKeNDbvAKrgnWU4PV1EjzjYBkLg1l8GfDUQXaEpSyEOYyp/vrRFTntlmRfFX2IMku3I6gWmMePnz28ENnFKqOxiJPs18h/No/Yj4gI4SKUYz++cAratjpLY1yMOi3HtgLosKI+7lAkbpswW1RcrZYqdbwuaOYt0Fn/ig4lOQsrsQ53dBhiBgCP8IXNqLUtz4SoxtNkdFMJjVajrlZ1EqqFICchrP3SnnYy0fNZixNDsU3AF9WmGCt2i4SvUetD7ya9UiPgTtlJj7UZ7Dw9rt519qVTwOXl4wYWNvLVI5t+98eD5DmyDajsuzJ3hSGrXMudVna0ZR/p3bmGumJLl+lY3wO2aVfI9iofSghOCYI5nJijlbvJaFZVlxAMiOZF9YR15CXLJ0CdrzsWFJ7obuSqWS65Gsx+XUHo4yjQAyN4d9q5F9z8/s/PHit+FG+7lA4yYsusQfJg1wb9VCPtbOGlEmWA2oVd7+6QniHG0p0JZVs/0qdWBA1oDv4+lHxCEulfc6G4LJm62wI1Ixz8BMz6ZnXzhD8oUF6sahZyQCdGUHJ0QOsibfrFStRTW/5Vk5v+mHT6cieHnQfccJB2k5z7ile2PQCmyt0Mrr7JPUpDy7tOt4LOSuscmycSWgUCV97ZOhBPJyrs0bZy6U3y9Ixl6RUdKsJsBO4SwdxFei4KaVLyZtmh7B1KbBWf1tM1u35CAI22dkZW+C4CLOVZAGk3QjmAVLo22CxacVoCp7k5vgEk9fEPvpP11vEhvlF2Vlv9j9J9gvhJhVo9vK2YrLq0P0vB7D7GLWeXkrzfgcg+1qKsTueKcjkG+/xpVmbwPTm5QEEnByesdVXl+y+PjqQlSwqzF3klj5mRn595jU4bqLcuar3yHFC1DV40xBiYH9sPmLgw/qEqjLqYnlfSUE/lBp3ow5Ft2OJg7afJgaZK+qsB/AWG50x0V7hXFNV5OnCPdHY78ieg+TjuGrIxOv9L0pi2htykwiElDL6vbk2YN/cdUkct2guaepn6IhOy1XVv9TYox3w/ZpK84Vk95WoHlXntXdl+rJ0XPy5dSULMU7jx9Jzigv9/9AsgJp61NWH7G9qJHQSEFZSoi/4pqE/JGy/gMchOv3UfRGxqHa2GnzqRTEkcAQZ2RmTrPLd3Pk1lTnEMKY+GyJjrnlx36bXQ1nBXOF0Kc3RsXPYwHT7nlsCUoxp48NiI3mXiZ8P1yC2xDBH5BlS8IsRmnLufCTEnWaNk+LAYn6pnJkMDrj/E1wRI2Onq8GBI8K8DV1HSr00YmbIcQQ/AL6kzQdXFU2l6whqEEdZkxYG7Ey/6lSiY/ETDuMuCTTLTpq8kmL6B2mXq+q8IfD/huvj7ZJdoyI8yyNEJg6dfrr/tKiz2v52cq7btt/h/JcQ18GtASMj3ZQONxAbXBzWwLvGVtd9NYTa7Aj7JnSritPvU2VOL+j9bPH4VpwC8gBAqX6zbhbJuwTrgdoaodbSwpFOkmzio7Go4mA3wIdaAJ+i1cEMeYbuCWSYOqoBdh7aSA5CmOTMT9AQIuy+Cva4jNW4veKG8e30e+etv7K0bT/Wdpl68xMphgNJoR4pKzRPJmbt+jT7uxJksb20dP46br/RISr8k2zFHlTjKlsq7lPXE2+TYvf5ZbKE3IIvZbyUPoeL/rCUQx7zhkNRCcPDCk4+CmRuOx+fLs1+k4VaDjubK6arzmsOnWLOy5zVE6KA6ZIC4jprTRBxmE+Nnb6c+j6idM/zid7VFe1UsOkmp0RdlvO+kTzR4pZbbEmOCH448myl+8x3k6s+CFdgwrtf9k8/i3s7u8+xWbTEnmkzYndliTIArUaLNPGfcnWcpEL4PMLkrLBVtaF8kvd3wsB2G3SZgNeueac+E2WBReKKdRTBLBCaEUd7oPXY2S9sIi5E/nnYlsliXBJzt+1gP/LgEQz8a/f4xjMP1uSCqvvarhV02dJaIQufoVW25lF2fIq+ByRcF60v+D6onmWNfBRozKE2UUAKDYYVZIzdoeBxusggQRqZ/TlKK9+eukMvg60cCYsOjFL7EPnb3QTd4KF6l3hArF0lhEu/lVRk/vc7FRJWlrdXk+cKx6kZuDz6KxbbK0HEKgmJZt5jOhbj1qMC7UQaDqek/wmz8u9UiUGG+ux0rxPh+mxOr8cAAe1kCDAzIvssKw7dJ8rJgL/MIdcIgcYCj/oNTR1iyAasYAAdNdOkOxhRp3XtHkjfg6BdVcp29Sm5T03mdSc2o6l9EjndbI/oIBurikULHbXk0HOeFuNfyytzJJcmqfAKC+pA0zMVvkSZ3dyLu6iqBc8t11IqhLONgu8/jbTAJgsL5wZ1fM6KekULoIfoa47sK0zJ4Tt7iAINNITYjedOr43v9dtUfPFaDUKmh8zSsrqfe0TsS1Gs7inuO94gYWz3TvMsX5kHEQneT3D97hD92Y+qJShvHtK4dCimk3sxscB2lHpf/tp+NSgVqJSMTSb72Nxuckapyz9pqcNOdMdJxQViWWAfEcmJyAGZeEXuwyC2elJ3kerbr0Oh3A+SFGiLl28Vd10yIlr/LDS3VhW9qMeqIqTYNRqTdujEjGvf9NF00R4VckhvBukNfgw9K3tL5RF4t2nhojcbqxJY2xl9x4haHEjBkDYJqjXI31blebQWZKjtp5ChnD+ObUWKNOXLsQAIU3tlcT9lh/jPv8kZy73K54s+dDbZ3uWZlhrGb7LVc1+wPki+34hkAmZbI6LRhq+7I9DKmcs93h/yvfFcPWEKzx3VYJISpDnbYVQ74GJsZTJvOXh11DUfwo5M1LncDd18w/HLujytwkMLK75m5waUzFLa5pzxXL64eHgA/juUQ343nfepZG7DNB4DfpGMnNdnXg9J1DilTMu+zoxkbQ6+sjRaRt9zBDdnbm7F6NEOJSY7Sv+oR4QfB7PUQI/wbIT9bI1+BGCVMzL0hqhrUhHAUYcdRdgSUXcMaStp3EDA8vFHsWRsOxP+46YMWAzNzSNy3+N2BhLdoDGO2ldQfO5T1OqcXoD+O9BQ6/p/H8CJhk7DpK0Vun8HN1SejFg3l0YbU/E8SEteGNVW84xzBlThKM7ZanCSa0ZtQ2JKFR/My7SU6KIuNO5fzc4DIqzKkfOUSCeEHotXbdEpsopQAOGLVf/5Xc5RiLfNlT1EDck/6IY3/ylWzWK6i0ddJOY19WAYyoL5NJFn8Oo1ggzsZKwcZT8lZCSlNshIEsQXb4JL22A+GEDeZ+geLJh0yMlS2G8tNCh9aO3ohcqWsBmJUd/J/F0FRfYBUg/PkfWfBY8jfz7DgS/84iSiGrwLaRMQjPWTEsCHGY+2HUCLVRMaFQjSDiRaxw0/ZfVKH5eX1J8sVD2piODOi/5NMdxxA7+OM20SpTuzVRRNten3kZZ2VyIreBcqR7R8M8HNS3K5UgyfDW1ZSSdZRPfkQag5NBS2C+p82/1DC3xP3RuvhHHivMKS2/VbJSpInNY7jFiSR18zZwVxiWEblBT+IbNfNH7i9+raB0yyAFnaCFeXBUpUPbceKo+vin5Oe6CI/qqawBDgzz5A4rWq450+CBzaMGNMDkYuEm2TEUQbm49yU9c0CvW70VwkFt7s1oKD90ZGr8/OjyzUjsh40DUyOA9Sf6lQIWi/bzU0SVemGwxVnDXocqKd4a5gW+B8GXkQ872P+qoOd35MUweH3UI/+BGxI222rLU2yn5wIg39fig7ciE96PcvJPlGbiOCRd0HDMQd3MbEA0T952UkHiJO6MWo9ik3JuPafbvITvGZ+zC79Nq6fgO+Q6ZIfliurT4ul76UrGlX7HEIUv9LuuWBeHoMY23Rga+BHXGAkJ0toSxvMBR3BoY2UclUgELxZW+0TcU4YPWew1nioJNfrXpCUxDAK2lS7qiC11F43vWQz6J6QYPo7PQSkecJYRYABDh2wuBkHd9L7HRFGqDDNKcdILApyAFJmsvF+zcIFcrJ+cHJ3xMyfE69n08Ot/8Vjw3J5Y1LCqcSAjgn46HpYYExFY21fM+a0aDxiifqxWWIzT30LEakQD6jkE3zNm+4daQ/vGoQguOsLF//X4/Xik5XGuXJ/yqxvU3nRPL6Vu0IyNdaSICSHjSzrS34SEzMbuEZ99WIFb0XhS5PUsw2XXCWujMk+dwLt8PBlcLxDj1HpGlf9YnoZW1GA4vEnbW/oLkpVgP1269M5oSj7yz73FE335SWqo/Yeg5sASXwbD+iU3Rhuj6MWYh6VHbOdrwaYAzL3130jKOyBfdKD6keL0GudJS7nQRC5n9uGNRgGWTtN++axSotldUPJ9xkkUeAzUgz02OX+rzd0hk/aad04dNeU2rrmpUZIz5I51NPvCcxR1jjqNQzOHw0FyfLDjfBufaayUJUeKhq9f82aKBjHzgGB7WW0f3PvrEKuu1l375fy6Vl7R8GAPobKC65XrUxKYikhq4/hVJ/K0obDLx9egvxfQbLdBji/lSq99G3MQpINvohVt03ydqbRCsZX53sibOhHOMMF+MgMS1++7+oHrIhVA9sEm5yeHLgugd4kLkMfc1XYIiUUfYUSvOx0FuXySwHNLWrRVwtVduI9MAMM6gotaOVLcMBY9VRu55ZA9cPs+LyxGtoLCYN1dLfvRzPvunNUMAJzFizppCMJyLK8ja4tDdXdk4BzY9mRbgf4RnLml/+BbVwfu/2a1LdWN+2ptS8UuIaZfU/PFxCo0as+urouBdms5ohDcrKmffi0AFBhUGYBRhmCoe7ToFWQCsyxRZ8s7v7VMn5Qx9tgDg9+Y58ZGwptJhZE2wMbIv6puWD8bIFpKDSZIHO+tza3a8WkYI95gHyJQ262EUsU85i22B8UN2Qjp47BJfLLz9ceF+neoPpwab6mQV+gI+KA+vJ8HN3ZTZPWr69Rp5Y9//aI/f0EpBxYS0GkBNmGQgpcYKL0fZnvAZ8Cdl4NKWRb1caCYZZZ5GMbP4YKwZcop1aG6pGRdzXt649ctayX/yOGX0s/K3Y3fTpJ4CTj/TVlhMwy6oj3MF0HZVufzhQd7WBRvFUtVvgPyPcAHbDek8Aa/JY3PzG4Ad3qC+fQ2E/eM5A9yE2dgunD3TQIJMYE7Ct/h/XvDH+PQZa1pbyu7syRldKXgY47Pp86uryIVzFOn/nM30aVBh17gZFLkJWWY99O6rYIN6yPiLKM0Vh3QZCMq0EbPAw8jhc6L/iAIaZ97CYVKhbGkSw8yu8h+myGequBGzKnWvMgBHBuaZNOXnwWdQDXduuRUfFem+TeWcR1JttI8F7pBvKvib+wZX/YpT6/WJ3uhjPqL4+PZ5tqrLF1fFkLA+p2GUoGcWAjNhzaZhQFuwCDnKbM5Cjo2ksbQ/pxsaDxitRKrWvjDUI4Oklq7vUufwgkoMcQqgbERirHFj8KQ8brtfZWIMbHGlNWEIZf5QCurVmlpb+eyGWgihPGLVINl2o4kBf1ZABTFxJlpvbvXYmwc13rR1cgpXIueDG9xofhp2G+RA5vR8A72StOYyUUAPYxiYiDQRhYalCnMJX03uExaSk9AaGvTFoJCqNtjmjewkrcEAcoV7KOWKibklm2XUb8yWTDQ+FaUus5ylruVDbKt7SfVChF24q0iUy/lximGFBQJ8M/duE5p7CVvfyy8FU8gQT7GXxDSjA7QzsRgk+Bm3f3lNlReAhFziWfv6VrhYUFP9bCWJIe+58/x/HWrCa3U7jqqIz/UwlG2qcG9p6CFvBgUsGp3Cozz60BiMZ8QDcZK03Ejtuk+i/YiDicMsFVYlOG7H6rjeiSp71szt74F945bqclaD7g6DQ+TIg8EFwMFdwgInjrugszaTcBxkKNgz+byLK0j4nb97MJ8Fn0i5gm5qgESYaw1t4YisZ/cw0fadqqjVRi9usk48nKMNLNshWAJ8CN3u2FUEiuZjH3ppn5On0Pu3scqqq7pxvsSptjfI+ZAOdOXZdFzKjyU0QFwZ9+Qzei3Ek6Y+Bv1O7J4KX3E41+NOtuQSuA7kgv36zIwSjMYrbv2iSg+cQTyDPLFQP1i5YbDLI8mvxtXSRXTSbwOeX74MmegWyxMowxXb8V1bWDC+3NyFAsvhoteqBMfeNINr9FB8tIWlgUQDMtlHpZ3ByZj5UqFbqlTjmo6q5YtifZhgLdNKSS7GH5hcs0peWXQXCPsnbMvbjm7gAR7ReIrxyTeQ2oKv5/6ApBZde9IT6eUOeCQwL4yrwB+7qpruJknahvqYo2lHve2ivtnb0/H/QQ7HLEZFUZvo+hvMoJ3KWtt+Vw/ehnwXVW7FqWK6sZeNK3D5bF0K+dFOmCIesFgoi9WFsd738eCyoEOybicrDVv7toOvgX/XxS0IKXZ3fQWgT9O6OZB1savMUIl9fHa1h1VMUkyqG4oDiIoPGqW8QizKO3LpxVP0rMPMt/n+vGwxCkFxHSdqvfkdQCTzfQENUEQvcefM+fP32OlNPuOxOZJItEu9FWJ9Jex+XPtJWkvPgRlVefBuZenxDoZ1zLNU7A9MpzA5fCOHJnAHhC0xXAMYdipx9ZELcqgp5JoD7K+3xGg1L8CIH5xseDIKy1rU6erdmTIpxD35hPOLTots6J+kT3MMeuEHWJ3q9t016iqL2U1zGWCzwrA23Ad9mWivx9ukKKk0j10hCfJRA+bKQKFTLFE8PMgOqVU+XuTERZBfXjT+3mS+u4auv9ws9mlnki1HWIldSWGeNcgl7fbaEEgd7cB3e4GPBj4nrZbkhIa2tjTY+ST728Xy/LtYOqJHFCj0EoaLKdjpA2Z3Vt+dMURS4gVFMGL4kwgUXQiaqI2Zzpg7YZsAmJiNYHBXky58bII3w7acVoz3/CyYXOfe2wZA4ajJG8tinhLLVYztBrOhANdX5P/Sv5e91EwPrZasqg5gVVZqTEtqDKnb1ThVJSqIONYOPrT9CGfXXWKRvMi8hDcbCUMxvuN1pZmw4BN7VkCwY0cRRBImNYYTTgqGDXD3bIhlDGZHiK6Zimqdjt+NS5qEy6KSUlvEr23RIW8BzXCn/Fcbb96NX8zGpgfP94yFfHbq078SP9ubBXef5UJHz9AwTOPtss2zV7WOkXAKyfqz92jhQGLzaa7oAueWVgKfGkOXESIvezsWCxwLrcUlC9YVVZzKQbgegmM5q50z2nZG8l+EdHoUO6w45jCXnJ/CZcq/P7Gtqw+9aSClZYBV0xUYnYRKJtKSB7756FQebYxBP54v/WLVg9mqz64goDAf9fiwVBsMlbMtHpz3ziJ/PJJso/V+xcEr+4EJFo5TOy2UgX0xlKmWOndkEl5jwErv/eYgQwKb23j+4IOlcYef/XlPZBdB20VNR6LRDat05+SwEgfCOLMrdhlUGIYdtO2BLgqWeRvFHyuJ+81PsAPsj4OdooCV4HhgMvm8b9+zbN3iS9SXK5FLBPiXbUOGwBsVoW6dHcfPAq8VtJp6dIc8hgqFsz/i1Zu6uV89ypte/U8pgzNeQyiZ8uVEXEjfRBDd8+YZc1sYak3jqSFSPuhYDXrBNkMlgVUc8Vhmk/usx9oknd3crGxxWMckAQYLdg6nDqaTCmmKg7CTZAf935xuCWKldQhOm8I5ZAhBONxMea3s+l2A7mT3AlVm0XQ26QT4/PjAzU7VIexfLIbfSQ30dFM7ncXzGeT0JUlhSJC5ecLkT5jJDKzn72HHpzjXZD2vsm7MgbBFXxn4T+uL5y3St+6HUOop8dQyaWFHdV4UIdb8F/TFLV6Y0lMMABrX157+pFveO9cBSpDleDYzYpTgul21VkltEiqDaARvZthKRMeQIftRYAsfkKR8UBhLmaMU9f0xWu9fKnGi7G4ZCzFD25gjzRr+wfhqRU5qtqvqX5edZiOGeFJuG+gf5ys/o23CYmHnyWhSqeBH9cryHdmspK1y16Iq3CJgOgOgl5YBkv+FYk+p+/itB/YigvP2xvV3eJ7z3kRECPfiPUCuRrS23cHDck2SWVbpEb91m3cL8TYxjV5oQUhfgJ23bZ7KFHu8KMaovuZQAZRMulosAh4BN/Hht9HhYHrs3nzFNop4Bm6B6tns2YX8KvIyAuWzgfKxNO3/9sfifsMBve6XjWgXlaze7KXDOOlLToIoAOP3EXeR9skT0bXlKbQNvi5GPErWRbMjW5KXrKFOpJE9aSuD4//o5fMzYutbQezFaxDAaL8WT9Trf8Ru7IcAPm3dIGsaSzOb0WpHJLMGVBZkJrft+FSFsUEiYvrX9cY6WxTt/Jc1hE3KnTtqvWREZB0BlLSWdLFiqNZ8YKQ2JCfNEHNeDa5vU6Z4ceA9E9VPZ06FcCrisFZPxIfJF7ATObEdMgYJRs4FdOm/UmWyVNw2tfBO2kLcPU/+BhxF5ZcStmLJ29Hd+b0gaa8zPiWXQyfDZk753FaJu9U8St+6qzn8Lm3/k/YOVDaXYrBr14sJU4DWGrWEbLnKZVlgjqzirx8B65wYo8kWd04EvGYOrZ83/R8WLUYk4xrkCC0qRV1wYL4dEL6dNmZb4uU5XXDmotQuz8T8RQ30hkIUZZQqIos1uTzyPwXEIpRUSRAY/k0SnLSx7MXa2W2LeejkfA//ytw43BSeqobCL8bOXtGq6XVifSHUDFdKQLFkehgRrRBI8DbA1ZBv/K4Oz/7cMD9MnyWu3H9v6ik9NOoXKwlntZLGowZHvys1FAAS8y6XcOXw83qIpdkz/NjsqllJ+s+92rwkH+4iDlr8OvoFnfWH1bUv4pbL1QkG0RBwZGRid+dHu61xFvy/pR3tczwUgMH9OYGxIaW/JmhIwMG54Rje/9ETKZvMC9a4RowqEeW0+5FRzLKKlZWyWLT1plDDhb+VTa/DXwLtYVFo8kADrKsPJ2j8gROmhXX+tVqNHzkoilKzEvPRoySop193QziRxx7U7GnlMdOUZDxkYoJ+c5n1w7b1W+Mbst498NyaHN2Cekxk66ae98ymm5CdX9hbdy8WDKb07nPM71FmTjsC2ONSlRpM0FtzmSVfWxWTtHk3Me+MFeDM4q9TlWJuDMO1ccLM/uiuVLL0FIIS8hduDc+htv0cLnmsYMlN4NocT3Cui9pZ+sI+VuY9L7X4WKirMTB8jxWysFmSIQb0Xso2xEVZNbxMhy3oj2O0nr6cF638wyoaRcxuZYnirVmV3c8ZHANZQTXKrR7vAU+RuyD3tPhmQylrZWsPMP+zIllRHr9mqgGYmeogs+trB5UKFtVG5Ae66NImxLlRW0xPbjTGTgt8DGIpSev3eeDgjuoZkxIqss/Iuqe02lpAPIHN4EdD3Gek6nwti4FtvK1F5FVrYYecuAoYWmN9UTSaXzRSwO9bhHjjujjwhRgEx79KR7Hxfuq08UiyzrVDNQhHeUaYkQe5ykJ0f9FWN2T+QQw8hgVsvg3wlG08x0QMlwOstFYR9MxMc3oskME0VDR/aYEryTdld7A7zlmI3bhUqEnu+TdwkVdNoX9vxAlJJVOkoqA92rAf0u/N+84X2A4Sx5aDF1YUuuui0vvQptV60Oo1jPAFFxXDQFn96as+Dd1YJlc92i5Hj385wo+fd2Btvt0FYYQYDzafGlrFZ/x4ea6otPvvRoHQMoe09rjL1f3FOHKPkZhn8b/66oSjC0upV1Or/EkrL0nUtXgqTnKcUi2c0gieVd4068iUonRIN+3VJ2+RXkNY9jJccV5fvKOzyPIkpIk6iv7An42R36bzGyMajlTInBccCPt/Eq3DVdjAqv6STGRcnBVMI0CwS3PgWnAQaZer+cmqQtAk5EaJd8bRo6+xIFr4nhu3VpQhNjobn7yhRVCktSn2Vmets+bvRMfrGBZnzGTPf8RqVGQKjbpl3I/rron09apRGBh0KZkDwEDwMJLweebW4vg9AUKRL9dq9O7u2900GvDo+ib/nvcACV6SLssw0B998/C85JVcc+LGOA0S/6SRelnfYQpcpZbGydJQUxwlG0audhBKMLVP6apU/GMGkGTBcIyu/uPvH50/63eRiRkGGtc1+TmmJ/pNSzDekrvqHo/oHl+EsoNF3lDD/uGSoDbgjR9rFN8//gr9WLWoqzQuW+PLxTGAL/pLp9iJnXsJnn3WiR/ojtfn2QAgSB6fB9suhd0ViFsM0OZTKQAHEgZNE+HV1dJ5iaRGUeFiEGLG65CT9wXQg41Lnu1kapnI3SHNeeSgd2Y/NsAs9IB6HLU7hUOFPaYzK0AtzPq6GCRROLnUfxb8K3KX779RcEtoRnK7qnJjKUPwn2tYJKn7oTgCw81pNnnL/HB+4mLGbsqlZFy9qyur8krKdKvBWG4mYAZpw8XPCBC9R7q5sRRosAeY1XKcVkxsEsPCHCVrQzqvbsqv6rjt0jexjo/jmz9m/XK+qI5uFn6+1R1xAyIHmjmhzekbROxYvxwvtw8CRULWCLL9R206f7OKhbgqPav/nRKA3DA0xCHV0pnVltXZGPt5rRjcSsoA+qi2vniDz//LLoPQMirGICNfjyP4IGLCmIGsK07odqJjwYV4Gfab0ihnxn4ibo5CyIRD0oembnAYh3MyaCWtSVEsmW6Mc27n3GRMPhpuG3nobOxhUftNHwPH28eI/PO7CRlycvVCZudHjhR89qcv2EssRhvW/zVRjYBcm8Cl2xea44F02WrMNsmKmF3I0FYEHKMtx1r6uUuRZdeZOy4J/pg9YHTtzwymZ15lBHEMTSYAum1rjORxyIoUYog91Cfy901JQ2T15pWnXE7I/3tXrEEP5rMpKklzU/xY4cyca+c4fm/xLRcmoPHaq/X0ffgz9dqeOQzEC4PlIj53ZdoewMXan2WxcZYpRYFu/EkEvZOICUj7GDcy2+eHh16XIyCtJ90aP9BTRcB3/6cLbniJ82xQyHqoOwazDkBBU+0EYGs+UA4vHyx6h8jPrBkyls0sRL1rvC8eiAICvy9DOvEUoMsoxaTMa2NndTrmcwl6iP6O4aFZKgPYn2nsV5ShoTdSEDoihPrmiLAuikD5c/tEEFgue5aUQF5XQ+tmBzFZF7kI6vyaOaoUOsAd8qtYP3lu5Gxgx6fN6G+8+hJVN8NYAeuepl2VYO3vei9Ewet8M16n55t4PsVf/rfEC1XvJTl0hOfRCdz9Dmk4b9I9eUsXK7cu9qRSENebTEHKvtu2gWHy6KhTLZyeSjvtpEB5xjgYvIphdrtB/WbKOWMwTkcZtmaAYPxiYnaUpszzkBBgNwWcrM6pDZk/ya9vbKJWA/f7HHUtKnx00MHFaEDvHdGFRG1KV934bCBPw8GrpumtY79qq4ZgpnJK8YyTmir/+HLYK6R41O3QsBCHlCYo9npNZ26GvV+rovGxK+v8pr90ZcvNhkMD0NKmMPGmD8Z2t6byHc03WK/V1srqYN1G5rJDILFJhdO8LIu9S4WGzSlLH611OmoOffkCOBpVZkEbqDYOHJ+2LnwUAa8XeDpMFhbvVeDZkrh8I+J5hA4AmQMFq4e9AzxQsa79fG+HvmfFLDYmKzxj2p6i/UUOJKKCwQtrvwU2pqoVhiCwMYlzwVsvLUVfvEleJ3r590QFClSwa3aN/7LKPUtxbkkmx3PFIObPGHLt1jp0t/o4aYSgi2a7S01xquBJ8J4JBc2Xa7+rakopw9M/7vRyb2xfmrKDkzJapC46/COY4kBd06bwhJB13WRWssqDClz/Ef0h/bAzH5rWYadgaP3qUZyJq7ZSHbJN0AGnIq9+4n/wa4RY+oinw1CXbqUYNhgPSWV9f9vdr/ePFXlhyqxlwSw6xbx7527KJWd2XFnoVxs1JQjiy5VoUzIRt+hi+6MFTbcUOWr29jmOlpAAiP8aWoM2+qKXwVo24e+k8coVp1+hXmFn+FNRvMB71BIOAlm1LoJk9iP4hk40q0l0k147zIhLDJabr2HpPSQEEvQFCoRwwGAQtWbS8FkKx2rNGdp7Ceji6KkQN029mIH7TZhnQEz54VaTES2a5v/qleS06f2Tw44fMbr2I9YVpvBUE3tL2LZgoDoPdeCS0YNRVbL7Iwxdi/CIr3eI18Pcd6CRnwem2RvvqofSF4E5WgcZDtHRw7ywIzV2RjQiK0GSUJi57eB4Im1vHbqey46HlWSu5JZs5K4hu2khXeRre+FfACCSGBjT86L6cX4EwZ5DycBvoM4YNqbvDrwcVhJSZAfIAKZEtYwMefWE8iAmt8CPkZghNhbg74BvLBAETkCp170QUmaCw1BDg/OTDqMIVSbYL6VAzAH02XC8y44cQMMVlj69AmhCD3HtLM3q0WmzhT9D0lXV1BiqMLMS1ARPms5bi6sWhrN+P7yftUYNJ1qW2DSWDOB5cmXONBJQOxeXCTjy3ESv3tpE/mVIITdUEoGERK1xjV8OyMro8RlhiqKbbvl6PgCsUQ1RKu1jf3LaiYs3enPzbU8IpbJBj0qt0lIQDy4lIzEKWcCj+bhS7qzTttus4sUxuG1g6HRwk4J+GEW4ifYDwuoNhAjZIQYDBZ+b07DEBltEneeqQGbQ1LMe4C5qygnHsxHLT/jw7t/liLDa7DEurzgXxzQV28rYNJAE86ofaMSZlYl6wA4FXctQhhphZ4nrMlOpVfHzTa4sLeIr/+4Zht6iF5XqzABdGaYhaApM2MPF7LhgiA+CWlcLREEBbZkBqKr3es81c6gc8FemUcvkR5K8C274Oi5JdYb3ajk+68p02fh34Nm/OgW0zpHaj4SYADfp5jr0uJ3u0aaUPTS/uuQTOMJde8BXF8p9poWaRiy5JRCupJ8R85Re/BHh0LVpjM1fpE7rdIVPOkIycGZH2ME5BNhN2B21MHQR5EGow+n9vVg2OHFUfoq3pPcefJpyMlVtfZH0I+KK0btVlBURF6dyFMzYCeTlSxxQTDd+zQuzxzp6tF3PlydiEit1v+L6poMSmYOmH8Hlowou5IG6E68an7gYGwE4uxJz+tdRjY+La/D1wSBtrGpKEb/pq1T+voB7uvgM2c1P6CLG7lONKOzjj7UMy3cMEhqupCeLNZihXOeBaRXTuXKKlrs6oSYL+JrgA3WWjBbBslpT/L4s4cTu9uP6EziphCEpt7F0qbOtSHfh5gWw2aHmcpDvY6h/uKVD/+VJz4LnHHKJ82Snrpp4/4BA8q/B8Htx+gSzE5lfq4DDHB5xvrcEauVfVBu5KCnc/zK0VvzLuoLVuHCF9B+OT/4PpXZL/GFAhr3MNGg75t0CfdiRqNtdqjAaJ2LSiAhyfeCh5RdM1PxVcX2eubhizfb2qJShvjsdmumot0AiSkxyZFqlHiOfNmTpH0wJajgY8MN4Cq/wtR+U2uosbWHcn51Uph14YedrV3zEuJQ+5H/gNtpD0oQxSSe3TY71lrUNiQv0u6ysuj91YaAI+pwpqU9fGSerXbldDtwluEyIJLVImq70UbXj0EMZ13WbWha4/CW4wPEKoRlImaZhG3WCTTsKRKBYvTVKLx+kh2ZLii3laYTAVoTiBB/u8sGL8ZvL99VSXNovDJxHv0Ro5DQd3nYNhre11NgoVSVEEYTgtBYvr/fDpH+G7WFts6LV7XMClmLx8QUcGWvftQ1hznQ8xqOqO4JFQ67QWI77g/tPRnzI+Iv421m0XVx0O/D3RPI2hMmCePucUVIcPFoskEFgV/+rp0QXjYNhBWon+P+dEDV3OTcqjbcRFbK/4PuY7liFvDpBfdn/bEZigJZHqMFE/ZXcFLo/LHD6GdTWr77O5m8NF8phsL7eyQte/lLIFY92q6rvqpqar3zz7Mw2RBoOilFI+QLtgqBYjUSs/e9HoyKqrg1vbsRKpUxvHXPFZoMDHwGn8DDjMrW8nRaJ5P1tl7LpjnvM3AUAk4OXwi5qTr4+3R+/wHgtDpNN8PVOBykgLOWfFCqjG1whUnaY65tmlXCLdD1CU0qqT0jpcJPIUBCRl0YsggxldJwqG3yKUCVivEDzV5GFkPaQkfHpC4w9qn0JXAr6sLzW8xBSKPB4ZMW/gMOZI6eK5clS4L0HdqeNeBpKT55YMkiD65qbfmQ+4Yq12X8CN2BxphqQp1XBkedpXgr2MFLq8NQEaSPu69GheA6DwXomnubOPkZwC8CcwWOXrrnOWZTRgblAwZknpJZsY8546lH/GgI1ooz3p47t3GRgP9iJabdSN2nvLpmqmnfFO99DBydeA8i8+W0VDVUioMFsEOKkcIpd//Pqa7pS1SFkDpvtpO5JgKuqDyblmGPQNoSHFMd4Bh2PPgagPuao9I7EuXtL+iPMY3kN0PWKbYQxvy8RF0jr3uKT+DCLEA0MVqaPn4XKStdRVI8BNzNIFjdjKuX0R3xm4a61eQQvdqO1m/XCfBb6EJI1oXr7bV88ieJXWu24z0vdAlLsfkGrQs8NtLUtLdAsdPtLF+NgZhcbf6oFUy3yR9WtiRzELHPRX4WNZv3KcWpZYw0P9LCovHjaUTJvByi25tTpRelVXsG7NGoC0aZlwfUtqKHXzRCUK+PtHxQZLgw/R/uvRAKOsUK09VO/2yyj9Um2eMS7X8fLRqH6enex1jwD121ThQBtIXyPPlUmI3KikHOL70E8IO6QkuuiXbMgYQ4C7D+3tdESda7iHxJpipN9LvryxQCmxx1YQ+TXg/E3DBi92ZCg5SBjySFnp8lImc+HR8DropnmjL1xnuZQ4iTXedbrneRy+9ngp1vOIh+2GGxJ1WH8hew3xIU/FB2Tji3wUWeheHaaVkSF5XsqMB5hFzKk5gHtPaEbg80CEsfrhfpJ6S01hfD44KOr5c1Y5uju9yNcbApT3eQ8ltYlbMXl/BGlEA1INlh3MW1CXJy9jU42/YgEyC3V0i/qleJCcvkB0AIuSBsE9142k0zA0J+PipLRuBHGNRupOLeqh2Kr93Ef7jAktOdPVxts4aCSrrU6NMZY3wf+prATQgpW4zM2LO40UdPca0jm6xizXF+G7Oikm0UnpGg89bdx2CgFU73q3DZsnYNloRvutaZ2t/wJ6JF4xN/q7wQuUlPpSsIRGOGJwPEA3EdVTqpu4Ib8vjO6TcYsnhrWjd6hqoZCA8G+7SovVSK84BfF7Vm9aTYDNVh4xtQzf5sYMHKB73syTCMbE0RZ+SaxFL3Cm1FUt06DV7EWF/+GAylsYfKSESXo2EnME+YkN/dx3rrHphV6sCG2EAQWCcusS7spHow8af3RwPUpAS+AihTYQ4FlrdGwYqcnIIBhAeo6IHOhqhUFEv6uw2/WqWDqS8xgYkmAZ81qCSzKtKHBFX/nnI6S6qRgCL63zHvH2465Kpa+krGQeEFM6Nk6XOm1djdASsDcloHuFG0/1YMS/D+xH8YDSoiOMzhJ+gtlDfzazKCW2QCYD4p8Ag+k/c5AJdzBZ16FaNr9SfrGwfsycmykgBNsZ5nTSh2w1jE3ErUjLa4wMc0RpIOWQRm4gnKnBEqFIUkaSfyEsJmOPn3hsbOwO1xBk4kf6V+r+2NhhqHwSxrgqBNBGeXT/s+NRj1zOx0xMwonCFRVxFsmms7XU/0RdHbNNyQlde+6kfAbpGitgyaGLo8WHyr3w4sqYpzfTvRDWEFWpaX+MBpuNB4+hsxNEV636Ovyd761pNEpf2RtR/ub9Cp8FuHUVFqaD3P+uXjzXx0XL+0Y+zBnaWGf+SNp5Cz1FOqe0j40FOD1oNxIQaJw8qUsJwwC6ot/6vJ/Ee5THFyf0t9FAiHpWnKnDH0mU2TtYXPJkyqOZc+faKQLJ4O+EVZ9s0fTcka6ZI4TcgakIXoR8k5iqWogA2GwQd3lhE0wge7V9oWz3ucWxsaYyEadwh/tMp9nf8xsfiw4FwsPkFvCbGPP4iE8LgOyWI+m7kk+B2JZzzX2G2JKQoQygyuriM13QOAbbHQfNt6qIjLWTYX9tXCrV029pka0D6nGw/z6fAdDaYIAblHo8b6VTZRlyjm1mzi1wxXnOxFEkcdAL+psWsWBpKUImtGQr/R/Lkx75r40jjAKmzd7ziU6zFf70HRZCLZoz2dRaaTtyqSnayyTBYK7eTAH1QqNMobfQCDFzEbB+Yv+PW6V02yI2XyuRovFYERYEzrjEyzVIR75pUH56EoaOh80Et8dcuHS3Wu+qObJUUofO/GCVad8fEubW+GwtCbsj0vOBV/DsFVAu9oYmrBdNTNVZSP3ijppTkE3UwLOI5872nx2thMXpaz/sywnYDOuY01ipPl1qbOe9rfIDmhwpgM8nQ23Y61NiVcGvZrfZ3kocsQU9ZL+t81kkj7ubdqTTBmBnGlIWUSHP6nmOXHAWFyy1WbBYGImMcDLvcGM6glA3XlVaW7rY0zgN90LULUlPM1van8L4KOdVXuSWpUe3z9ZQ8NxxtxE4gRcd4wYymp9Q2jUtCz5dfP6uVQHVYF+YEMsOKW4z3IprfYtxh4ze9oSBUaj6IoHRvH4zYO3PJw/ghsZVFsCq9/cjh3Qqkj2AMQIrRLr5O35/+YtcswVOJwHTwgGhGLavt+GrmGTIASdk7DaR4g5/R1jHWLIbGBw2sybB+BzwbqXPdFcnfklARNKtBclHsvAKWYA/4/cLtxOW9UCnS4lZJJpff3yMT1pkX+L7qAez3X8C6n+tJt9RZjVhhVA+PYTbQpKTOHJfh5/KbaQFUSVkDogN+VVfvgonI32XDFrg6vF2JgEkrYkbaPxrxIue3gYSVc6IPsk+28chtCt/O0zFjmwjBykRSsJ2nnPwyT8mGuMlLPBS/f07VBihMon5UVtyQDnYiZJaxGTX/M8A61DOXUGUVwPUgNyPKEKAIessB3eh6gmGrmn21YCW3UefeS7Vl8FwmmMdWM+hNsOm7xPs7FmIruJfSc7j9z/DcnpND5wmNKOBWEG7zgimVwDf7adU5oN3kNXUrV0eA5DShbC10+KNGjVsoggZF/c2gIU9tuddlkG2U13uvPXBkaY50LZbpKjxIBHLGSedxTYnKCFiDVayBjXylQCbqWa1xlisEm8eWfBxBu3+KB5/IhH1NMZ1u9qLWeRFZbRteJhom+HSveW80ysVYrzDVOJ/gqnDUVHjqtgfhwxEiTnRO1H7AidK8e1+vIyiJdgX2HSJ3an4SibK+ADiT0jYsEk4RT+plf+r/BUvsoIBMh8qai715g+zL69/8fy+B5JDvsyZngunig3p+eSad9zSxNMwDIPcDXea9vfkHt76r97QEWUjObFFKUiMyPwOHVlkWOaANh9dgsxj1LsKllGX0NCZPvX7OAASlrA9kms7yOhipRl0dhEEgVxvvw7vCLuNHtitxpWizWZguF+GrbG6V15uwoUKaiggHmOsIPm22yi7JdWHmsat88PqxM0j4L8v09C9mBF01FsOGFP7bN/1I8wXhaJN0RQQ+ZHn+HjsX9D+aPLyQLCd5NrpMXz/HQfqRDhqsgp1bjzw1e1QcTyNsrDXaWD/eEBsgum/E3N0v4W9Z+fOKeVcGnZgj4hP5x0ilOTuAG3O/KeZVzkkBFi8AmKCehDL7Nai2nvv8khHyV2o8Sj2pvQIW/Gfjq3Srmpcysj3XLrfXaMh4VNpH1TWd48r7IdlDCJ8H5Kwx/J/6hWG6ociLfavV4oF/P6HtRppMa0RcjDD+0j4pO0XJku835mw0MwpMto0VvKHTdAxqcFKEf7qwNiHnH/PLJXbi0WysoHcfZhqfbIw7mvrbTjToCeKlgr7AqK6V9D51gD8vFXuz4xL68iVC5eC7ChwFTiiZd4d+nYqh/VrrNjMrOaa466/gmknZdzLOhMk029cxUh7hzKCkm8daeWdPOheCqjukGi/3mVBs3x15xhv/l8PNv62cJ83nsaAgFT7Z8EgCSg2AJFS3h2mHhLiYIT9WWILUbEVY6L3W3U6GA9+nQqT/tbyn5jHEU8WyC6dcN3UiW6sh/xpXlEbdHsEQlP/MUrUeinJKlnnj/YlRXpy6yzmFpGdfROil+7bgZelU8icGCUZne/F5a4wlKwHH/SiC78zDmHLEFUI4QKz/pz8lckbnVPT8JLRCfipAxE+nmWwQ0hGypdtNALJNJeZnh95Z8GRIoh6yHTH0f5TWOYzG4lW8fgmOohX3n40whurMN5MYu9G3HjVy6oM+3TZTv3uh5KrqkZxAS/ZJMHYCgPCO5Vo2GQiwovJ5KwArwhzdn78k/w9DZVJgyDOtsLsj2AzMrk6het9nAPwNfOIlJxYkHAEm3XaAZi5hUZNoQWWOpHiQ+UGKA6zUcIUNhaHytn0nrVQIRNuCrDfEaQKWgwsr3wOPFS+jWCr6EKAlM04n5OBGN9ksAD0LmhdkIxM4uh5tw82P7HsQ3Mov+6JEu3kzgWd9kIFGaGoWFx+3lFSDMVs9f5k260wlTkrUNgun5eWq5HFC4xjSBaxL/DIyYntIlPoVgNxWuF1Sgwb8VaHZh4/pVIYD4n1qKcukaCpgtWRHOfrrnwj8+abjbm7ICJ/aVI7aX5zrQtq6vW38U9GN2f/miZ+SdO0F5bj/LuhK26hMSlKRHM0J7MJ+KZe6mo4YsmNjeigUaBYrUNOA0S3g/zRDZggq068hm03Vl4Z4zqO0dG0Gj2KJDlVCWMDllK1RxeCMcRre1oN8XClAcJiE3nCaYA1p28X1fY22QFdyOsr6swYeJ4JyrrkZItssP5pnBN3fXj8NpwpxG7GlMT0cnZOjys7HJVBEd1WfVghDbY3I/Nf0dLKjDpkpdrC+LbcLVHRxQYKIjfK2kDdGZuV5W2nkq/xXoCYVzX3sdviuxmlTkoxdo2X2Esx2C72Zaa9P5SlJVXdL6c5Dep7PgPtZUhZyY9YcfhnYq7D3Vr2x1x9vBCSE4sXcJz5/Yjggk63Lr53zs01Q5292xRbRO91LGTd5nSYpGcaYoyiqtCIYCUrIQ5Vpbaaqrig4Tl5mh7RYyQmg3JmKvhpnzAaeMThcz34paMaGGycuQUy246yDeF9UlzMR4i3eiCVuMmzPNrxTNOx90GaaTYMm8oAt/O7UgE5wFMwdPJWw+FnZszxDlPAbXRsOIY14t0KTWlbshosS0t40LXDdz34BWSV2MykusTVWHUEXmy+0Mb4/3qHATOwJlGMA7DzeS58vafQxjQ69RTRFlJusTTjzUj3ESnUZo9afU4W8cYemdcOzndmR+v/lLE1JTQGVou/sqUz8CAQby8A1IQIahP/xcv5LW1jvdll7vJqEQ+adzmhQGhJeulw/M5oHKIMPoT1/WZmXmMJAEtDd2A6e+tYWyO6fTg6/aIlnBmGQARlmAlkmTJjDJP8EWYZOktwF0+yCBPhhB34aEF31e5PGlgtHtGWc8JXqRNnp6/oDa3EpfP40BSN5+Pl6CqfXlO6/xOF/BZZ0WWtR+lwgWp2+JsgKxZ5YceHOn8z1WwEBpssbCi/5I2D/W7HGOa9HRiLK0p18B49uWYQCVbCFXHw0M8iWgUzUtNsyQ9wITSweg3VfmUTdV/niPp7vqCRYfAUpRnxy7imZTZvOj0j5VXAt623ix14FOOSsJye2PnWrKmhshWEDgHYh6Tl3t8GaO0dEeDerSMK2V2LoLth73nHB3R2M9TJ+33uyyZs5xysAFy5RPzPFgUNRAaLZfzfM3FmGrq9dWiGVLwyZl6muqotESi4xuIFJkMJQICnFm921/jjHx+JGbBfWs7Q8An2c1fRy0FjNkVQBYT/D34Yxj+th2uvhurijBSy9gI5YAXwhdTv0itEzCqIocFekCQCepy3bksRFc2DAjh3DrCd3y2t1sB76iLcAJVqRjVXf/nTPzkhBK0QPgosq4jErAn6kilHWjzLYn4+hi2cF6U6BBE3JylLflzgYeMe19racQ9X3dGzMH/C4izYrvtS3pSl49VucjsWeg+3vNbG7CI0a68Fln+cyIDnIAO3htM4DrR/60hUnFYVsSXE/+bU4VMacPaiA4bsOQsfUPpFPM4U+H9TELsGutrFwqZe7zzvNaZ4FjdatQZSGIOOawzKaaqYjD1KcOjNbNiemnyfa0/2+Zc8NKzNi4oGgYZMDp8YdrJayqpqm1BSp4fAQXYRw0a+hxd6k3tB0mlPvdvL803y6kfdLHIj2xvmZQ8pTp5AJHN1Y6US+7O+NCefz9j+2RrM8pJF2szePDflilkY/LIDT3T8U5nCQQIwX67NMWLdtpabWAIWa9IILgHUnkDFAisAU8kqeNwZX9G98MaS4BQQu3WBftlpmWiPPdF2cNkTvrSxP7c/bp47Mj6CCV1Z44NB/cOuRVkfx4VBhPKG+ga+aRjZSNWDj70D4gsRYMxNvWPbYqhN6DLWcEnwaS1ZwS76hkN1KqHCFyjTWj9L8fJhS4vx3asoH2gul/fu1hTAd4+Pin8zAYW8CybslK0zwpIO30Sp+5A8gPC/gcBOatgMRBLJj2UejZva6OlYPQF3w5LriWCIhqcRwojSHUfXk4xEHU3qJNGXFhuVUCXWceNavZlH1RFoG2VIpK0OptiUYFaodu42gVf/9oroPj+rtR/wYBYf16JYbs4ncWWMrFcmaqm5FzhzF358LWNs4dWkcdTn6+i14XjTPZ8e2oyf5FiifxaVL5TAnd11Z4NSUQs45/VTd6h23Xeey+ZHbjCO42ZQ2wD9cAv7nLlSE79j6ClRjsBzrWljR8QCOhPKqi0bdx6Na52UoBNJ2dMiF7QySwPwEq1wXJBhjrzzzljAch+9jzRSSrXwucOV1E72YJ5Ye/lm0UWV+TsjFjlCTmq3VWPr4Uqz2sVPYQA2yCXVG2p4izCflTpgBFYprh4vd28WOoykLrchEjG6QMyFkZ9N0cpQ7B+9JsAu51JXKYeIq9lKEM1AVOfDsFeRtoha5Pwn7F8OI/2zNTBpdt3xrkIzP0WqZfSkynASXcE1XaMy/sI+q0GI9Caz4j+ghEb2cXk0OFYFXPi/PxVOuI6duL4BE1HP49Fm+nNTz8OvbhNzsUr1iAeqk5BrIaf5RktLWmvOqDw1TuaiogmBAttoHxUqaKxy6EfHAOOibLcc+5ZBjZ5ciLHEFwlPHApIqBdslcT/DzwtTtKKojVSivh/g0TV8hVVp6OJP6weAhkRHx3lQJGZ0ngyrF+BnGIOtapf5JDAQCHBlZvh/Emaz/K7BGWjG830TDp4XfR+pJMKM6+Strf/m/tJ32cJOsocO1VATFeGBz1b2cKcQhMMPGpl0sPT2i3yGi0mZozwHzk3jbVMcw+LE+V1QrQYIl1MzY/lFaGKr3BajFTITLL79yD6i1QKV5Niaziu5m8E/NJiEDQQJTURXiu0wJC/cLmz03y4pXUWfhs/FDjPn9QrIZNz0DYPfB8MWW7rrRZvD73XgIlyaQ0ZCQZwHO/oaJH0Et2i0tcRgoRJxNi7AHuq3k/D61cG/NRHpNReCl9ewrCJMno1jv0BYC9n30Xo9GvIcg4zvkI80D7NmeBf9GCrXt+2CwveWLNYti238Cp3tLXJpgam4/DpZNCYPHJZ2sLsG90jPQmI8et5DwbKUouLlOjARuPHytrpeC/9vHFpiQaEPS7KmbQuaud8iTuyBItMy9KyWiuvuODIiKzVdRVSqHWAOoBvmL8vi9+zS07XGBUtTOWFtVcsDFzHzKTz1HoCBCrgTafvBDTmpftBUDTUOJj0W3uMqmCHHL8/oIMaqgRX3C0HCi0Wy4AdSzud3bAwJkwSbvg2M+kjSTCc9FLB7XfHCgFJN/JDOk8IFMihn1vo/g69FHePPFD2uPQ1guDcLCFX983VF9EqAPEek5/HaZp8NjUKOoziXZ5LA73eAV1sQ3BF+0lDDYWZNGf9qKv/ynEzha1B/uCxWb94LtovzMhIytdAYfPoxWLgrIrp1TTjuoU+WOiNUwLnP++Ezz2tEGI82nqD0TOleQ9Q2J4y6ePkMBh4ppW0piP8Lkg7y3ibA23hLjIMzO/6wm/KBBMTHc9TtOxytriL8u61RX6n4tLF98RLFcC4M7ExIW5xU4RdKIPtjIY+SvKbh3mNGl/SfNekHV9ARovcW8iHBr3ruFrdFMao5TF7o5ZOQgG+WtOhBklshtcHy9t4DdY71lORwM2ak33fMfXWwTH0Ph0TkPPxbVmHyp2nzTE8MUgVhDv1CjOj0lpG8OhbWWEy7QzsgnINmUqHzxVTKS8E/4aI/jE3Y1WzzTkgBwUykvN+d+0Lpk/ztMK2ObSsDIh/h7e1QoPPl/Q59HwoFchlEToU0qNAwlYNJ9Iv7oT6enWu/mzfxl0aeXdFW6gocga+JfFEHuTmAQlZABlWCABs6IwDui0cqL+ovqbe0G00vrL4+X5d9/e0iVzgQrF5ME/qapc28TXGoIBQQYPBpKr1mqVbtHqGMELrdugS/8an86J3qsZ37RvLDdrUKxlBd/8tWuPT79Khd8LdAO1DYe0kxfcb/D8wg5yXeRJUgaeA+5V5HSOIKgBb3bdHEphiB0F/VPkyfYZL+TxP0wYcCQI+U8QX59bIrZ9c89sSKdp9mgeUrG4HVBMb0Nkj/xynnAxpagEjXN+i2i/c8dst4vCwQ1RkIzDioALTZW3MdjMVeo0iTuFYTEqMk5ubL0HsSO0hC53CG4dpl14Sp12u/mC9Kg3QqVntVP6ENB3QlGdLCUsUiicbKK0C0IEAteUdCCep3PM3CurvL1gqyhil7dY58D0OwwUP/vVubIEO+bjNOBhoFgdMROgRHNLxu+yJ3MfQ8QXMvK7TGsmuWmPxtpFICgf/t0sKwi+RoznxuSORH0+6/F78PY2kcf9UmXVktbkYMZP9Oj0QoyUx9m/f08JkJpOfGelW+Os/tPTSoXGLPeTwFbNOhHArMxyxKI7jKHAJgDZRCP2JRFaBiXlIu+funo4TFzBHHLCfJUlSMI7+r6V03yrZ0gpi6PUlfo6fnQRvAVpUg9mi/OerqDkcZi8HGlFYBJQUSBEhTatmjeCyoZqYnFmD8exTtg2BISxFCCu309MX3i+9QFonRi1z6z2hmx4t8Sl9SDyVmKH4LaiiO9CWRyABFWWQ0zjQfGbFYJbG4A8epS+hrJb9D7iA+bvQ+xftBmgvKZrAzxrG0Nd+VHNDpQlA6lS1URmet5XRsML8PuPAdFadc9Mwk8rO/QTtjAhjF6z/pirXSrqYSj2orvhaMyV6q3DVJ6PAf4HJB1MDj2GnCtxvi07t0ZakkMMakLsjo9MMHtSSqx9FQJ5NLTFZke0h8gkt9fHXHT5Gtr3YA6SZUJrTuURy0U5tucSmzjADbBCFZL/0e5L+8daBqsWZM8F6tIhIQ0hIx9OIfVjtkbABNEPhKL1AVrXKlS5FVb6hKRZQt+pYqZXNY76BUJLB4CrI3F3SEjheW+2lEXHdP/TbGzG8SHjAF27uYQQL79ykaUsvzzFMooHJ+erIGEkHexBKWaoGYgwOB3n/Rp/cDDSuKvBEZvDOkNvGQGy7sJgJvhXAOg3MbBYolMsbV3MhXhGxnpH5GErpMeijbO0CPIHPA9T2prCxjx+DR/6ksdNxKpofZ7/opr1gCRqZCyd+NR8lWREzf9Rs/KlJimmlE1BhIOqJ2/G1m/vMqIWluIUNpZkilYJSt4yNFKjkbk/XWbaYv6h3p18o5bBr7Waz2HcUfjrURXVQeeZaVYCP5UjBXPoI4SpintP19IrRDKZHWADJii2CM8WwX41g6A/7UGmSVkvvimdTTd90QIRcWgFoUjk0Z4/0/DV10lVKLJsv4JQPJObkf9d/y8jwgrX6n+UpSH2YCBQgZJwDV5+IuxIAyfhD3stBDZTUSOnjxK4MPCi1HzrZgYmXJMdQ7jtDsupYRAZiqgHJmgVD+8/5xb+ySHSoEGN75uteH3oHJJFIfQLjBt59u23//bu5PUpfkZX2QSt57s53r7lrFiTGT0dkSxugsL0IGq2EvSpY9byQ5hAZmk224sj0x3xMMdY887pW7+8E0ody5KGPRk0fPWom2MZhkSw4u7psnZ0jH3nXZuJZXCDSwqYVR/WpY2Jpee6WHoghTvwxInMrf0vaxOWXjX7yoF7I7DxB4eGVG+8FS8LhM2DyK8uH6qCU86SRFw+GMqnBCuZrL5Mcum9iY8CNw5R2XrJpkhdYI3FCVdFWVP6RNw6Tthb96jnyZD70kPg+XFS/TyYBlKTADToejoseOpgZLay3pYlldfajSGKZ64EzjvautdlZTg4W2jpJBgVyoZKufrTUiHZiwMj3Tm0Ter9O+M9DC9R8tj2oIzxjMhns3JdcqHBq537160eU5z242bCk56m3/gLmFyBJOksmA9V46u2tIhhD+pWpWr8kqyjlDOU0mcBK3DPfdJGd5zayyAeeegTiSDAF7fYYZNzOwSiP2eITiNVo2elZu7OJN7ENYByOvYkRYrfXhEPlwQBHzD8CiKz60tjRdbQDP2PS/cYdP9p4kAUzMjMfwwexvhkmWpodQtApeNj9un02v+iK1Y39T/xx/tKQvv1HK+Ycx3dXDvTOcZEvC0zsE5ekFgO5bZsepLiCAGrVvzD1yafwZbjhw3vIr+A8O7uWh2S9GFRpnrAEufHtB9reV3dAy9IkTJyLLGZi8np0gF9JJdX/gl8nj0nNcNpWeI6fv8o88IAo5cNUSjTmbY78ElQ7WMf9dbpLbZfbKt6wCFs2E9h9n/SfRnqDOU3tGFUzoe9n6rqKV3naCkv6/aWkAmKWIx0EkSUT/mfwczu3gu4Aw0bjwmEwL4JvsmznAtUnoGrCe0TBL90mCLTZJuH64hjS1kkt6YOdQPmSnC58G5c6jsY3eNp79wGra5FjGulkTuJaspEL6RMGkqQ+Edm43+jtNI4bTw8z/pLaecicOTDG/gNWaMIVxIaV67JBkuK6Yvi2hliqlvrijJOr4mFhApeN/C7X/TrH20hsP5XGqardtZvF0aFmkQUE387qQYzFRBSIDfkkzTqQshCQZASrZfdokCbyTIUMT52vPH9fPEyBzVj58PDVMslXUhKPr6o4xhaXs8RwebOfY4+4tIrxsJq+4aG5yFFYolivms24zmZZI512LvRVLBrPdaesh3B/QF+b4QhJQB3/haLnNgsancMMG84/HEJTywWhOOjE0u9jo7LI/BUJptGtdgF/P0K4hEh16SlTm/wPOrxru7py+VidFIjNzZwR3/pUxeD4tPJeDLgGXPcyAUkR3QZ8ngA2vKxsFx6I2xjbQ2VW8fwfiY1knT2uNjWDIthjNy/axQRh8x6S/vGUMsPfrVPgYtqB43E5pU2w3uUyx7CRrpstgqFJehg2x9mOW9ipOHyw+kFDf/nrrCzB9q0TW3dtvsR8R7MR+ozfjUmtjnAjO5wVeQw+8ZXe113wxHfcDdKgpA+trnsH89Bg6hAN+xf8KXqbboZzCx64p+AwiKC/ND8J1f/MYAP2HzzmOSUjVBfHQA/mW9W02b+B3/nXPUi5UGl3HzcecP5LBSxXWH42OKdDikXpuuSThJK36t0b1h3aC7VHTL2uaTCgX0pzN7yhpeR0sZTOsf71Omp6kHd96dpfJ+QzZicj7yM/xeeqRMGj6V6my+lmiRR3EUI+ycZ+lEebynl/E/R57dZ7czaJPy0WKX4ne5KS4RFbPaCGcH7ZnaITYFafTJWMzR+X4f8nc2czFN6IZQwxgR2B36qPSB+jqGIakVpW02DBqirghD1TA8RL37gUWt730ifWS193F6mVSHtdzSMEgFTVi6KrkJjMGsgI2G7xfdbysVJUfMSdmFMG+/BgcGJ2w/r9zlOxpktyXGeycT9aiHc5YXft2ImV9S+cggxoLDI+3gMaKNe/lPzqjSe5b0Y0dBt72R4ykGVxq4np5MhV+i8r9r/dJcQ0T5hVgfbWI1tHFEfwZnnKWPQKto0OYqrPtIf36XO41SleDyQYxphE3U1VaA0Gim1X9asGn20jis6XZ2LdyH4N5sDnXdmj4ahj7/BNf6CxyuAWn02TgURQsErzl4kPzz5u0E4yrT/SHhvjr58kk2TvwMVjCXk56ROb/biYyDLEzdHW8s0enj8TtHhBAjBu3wpKFRb/Jv14kcauM4jb6xnisKjFalXXt+SIyEPVYWHfjAl//qYoLwR2EoYY2sRd6uhEdV1MXtfk3ACJkcQHktE5hiw0OlZ56cpHXEUwKHvhy0n4QDncM0GkcXjC9gH9Kmne9w2PDceubLD9ufjJYrTTgZgn9DyRWQ2ykCsGK46NX4RE5XPpGH59VTe6Bl3Yz7/YF+1QotmeNjWIP83vjGbh/to0RhWurN9NvxZ6WoZC/lkHWzt+Vj53ojDg0KSCn1FV5ajMmn+hY54UeC6R8MXyWxKf0PlNhLLtonsFnJ4fb/ipPrigVgotDZEQYAzdLrMOPRrGhyreueu4zVrAiNtBChyL7GOUq8RyrGrBniW0Z6UTArLkRP+8DP5PwQOCTOovkcyU5sbMXq7E6stnuS5SpdpiUC+++dtFyfDVtvZECQJ9Sd453DUAMTPPvu8bRBe5Lgf1MHG4waP7QV/4GEp9xzqiu2148rBuHZym/GOtcF0OGWtOjlGM9GCKEhY51jTyXPg9S6faq5wZ3uK0NiPbiH6Kt5vbMeZxSDXZ9vC3JQC3pdzwy3D1YJN7XU/F9lFV8RqYJN2XC7Vec5gyCVHqKZ7SZA/FKY0sNR1fc4UZI3sY4sAThJ4+uIoXn213iqQMUxrIaRYpAC62cbq7F0mygKWCi5KipMM0YSTptgiDn8KpYXgRMV3grT9O2D84X8nSpwoz+WDFZQ4XJ+NurqY5iYsXwRdWVcr2pIZY3l9Em5sBr41HVkvYtHskakcF95xop6Btib/3n7Eh0ob3IXw2HnZwDElkrgPtNtHfitBwG5RQD5I+ZvkC0ogr6tOsEHYJiNf7HDHbfbdB7YxwfWMQ7t4EeVmhptCY4w4ZMrLiCbmjvFg8mqezV82ZtvGv09kt/t0n33Az5scb4c8yjk265krahkN8kBLJOKS/0xIFWnJ4v72odm+Fi0RDtzV1IQgvEq+tschF71l03WsWBGjH+9elN9mo4lX2XD6cpSDMeC6tPUI+HqMDDBAla6S3MVRy2d1MLYypZnUyTrKY4kc+MPnyAmdo8WWArGvHpnJSYn81a+/xTCvNlGBFvRLZgSDfq4FPRME0O7anFPwxekwZq7Vm3qrLEdhBragelQ6+bAY0uwsYfhKhHVO69Y5KULUU1DYraO8S/JozbZjj8P08+KFXFnDUlPiIS3AE1chCYIrhRIlc8YofnXCJMi49006jhYrLnbUNZKW3/KDyduvZCqET/RXJh5iJdq5Tfh4VY5fWJ8oO9vz8m7cZmyXLfUxN3IY/tM55Qeg2FBoS+y6Rrp7FmbiVMqZAmaXZWBpmDR5aqEAx4qDFyEVIx+kBdeWi0LeWT2tet060HtR+kpsfeXxM9BRQCrCGdKl4hIQGu7YyrFOldwJcmc9jUiaXhOwQnmwuTivODwblCrgtzD505C3LXyqx9Z7aMSR08tWmxFNDxEXZ48xsBoheczkKsASkuiL7j/wtoyoAfOKlehH22IJARxKfLjkczu4Y9/1zkHMp75YRmqwFxELpHPV91ecKp9TBY2g86UGVWDdYLxyr/+J8+pUjC++r81OFugpTRJAfKwIJ1IxTqD7veRuAiEzVwHzXEOQoAsRiKSLsSKOZCXHcAldQRETE89bUmPtKhHi5B+maLVzXOXJ3TV1kwvL4iAY3UTdqeLJc98ezEtbjrw5AZYD1N1g0c6wpS+S4UnRNLPgQ6O573Fwqkx1T5BejUFZXJ02V0zPvG24YhHIkeIYx5UXP7xWIh42Y2y9kLDUHWtFssSgHbocByqSHm9HKarFf4nLkTNfony5iuXvnq3CIFoUtSGuiQPzSfD3OxNjj7dRp55FzigmIsIKEC3SNDOcLJQ2rhg4A7ARL+wLd6xHf0L7UMtSTlMKM2DUNVaJri+mTtnZ42t7Cu2NBimaHe2VSU5t5OQLzdHttrHSbSoaXmY9JJt0bLqQBw5beKZDzCqN6yoa/zgi7mR9/QP6dgEA7kWhx7W9VvzA2Thy82nlmCTjZJ6ygzzfxPZm/jf7UUTwecOzg/9bwOqONnNaB9HGRiJj1hepWUU2fmd84TCeEKapPZQVlySbbk4rGqwgCKdGPqjH8ujSeBC8Jf5eLA0EVD1ca3O/ESF64mDVem8lebmtmJnuIzzZjVpWDp5NekeyvzSGIKjfovLwvTt9H7ZJWXax2yr/NRa58vy6IVZGkv2oyu+u/dxc9K9wYQAy09XQVlAZGYZCh5TULPayDWKYA4SNp/Rn8uz1eQ8P6pULQJrbyy4tw4BFz3fQvL3Xi0NawC/WK/cgzhVDJnxzG8fcQZg2Xnup6PDTc/wTzvYMw0pBbGDQgq9KjmQc5+zSnwrBQfgKMAuCHFrdwUlCjQuTi1NEt+nZ9kOtzkggMNSZAINTLDhLodoZ1ah/NJB7K1zrazDuqPUsun6vclEy1yfJ6hwO8YGt8eCE4Q3KmXRQwKMn/cvidcRyEmfD0Tg5Lz7t04c3oc7JdwyLri1pR68vjjQAKn0VjYuIfLRvnbpcZ+wtGx2JgqVMyfWNW89drIxR6lQEh/pi331TWMkGaNcw1MYxiyCzKKBk6Fv8yLBuJTiJS1mygUKJih6s2PqptnZFVq4NXlcWPBHGENSPz/AGG/4vdjOP0cKr1IOxezpE97HBPs3lGJ+D7yDqhNq24f6D4hr0yYBVhV9eNPBOHydZqYtJ0rDCR1Wz22hFgk8W6cd6ot4GmoNL5BRh8b+nRZu5yvSNpKfQqYKv1PW3BXhJoCZnYKxKKf5+JwHQsPxrV72CWpBeulGTxEZB7PNp4m11Lmhjg9+b0cVmfzvf0PRJPpBb2pgX0A2w/xZordim7Q8z7g0EasPipE0FfRITRHxyRX8xqEYXbFucnRhIMXTO3mbo9DAEalTnU7Pgk5ih6a8IPqMHm9e/5nDSjvq8CZrDRx/aiEAxzkxQupadrnroTY4UKH4phrKCdB7uAST2m5NJajS6lEPnjInMteB7snUC2iwHAdGLWKC8RcIcYaxa0q519d3e0jR1kL3GEkvyybhYAoOEsJbTCYrQuWtrn/uNO2Aj57uoFCN4vt5ALtDQSlsPfalIOhm5jQPjUsDd9IAcHrTwaBx0C+XUL+S0sfcSyB2S9Ogr7liIwqb5U/UNxGC6+KlaFXWJ/XJwXnvOZ8DkZ0t2tinSkAEnDWtqPbytLjHn5Y/unqYYF6jj+QOsYE8ZWwGw8e4IvszbH2+tnApZa9gzIh9q+xBmer9D7Zam2PF/Z3tJdCfetq7SAScyen/qixvMcifYq2XDZhwlsxYRfuI2/agDyEocDflh0cdFYJWcFIBhzxVSWSknRyLld7djkbmiCGQ/zIk2pi+p7O40p0yRyDEFu4gl9qf+vi56wyfid5k68eYHMktWZCT311NK1ep8+ag6wqj17oYOrZpYkPH8RSIZjmAPvFmeA4cdIWohNAQLRo5sP4MlUh7A3pKUE7GCqlRnP/SkGNQda2tuqFEhxtZUN0Xxx+HYjCYuwdIEzPP/EzXTRrtvookY84HLUteGbjk1bhhSf3Vvv/xUu71JZ82QSMcNfSwx3Wr25Gff7cYIx1AwDvwtK1hrvyxO1l6mof0MWP65WvSSbOolvZ9JnUgzneb6eXDFcasu0RGPcO0OXPvUS7krNMTctcD1KnI96Cg21n6Hbv56fskKXWUQhCbAJ3M2E3Icj9t8Hxizm7QRgjFlkFUvVf9Yar9qEhFRldBsgjGoM6x3JxxSy3h0p+wXh/PPAiKS8ykFFGwZlFIo0KPRApCd8mEs+tiXUy+d6HHyDBV+WBAE2t5f511+K1o3jQTTe+C0IuCQokW43WxesPmC9D20UCaEzgKOiER5tzeS0zfeHtHFDZyin0bKAgDPr3KeD6nfzwJPxxB1HbI200Qglj5qhSKlkEF9pFtfKNJv0J703ghHxJN/FCiABz+Cyxyxt56WDQSZe4JE7vUFj92MuqclI/G48RucoNvqNaxQEyw6eNuIv7uP/JBrve7o1/G5N8RrWIPN4GRLRVsgoOpRdc/TMglwGxvQuOfxts4vsktNwEdcXdyOEyBrJ/QH6/qJtFv2a7Yq8pGKQclZdvUMOu2aAv92VfTECeHBFd8PE8M9fl+pKpoL7TWSXkyYV9OSmPfOabWjpoUQ2ZIXJoI+DzUzDxIbGyXjrRwxJKnaM8OAfepS12BzqX2ztlKURidV8/fvoFvzjo+ejLHdIVYXoNvshsPjLYXJwNJrkwBwKoeXcbPs6ttMCgzD1+q9xAzAx6oPogC96Bgyo/6Euz+WCEeNZAndV57NIYQM1Io0nlSUADSs5Zy8tp6hjfmI2DZKjuaxppG3MrAHg5sK3onWNOAhb7YPPHQW07BccBD9Px6EjI0wFr3EUq2n/oyvjDKe/9ChQ/lFoVf3uvjUIz2JM3iOA+i4Qz/KpHIUIKkb1ay2CfsK15lSEGc+ztl6mqNtE+/We+cpwNv2sWIRvXiXalt7rRYcIsKpoPE4vDgcNElUtAEvaxG8PRVCPI1im+O4rVUR/eDykC1oa0o5nvqZTaki82qJnSL3k66AUk9NjEfbFPLfPSLbVRyXovY8IGoQPBb52eBpX1Pit5xPcG8HYWuJKTwLhYTvCRVuAUC832yKL1DF7vpmrZ9yX7Y2JTmjYU9zE0PiN0samGN5tD/nPFNQ8YqbjHxtfyLDBbc7hjFibNfs6hJ4M9wdA/JUUy2FegFiiak4v+5zv6C5VozLOVerR0DQB7gKp1KNIz6lEcYCRzs0wWJOwFDuZUuMV12VyJTyE2EsuHBAWQ8H/yeR8FO82tYq5Tqszc0PESWnO45ee6kZDTssUgQnnGhCBzkaasj2ocbqCgfOfjNWFdeAzppHnI1gv7z5uvwRNaoDBnIxrZESGTpLfM3RF0NeCIX1xfdaa7G9EYtyUjUxQ/X0pvzDLikI/RbRJ9k0HSdnBDrfuSIZte/cVYQJHy5LQdMG1CaC+kAuSod2YUARFeO+BzkCVti+DOB456WkkBq1UlRTMc+41b1euUoOVswF3MvnT5PTlBVCCFUP5RwCmDSVcDoXGeHzQlVhfMNGx3v/V6tXgVHi5vEkyhhPvJs4x0Y8tvFE4//kcmZCHNPPwR51fZtdiNKtdRZJJ+XEf2SjK09txTvu0xidNJXC8qtKEPoialpCu4jw/sY+DXpM7X8+n8JP3AHN/HsryUUx7FNG8DRQu38xfiO3Um1ZOZIVj0hM48LASIUuep3XBpNfUMu7W5WG2Riu8ZkxVbFTg1S4JOI0bPeZv3p1aRIDC7ZTo1VeiR4Hsq2ltx+3RoXBMectH6RF4LPoobHKtQA6gk0Z8RYgw3JLfvzw7doMVBwjDrnlQjEjRFHkDbo8tdUeCxcEDaEX3FRKEOlnen/K0FkbHm6m0ctfGXzFBOzjhx94M3deYjRFxx6JZzukRr7+2ZRZy7qaHwJ+5/aRT1QPvGkBdaTanMkdB24JFerF0rKiEMjrpypUR3eAcQUA5+XsCDBK5caJqJ5dTisq+ksKU+oaco6jNudCYlogKJt0qOzd3v3SQZQA0iUcDbkqyqDF8u8Q5937hRk2w/JbxOICfgNjHCVLyGpL24V8dRUnRT79Iuy17snNIqa8hE1JA9as4En3Dh63vFUtyh4B3lY26zzyCLO5jFtJuDQXBtGorrq+Q+v/Q/UiJPmvKmjXFpG0wuKryMcGwZEr2y3FT/L1O8foA84BTnUBwh6BgafbcUkxGMb099YkxNtLKpWxu3WeRaoDVl62lQbYIjaEyyaeR64yaHKKa8bmYGzdjoPgAoWblhCdHpsMSQOvNZR19737Gd6bZZ3/MvCf0Hjn9yjTlcGIyAEZLIltgKq12tMmie4yfoLaqq7CvoXvgqBcHnOAlVPwCKdOJW9Vdk+Lz5PnOLV+/wAhTY0+O26UDDCk9t+ksGsGwS2OXYT688XJ6FXwDZZDaRVHIuLiykEhIZLYPMK6Bu7SxkquJXrqBF0WuFlDDZ63GgS73u/YoBxGfpvrBQOnzdW3gxsg45g0HIiKCSGM8NoP1Q35IQL4iWP8IcDNGIcJxZOMgYSFEQ8LGp+mEAwsLb3yGZhZlSD9mG9WqNLftTmO+Ci6Q6BecwYASx2hbXeKgFUDXudKLOgSZI24zLBEJkD26dURWflZPryYPumBbCNQs8uW8E9UvaFHgGfZh/wMgb6rYaCj26vC5uqxbt1FVlIj9AfrP//7yWBw0xmMpgb4d8/fKih9hcPzLebWySx7bYhMFu2W+qZcaWPqj82tuucT76nIXA9zTCji0W/6z0ekbv0Vhzo/jBTFuD9f7I5D/+upzx6BE1KvyQE0erAqridBDbF5FK6XMwDjJ4obJFEoNu+2bZILwO0NtnF7XiJdQxrswcZpqDD5Ql1ZCAqPbVpl8q5/ElvSRSAUKroT9rqH6Hcae6f3FJ+yEqEfjT+2+ieuVfz//+Cg71tlsr9vOYxyFH6Hml8Wygp2ScvcUuCyUAnz90GisTuMeqcXcKb6jyQ/642l2Shek3LRvc6+LwYimQKD7rOBtnIyJyP1xMPXcad+a3POhPSVOZ/3TEJfbSLqM8v/5HIOjksQ6ZDrAtF65XHa56JI0wdowXBAsCIo8mshCHyCleIUUl7aDKN+DTnIvrUJL2P4J2IoWS+uOKm8FPAXY3T68eOS1Rr3ppzTv6rC2hI1P2loyj4GrV+FomTvRLkLVD4Vr9duJ3m/psl7qX8l+g3v3wdS2Uf60aOG+xbUTjUTjQ+K/+4up0ON/4Epygrq2AuJPRYLOzpJNOBAkLt1R8z8QEd0c72s1l3eGkFkOeXGrWCHo7XhRk1TilYK7ubKabX6wWaDDaA56qRmurpmOQj8Kr092YIQ0SJ8NqLeT6Yyebd76qXkp3/wj+ssuWDwpX1iwAyOQbDTRNlIVnuDxFt35bnd1thcXFLIpIBjYRfvwg//GoQFYmQvVjXcKJ9EQmIJq2hzmiJ32oR0BtEB/rHI+QftRvh+LX1jqeOXnnERfl2JIY8+VzkEe3aRZ3F8N19Dm8JuaFLiPUqL1u/5ECEbXw3lbH9q/QPUL5YGTaW2QoEmhzyanQOZk15BWYos6RJlrmdo/2wDB7vqaPRKRtfvGMgG1YK2tn5mPY6P0dip2vSKwFrOWYpRVLV49BJaqkdEfcD5mlP+1Ckp7WDm/mTp/pp+FQhYELqjNFblMbIGjTLM5/OHAFwJHi8KyBi/YVjEeg3XZzRV7EH7x65z/6OEkxszFN+NZcqh0+pseHpBsNgk3430C/hNHIjM9w4w6K3AXbWbLAirZV+7aLcCDyYL+JY2zOw3hqwC3gKPe86z8z6uMxzrC91gl5+PHVJy7sZWo1ijZPzKRhY1B4mCa44vCOw/QeamFW/MKfCM8y3FpieNsZ+EVSKMtPPuKsF/hpNR/c6FJCz0VLYb6jsLsgi25zEKUOwZB9llwHK8vs5RBWSGml8zki1Jezmp/5tUU78Nsd7lzZVxSH3+7wbAYeeH5hO9Yj1wY8tFAswl/WdsQrmXTYHms+ORFOlVoRHNqFKlLidD86MjZrdME9JFRM3E7SbHRuRfNlfBYANP7sIrSewByjXRCyocoHqISun1DsSwViO771fip93ZP7gednrC2gHb0/GnjzWbi0lElh+TYH+ChgDrefZuxqMRY6WxYdLSBDBPk1vQlTsgweegHwi8Tw/zxJlslH0e1uYlO8EdDsdBzWitnTfqvAhlNpuWUVISwykm7mqN73hU1cMB3KcVZ45ibshRsfdPptmHw2xtun0B57uJvHchLF16d5Blg3rOfn2f03mRUFWFnvjA5ZZh2JpPcvP8oX1Wj7G3TnNtVtJoi/ck3wAmnZD5AdeTuswG+4370UhQxg8z0KC2MXOC0oayroPoJFKjMVHj7sPPZgpLkEfalrg9BNIzvkQWlv2BwLkNBCnZ4LxQIiwFDfzaDddHvdVeqUaJcdORcKmCMpWg73UUQoooCko7BqZO9pscxDtGPcJCPMjPjPQFkWDvRG8ccmcsqIntqDhi0nfaptWVuZgHNJhCcACKECci0ssWWx4rhYZq+/+0EPVx8P9HVjWeE8pSbDCvWL/cNht8B1iZJ4hy0fX/UAwEwlWjQIvrVpUJmFvTTQRSe2H9p719Fh+8OQiJ+lB8lgCIZuuxW0AN+AEnPtAudaEtuMPTGUYGzhIQbxXVKhap+UCnmpCj9yWPODOUgRSkCfLvvDkRf+uBLresQ17bVyOh/xjQ9PLCjD2GZoJ8dxlhQgw2g6FE4v3vwVy/8i/xw4Fp5C4PQNmI5aHfHCTM3A/zbzR6qXCrBwbTLaIcUY7louaJckPIUmKlA7m4OzF58l9Az18Edv1PB205gE1vieQhE/m2OfLuFBleYsOejPsuzd6Vzqg5XoNgjM+mW/sO5LNGDE7SzA4WDwNzngzyRI4LSlf4g4jaXumAIbE7bh2hdjQuF/uaeARd8/R//f5d5bdWMBAlT2/svaQ4SAoEjm9vwtiYqyjBACAENBfBNHYDVud2aYpODt3ahldJ3zMnxO70Lfy1F4cem8SK1oVsEY5J4E/2N4kFEEM0UkTIlZnLNP2EPHESfpBzcWZfxdeXpZmX8jN/rM/IUSj/2EGNViBuKMQV+167YogBfykCCWsVsO7rTU9O2Cs7Q9iXEtTk/99Wnljhpr7xr2ywZF3o0VEcP88s4B6yUUcxsxaiNDOWWYtcfUBHiyUo4wEqQB3B6i1ooZXi4sgtWKZmBCjpc+a1ygpEiDOt9W3CQIEV9a9s+IhaFxSjHA+6/TsviXheQN2Fwi0ygWsevBIE7fnKLojSxAqSuNmti7WqAPvkzTtVH6nBYRimsFLK/gTHTmuymRfiPgm+FuobA+VnWAg8CXxMRo4z1CwqUtVb55RKN/DmqJnQq5/x5I9luhajGfNuK+yK//a7AXHSd3xjyfp4Bevpkb5T2hq1aqyZYYEv+6ahLinRCW4olnP75VoR5PL15dhCKkNtP5xCqA6aL7uRNmcAHVdHbcU8v911OMWJuBYG/ExRz2EFsQ7eRIZ6/DacFi4yESed5MQLd8M0kQstq7z8eXSoaRkYAV/dqZgA28vq2NeknLqAnEDoh3O8AeF742xa1EF6jIOF8iJgfkm5W8n+R4skIwMyohAmm8itfbOTVcJmhRlDaSPLEch+3Pbcqa6DqDYj1hzT+0dNRNjrJeB2FLOJW+iisfPBsDXU5vv4A8IoJShJ3AVipxVkTNX3sn9OaMC/eklQ63K0XnQjP5gd9UiM7/Q720DRrw7mkU09k4ciSXtqXOrsPZ6pKOph+dt7EYNdRKdctkQWTwhMIdpapALLqdUwW1Kn8yBOakKGk+y1E1/NVRNWHSmaG+BqP4tLS6ccD86UusQr0P1002KRZGdOHs9hlookAkznb/NvPR+9ukIOdUEh3+4JDoshULH8fsn+Q87J9WPN5thWP3cHEGG0MgRsE5pSlJR8jF0cZm21hrS+MeWPmcTgX5qBPA05d0FAl7LxEgycGJHx4SLVLRPK0zFdW8urQ2EcHNnZC2ZJoIMABViFXLL60OVRG89lw7mg4eB5/GoHMDhUY0Bjddpe8gwR/FE7nkKVN+zwi19yiPjc/ZYFo14qGnUQXWcwbmdiaqJOWLujNRHbS7OVLQ7eTWxy9e8wxd9xhNYSNLagbEZsXuaM0qKwe6Kw5Ag0plIjEKulNzdW9DhA9UMSs9B2VKQFMomMoPpbZYkFEugebXEfxxixaw24mvjypermhOjghWvLTwYqo0+wQZG8DPbk2vfdTdQ/44asVapHwsqIgeI5jaJ/KqThU9ntpdh8hXHEK/9Tsv+nbeMwR23rtvX4jKhcb/xsAvLpjEk8KcuNwvCfGTCn23r0rGTIxtZDhx2ZCW0BmYZ8FIQtkUgjXlX97vivPj4iMw0nG9feLPijENa0AZ+rVG9s5RYL8m/Ed8yyx1eq0gySBFxLfxo5YVIA2b/gU+E56Wkvma5JxJSd378il0PHvkoVfiogUz0oIc6S6vL86UYedMJGwIxqdmiWMl0+1zLIA/Hr2rvf8N0XXPqqqoEs7EdL4XYBBsqKeh92an+xyPPg3p6CBL6IZyfTXr/mxnfmcmKElLT+p5ThrYSvcFkOFL5PELsiItN+r3oACMUV7HCJ9BuweMbDoW0tWkzDrbuwf/kMJeByDHsrTSvrEDH5Sj33+w2Y2xcC9EeORDPwEAQejWKczYwxFnTPFDyrQVuiCpwITOdB1Ix/hiIo7RPuMNw3/Uy6Y+jxm9vWY4zq+zg2XSMlzBKi655UyM5LkAEFT055TivW2TmnZ1gKE2/KD/gHCjhClPvqR6RkmdxCd2Svz6psPfoKdTrlv48Qs+BUt2cv5ywXt3+v3xbZwrx6oS3NGDqysCEcHphY7LSf3YP/O66eWgFDPy2V955x6HdCHEjouSgyetZ42nYzO6atJ99Bc8TzshML8C4UKo5WEeSbr3Rh2N5aRgtB9YDAeuhnM8Q2OR69vcnuYjCxrzc4+Pnk4cvtrpNoPQTq8muFaXQvNzBk7iEfxLSxx2mKuGitEFtX++dtBVQeYAhv5CnNqncljadp0TfmORxxwZkptZQIvGwbL5p6NrYfDRsD0nZSf7SlVNIOjpc+wIEV4OIfIDY/3qOfEAipb9EiJwF3XIo9Aynj4QCGwntxLnyu88WJj2zYvtZSpGYDjJIjLPyWVDpm23UUqEw+YQvgw8UWpwOWc5Mma4W6VOoCjVrkyzY3UbUPTfWdjxA2n5FLrc27NcMm6ClHhoSTHPn+A6tqHwCOKxnEWjCyCdNCW5Nef523Z/1h7MiIXV6qARNQLZX/8njoBMZUyRKl5ql8RlfdpAxe1iEoasF3vvOkHISZwKwORQdT2KFGHfu9LhowXLy0RtINZD4PZCpZzmusgcj415Q9qf9po2eruKuwLxG6OCLOLG9vS8WqjKIxHuEc1/Racf9rbAgXe0VdOhacn1OsLZE8pHVVlaU+NXWWB3VoNELSpidEnA2gu63Q3kiWQGYwEYq1IKGY+AUW8iUdGaHFVFiyGBH9bVxuW/x6sXmHvb2L/u9JuiSvcrGKnrKuJ5CS6N+5n+EnWneUPEUUaklWkRAbZlz9fxSxVelcM809o8x65aNb46hFQRyV6UMb2DRMRv2oC4YV1i6TUJ8l0U0/Yvd0j63m8RGIpjx3I5od/T2TgZiLoXQXv4QnvOgG0hZv2SLWVKxDkOw8wxqZmgh4N7SNagET4+srwsmzuaD7o7ZUXcsF/6Xd2x07TmE1LxLVWxTd3nFPVYiBfNKrHbGbaEXsKa5m1OLSOlK81vBNJ84GRvlaOJxwqsaVF7sdHmfirmkX4Rd6iPe1lTO3VDQF3S0glf9y8FRq5JMCcRCpBkbqJmADY+zZhYgidEyQG/HXkoY1Clre0k367+FQd5cwD9BVgq8bh+gUzWt2foHn7Sk6NQ8YCj8uJTjNCNVABq4CC77/4z/Gk4HgrQKPRZjsgGNpFjrc8SL3sfuHQGjvnFhausXU/r9I4yQY27BrNAZfGvuHPuoATlW1uIhYw+qTWincnGq1eaXhs8KrJ9zzNMTHUmZY+E/aV1JNK4f1N+BSGmVOe4eNZbtWBW0XSgFec1Oj22tf1QS/x0zn+jYUJ03ZYwXEXe6f95RZwUXMwGMDfVKPnQ7Fm5rSGOiqiWij2oqCHLssH0s6fdPm0SqG5jnCZr5mhEDjD2UDF4wvjs3AMtmxjyECYIei3T7YCOVjq4qtexIZN4QyJjIocqOc6kB8rn0VCTMeYeg4aty8NdZzO5tisXhoq9dMa8MtJnUZIqsgaQawRiMaDTBRt90FAyTGdeStV4yBtogEjAuzlFyH0L2iSfJTQQWbn0XIpMl75/wjn6wdQvENjEjWlIIeu0shyr4aqy5YJAJJV9zx1EwMzOZvlRc4GXlb9uWxArtKMy1DJYQm4nMH3olkLNYZDfZHZPAVrvyg+gFzqxPmIB7SWOjKzKIPQWEku47ZhKUO8W2WGtgmYRWVE0f8d9AnfSKCpICOlGpjr6gOVof3BbOe9fAWLrj0w7JOZHMxkGYt8DdV3w6gdqu2v6/yaATAD+gbnJrXLoW3HQpZg8L1xyWTTTdSwAgeUsohol3GBwbpZgszkK343I+ks5aIUryu5Dwwmp+rUW7HtPjdaLsfCsQQCrGmR66nNNzHbvbqk8ZAOvLZ/VNhNcjOu978LWfy8tkUtsypGyPDbBBXx32GtKc1T6BS3mqAC9/iG9KrFcW2i3dqzhKHGGok+0/f6Z/8V4ctIUdK8SNUMSpkv/96yypFFqxSkjvcntqxC4zgkH8jH59ufuGFwPrYTLXRMRu/LVf4J2XX59XPe9T4uuKukdg2mopZlC7SMulmSjEJqyqORCFjl60ae4ge0S9qX8083+OeVPlqKSxHmqGcWZO7TjEiHYZeLcaHKzgynwOvjv7LqaFhMVN7196nsGjnxcNFBs4dYwvAx202fLf9192DDSbdXHGjH7fRy7JzJeTXoFG5gJThHFN4p2zMzPu2LE4kEeGqCegf6vTndTjZABdA5u+sexemLnAZy+n74EdQ2jrlzaQhnC//L/mwp+KdzO8KyYJ3Bxb0q8GyTmcwH8zoIm3Qs4M8r5D2N7h3HkfIUqY/DRidfapGoEMPpaA+f5QtzJxwcMfsxHTd6f9zfJsjqnAIRhu7cchuteHRfYM2mIsMEDlZogOTVt0RxlEelJPzgLIif6fWhxaTyQlJTcbyUV8GsrObjXcRiUkf02+N/z0cYkcCIAEIIHenD2BN8RhtM+M8fEewMww/KxPtIcce33v7WctP+hSeHM1gBwW9O5TUed/CFBaqNsgyL0CHkTqWppVbxKO6/6yhgpcGjhqvYWalqY2Oquz/3SsD6rvyn3D/IFIEVXa09o7BMqci0KGJNMUKxNMFZ7sbPDJhynPf7gUTIqEONc4xGvMg1F818R6x15Q8guAoNusgRgVKxejBZrk93zedo6Kv0ZfZU7d7EodsOLUAx8xGwUcsrVNz12MjNDtZtMZFrwH643NmkW/3PGcs+cdF63b60qPPHQ8hmdNhQn6yw5Bf+3pqQaQONZmdxhHRy8UN6Na2VmpfSjw7V9vXkLQTLTY3/TgbnpPuXLIgKVV8v8hSPbu05F2IMLCdnvM0oZhq1luZoTq+k/BsM49WyGo+Ofe6tUBvWnTxV456PBgCN5hKA9VrG4VbPPre636QRUBgwKxdJeJNVKg2i2iT9DCTfuJF0BCr6cQOPvA+ZE1rhPhnzs2LqVI203UHkMzYGRmrLBEtAkWwj5S6g0c6RNtR41vABPTAsgB1PTGXSL+daeaq8mKa+m4E20clBoDSqCXIWtsMgEjA9WMl3BBZ3nj6qGXaob6n0uQCdLJYJ9sbKpIcu9l1b2JOwk0/SxpRf603s7LPvRXmNtUYJD6qvIY5oFTHlHhlidHNDe/fsw+zqQnnhA/1/xOEU7aREnP/tR82+9tcyTnixn3DsQg7g/BBa99rqsL29+jZaw6wsgO/TfXqm3zEjdlKBs5K4/5aXXOa4dycLORNsD/XIm1E9P+ik3b38qXHZ4CZ1qopTpv3as3gVMF2OvXH2TnxTah0n59qje/X0rMMqanI9KztqN+bOtEAdvFB9xfGccnnOg8DXb5OkM4ePG+fkRVZj1IZYBurjyuS++DCBIGNv4VVBZ3DaGhEqCQ05mzjRZ0mMq1T37DCmHGHwVei1GTtw39uh5ATTYed7Awguyxz3QfqDByswiyytxk3ItellaqNdzqIjzWJz6Q3EjKAAvHEZ1YulkKt2iGMJdFrXzv+pGROM2bjgI4ezFi9ADE67BK384zcGDHV1h8e27g6LBZFjt0pYgNDWjcHiGxLHiTrCdh9hQquEtHLxVmOgRpU509BkfUbDWR1ak/XMhDSZeBeW6HTyN0CKHEI0d8ky1+NQJnxQwxH57DVFfZjaWlJDDz5KJ9iXJKRzZ4rpgfVnox2vcrqzf6wHuXRjbm1BmkYxUR5d5nNN1N0X0W10fbxNOnSHxiPEnAleJcFgFkFRTSDTfouDOBxL5yvAOmJ6KxPzLg8FPPGh1jxGstdumDUkfpTN/Jhv2lge3sqCWIkYVBw1bA0K3Ef944dtMahEoLNqDWxFN/htYLb1LSRnCgW4o0Rc1MCLmN4/MaMSBrmPnKyaqka/1EEBcTUNQZZt+4/aLY9Ws83MjQrU2WxXcMdlFlSUs6qo/be3G7d5a+EQwdiFmTDlERcJVTgfXXppuKOPJN+DcAYtCbHQseYBP7SVRy4Z3lE5WDJn0Tqwq13YMhOj34rHiaRDX7L+iMpFh1gRYww42iObd0Hpbpye7dn7oA4qLGC2v8MxPiQ/QleOTnqFaONK9AMW5Ocrk+reXbnF1l+8dWaKWLaVz1J143Atpm3a2866g19Hc5DSmQdxCY00NJnWma/u/MbM/npD0Kt8Pp/yR28W+AgxWFDlyYAQ60vxAjARC7kfA3Q4Hu6QrZM+5MagdYmw0UhLf4I08qQvZkj1p4bDCquUSISUFYLhxdUOafWYaKQ3kK8pQF1ZliXRniaKiKCuOs/CMN7amu1h4GmFB8g3bgO3Eidxm1K/4RdMVvvjigsftC14cP8xkMhR+1JV5AizwMnjI7ajUyb59w+Pr5VPofVxhy4QVrR47ycmBg8FktpSQlYxbRLVhclS+466EGlhJql3W+1TW6f72VViFf6xqpXhdZCh+qQvPHqEZ2YsSEVHS/iG1sU6vBGohnujJ7im9orn7m3LzsFeMqh/aUdiTDftvdVB9HOCQ9AAVj1mVZ5T+V3BLYYBQGlUilOHJRE+cxtBeaihXViWxXDfrdoDcjFayFoFBcgihn0ZNC81iNjgacHAcFOtyU1XBvCasr/telKVuqQq+16VWVCD5Tz3dhaW0prbaFimFGJ2rwP6b67zsEK8vW3YMDJBoUuDaeCUs/HNNZ8cuL0tKQKwr18o1JT7/4/+Ri+Z7DuHzSm+gL/KTy34oLf7Rkl2LCdDNULOlNV6jB9HCUX1GYO69rP1TSmIo/xMq15U9FIyfBIfO83GtizdUtZO93qh3KBzdZwDkUH4YjCpGcORWD2Uxxe7AzXNHpA9dWdX7tNCQcpNfTLSqSJiKXbJmwVd08BWzRE5pzlJHHXu9IM1Z/CdUGozw4KKBTlW4A7bF64pcFY7KRCCCUqQb6HxeddKskAFbLFq63a84+7lSkL8xnl6+Adw1Qg/xyW4qYxsiw15tDwvnJKusjWDwtaLdjTGk3Mx3euUHLNf99QJ2wUlVhUgociKhw9+2pIMrUvi5zlCDc0bosDbw1C7TrC7zU2K+lf5bi+gJTdhLeBtBLRQ805q4LbLCI1G3rV766WGeA6mldiOD6VAYC8Zddu+pF6nz9KDlvxq2sNSafXukIcUkB4AL2PllTaMW8nqMhvrBUN0VvohCKsh0vmgQYDmvsNyKbe//NcZQliZjSRhQhj947vU2tz+EKqwplCNhbJZXOEmXRp1ngbdwhS42sVtcLoNEwmnTBGKpKYgiy0Nix2kihCdS978eLO8Bzx9ad8aXH0dSiEzx/WKgJNm9gnIWJUsPl0PloBM51ZdaSMssGy2m2JWD7+XOOCAefRJ7kmCWX5sHuRb56gxQEqByPC4oFMN7DQAk32u1Sf5mzd9H0ytfXAbWswuAgCLdeY6HAK5z6denvg7n1BG19F+K1I2SDsrQ60yDvKJwVFDNRsutD9M1uZ3KKbkfb614F1/ietK+3o8nyaCesYnThLhR2DOgH5iNYHTAzUelcgJu8y8LgU/BA6eFWR882pdjINBe9vBk3kUc3fT1z4UknrZcqu+IPLLF+SIGT+kCWNtXjbn5ksnIT55X5No58XtVFltYZms2JpvWt86dXGEDzEMOdGk80+NIFC3xsTQlTllmA/lQ+Fe3XApw4zqd3zSroZe3cj7RBcouAUoDSfl5lpidnOqw0Wnp42QYfUG5GwaKLs+easCOeiLY0xZs1/Ocg2wouL6cjOIX3jsFcMZ2Z1DpEqBCelbxSecCjfE1NvLIiTrMZsfgV28ZUflPyS4ZZFquxsi941ZJaMbCS6eOjxJtSB4Y8o5GMyQFKose0jv/QxiF4LuAqSbO2+6fEKUDZXboNQW6jVdVycM8cB8/04wgBma1AoyyX/nkFtQQiTqGU3oIsX9gSnIhWh/2qK+SWxy2821dvxH+Ye/FfocGO2XFX6XlHbBtbD1gp3Y3p02m4eUtwS7NJD9o5Y++vomSC+Jz9czTvHdR7vY0pB6HgvFZ7Z52a6i/kvZ3kUCf5XfOJ0VeTjv4p43SxSaioprhaBn2DWdDKT+ANjwrlTlhOVhT0I3cJBl6bFGgy7SYQZL849SpJ7g6oxNNhMFmcNKvypZLOCC1KpPIxvPAs6kK4wNCPq9vz/Aanj5bgHcC38n+q/JjPEak+Firbb5r4aj7NgQhnW4ltEgDDm0/YuWvb2BEnb8/6NvYQxGBG4entptY+0rjn/E2KXQLSWW3XAD8UGePs4KuY/HR9Htw+/X5Blqz56Oche+UXxYHT3ifd11YEqGmQCRp8s8XtrOKY0CPTI+wnrmyno1Nzz56oe4K4uxJpuABYcQp8CSa1HJ87x4KEOuoGlT88KZpmG33pBEUPMvF72aIJuiwgkKpxGqcD8kxHmSlIzap0M2vyhTaGnMbEwGl9F9SQaggKAQAL5Ynb6D3Ko/NngbtwIPQpBXgvYYE4EIKc6CA0bsq05bXJ6HMDMKH776UQDexKYV7q3mmLsXlspt+6+4/nbtxKZPh+CK7WPnDrp4/rZSV2qGQD2bfLSkZqcaFkf7uNUsC9KdMzZAnyog2KMfGnHpucQDCJoonKbku02wSPekUIERkeecxDtxAI8rv/PxdU8FAXc6udLUn93uL2ksWeeWmRAOyUmXgfnBpbNrVgx/4GtwDM3+JWLCTI7+YzJV0tBTSGRKex6z5XeqZ/qWsV1rmpoBH3oideoVqecBwAwR9NoINlkZx7RoOj4GIBnAOp55UUluwm32XzA7ln87lg4EV3GD54frLJomyvcavMi0b+pEERllqwbR/2O6azcWNdoGm1v2x22Z/XrDl3aMraS/poApXKqEUK07TqL6MSd47VUAwDJiLkV2dcNAaBkThi8bt4uZHgFeiElApP1JQq+4HoLHwTC3GSd899GA1RylQbvBQkes4R43bVOTHUl0UNs+mrhTz7tRZn2OoKcUeqjfhFOE7Q3OkuOFq8RLGwn0uLWnnHBRrE4ZbFFz/HBjt1WcBH55RAA7wN+aWA+dfkgjzDJbK0N6CtYF6JPwk617u8JR6kMa+d4Wo7fKhezU2lmY2mAGjRHNtjJd4jlO5qBcp4loF/9WwWQJ66TdqnovgVfQrf694K1KgFrGApD9mY1FdGvs67xd4fO6AdGN1e0mGfmBVHUJm6lvQeLxAuJGpgiyh0pLiV7YeUUtL7fcTrnOo6rJBlxwWLGVTkKsm6oGe8KvN2zFUugGXT0uHYhCOese0a4CPgUVICv1vgDAmByrkJqfpCiWqxGaqb+fYdWcbiBAFbH6aSIKUVyplTYPQLt6oZyBMN3OXHnlkyj+uMof6J703CRNWdUdgMx7nq5v+C6XywaIWLsTmC05Z9+Stht4gmP1CSUBiXCSAfVZl5HcM/amW1IWRljPNP4zq+LMeYiW3G1LzqyEgXvTPdJpLywrYeJYihDvOJTLYfcjBRkubktZbch8SjX0gCj/ewSimYBzg6YU58elsv5oNkdhHtUKbm3Lb49kSJ9iuDVo/W2a1FCOjcO2xuLmHL1EwbPSUqiD5obnGXyCBVJB2gEhuND9naAH5125XnOVa4/dXjnwkJxFWCLZOoM0G27PghFiPuPnDkVGVNUAQQMYMmpdJFUq0HF4xJbaEJ+Dv10ox2HALtKFEmzv+KcIqHuMWXPMc3hJtQGjd4Y2LIKt3N9jQX0YO69unzVaDSJL6oX4/U61mhM2C90iXbUeHdEyKsxp/TzHIhl+fJL/sARMvECuYnfTwmcehn6fil/ISJhpZvgHXPc6h39z3Fs6kDR6t6IIqj3DspXTXNHf0yC1AICAN8gGyv3YpYiXXRIT6EOy+0/tupNSIQhcBYzIIS5PtPZ6THnOycIf6cbrVGQI0o5/7LgL2ClpSpzIOqhlXOel3j/gVuko0tPYZCNQlw/iQwTrI4T3SHxybVh4pA55gn1lMXEav/aS3XrUA7Wfunl0H1AkxNr5Z/sfnMMXdtvf48NVFpWwv7o0zLfYjXCpOIQb3EZcpu2nnZUWFXg4Wex/PyXfn9QDnKwkzJRNDL7W+UlCWawUT5i2KAsHkuwKpDEqVT8EadaRuKfOn541luFjox2HqhI9y5OwtZReJE2OVzl7yaSLtBvG7vDWF9Fptf8DdBfq55+Hes38p9l/wBYtONayPauYSHqQ91FlVVVEi3ELc/sbEVy6w5TTHeZAt3nfJ3sv25JqOyf46hg0IzqougKG6OZ7XZOBF9M3fnBjb+tN81WdLKdq6fdITvNCrSXdFLn9Q668jActKPNzLeFneWvlMP/KvYntQzDecAaOG1Ru+EK2dLxh61ViUG9VY0dYtm4GiuAM0C/JUoUz7raG4Y+nuoKQ6PyUtCF+WvrJgsosr42X2B92cFkMLKEGqZLk9hejVgQQjW0NVFsrsahBmKRvyFYShYVAoUfsdKO0bXcQGB+PnRi3DCDsVKCATw5AUyCa43g6kz7I3eOpz4e3npVq4VCekyEsuotyuxLVRIzagGZt4JOPm6JXtA7OORs5YSuzDltjkyWaYkjU6Jnmm0eYaMixmTrrqTmTsmhQsoISETbny267bdusfMiRBigAq0TcCETUbAvghHtcLlI99x1e2mzt5rMPB316fxHdYoc2AbPqx6QVbWq1OOf64nZkMxpE1jFkfUy7E5EaIup0uz8oz1Xx6JTsiXpdC6JYWBAvDJPIviBMiXig3gGyGYR/wEutESSdTVN6nONekA5hIri0noZb5CP+ZgecJcGWQO+Ct839n0EoP5YiFS6KZUtbPQwfcbF9J8YUr3jglWI5BQN+la8zx7DibNeuN5Iid1cPRPo2RLKv+475suU3tYJuJ0vMgF/6SSEMX1FDbMYP0p/OyRHn6ODSSe35lBMzWVL3JDDeke9L4otr9X/MUo1U12kCX+bcLh53dWEsXZlu4punBBY0O0mb2ZOV2kr5SMttHOFZvAn3bncbTjnZZNJLET9EMpdAtmuTIG2edx2Bn/rsh+glN27zetfV8FX013/enaZoOVT5AJbcCQ1nTSqK/RXukit5NP2kojshNX93Z0nZJ2eSqIK5D+XO+TF/Z7cv5twKHpfqY3yDUjwZez47FWEbr3kakDy9uPYS+TqD3/HWAzOVcB8TKBn+q77Kv8F2OQRhseZzDQzqLs+C65YwRTU0OJ4Fpqm/vSudRToXnXmJkGDPA0pWi+B3Mgd96kQHoME9412lC3l/cr/qajm/TxgaBbsDK/O70f2sjdKyZOqXlngO+SyOMvarOrKSPLmeWNoqtmICovUUQcInUIBenXzSu4XwWET3WJljvjsuXnEFvYAiD6VUvii/wQVwntrLtm2wMjEuANPaRvxZGdS/bbrRGJhpnEbAsFvkhweymLWjbTr1En8poWfe8xr+/Fm2ct4QsdTaenZNhiSVCJ7SOIRfaoZdOREeaaB+LPlCWBbdbcSv/Uv5LIjz+XvogfV2+P7/XC5q3rjsfnLvkr8d6ySBrHvY/g0u/TW5JBscRPlPsJKOW/Cec4TTSKrW6rsyU2ZoNV1iIqGx+cT7wywqY1GzEyhttTWTk1fFjBu7t0AZaP5uQCiL0ZJR6dRLoO3KjfUCgTtUs5X2O+NIYOnVAvCItAPFbylsMniRH2c6Esods5kcGlrr2XNiXr9kzMSJDpXugHjkpagXheJ/2gA5ttKlYrf/M0eroVaBEUYETP6DckucdlT9bn/XiK8CNAPcxlKXAQKrVflWDlQ2dLQBXJqjwaT9KOLX4REFYzq3J1lWbAfh0kOdHUzEoYxaaDvJ/pcKrpnZjMJ1K1z8089q7B3A1QeaftUn4Zje9zQpxAYp8UNDOb0LRiamBvhVoEHeW3W34pRxxAQ1lVOFYUegCtw2J8tGiAZHiuwFfpT64Y26u6Xm3wAtHVVRmMqRmsUKbqUBlefP/xmyB3yF2Zd5Z8SZCxNrC/3V9NJjaQoZIajpvwFRP7zCtd7AzYu78BlKj2CfrAztd+FZuUwtZ8IiZQJI1c8iYjkb9lXjXuW156K+ryGgbXKwq/t/Labxe8hulssdwv7ZZgOY3oQb+8RgrBvePahKiq0ReJ9Lufg7cto11yDhQ23C5z3WgwZYTtmXt8NIOSa2NPja1Qn4lhIZHtZcCbak4cL/dk0uXhJ6iMStnZMh/lkeFXRSQRFEXJ939mDnSWFbatqsa2k+iGyUxr/2P2Jp7dzkhWHBQgaXGkG7awCMOyWvOsjsr1R8VysxU+DFNxwkEifcxAcCdVYsmnCZBpKfMNHz8TLWGX4Rd2VwjiZ8e21tYt0f/DGnQgoR6BehczMff25TgeMifVLmo/USgwhNdYWnsnk4YnAbV4C/YRcPBqf336a+4LQIUphyVL0OfrBh/IkXM8P1iB9nUH21iO0jhauXlY3xKau2/6mJgYYgJKzpNOAbTIXUd0+q/rm9AdbNnL4MEk4460e/gFUGImUVzrJ81hVEsvzDng0ufc1T8hl6ZxELQoi/0yQoKwC0dD0B0mohWYf05svcS6Zm40ZB3r829evS//ke1fMMhMxd993212rgoo8WOWBQgAqSetZXrwoxVR2d6imHXleLaY+heyG/2NP3BHLIzM3u8DhN6GssJWm43OlgKjemA4r0lHdfVZnZaLJghxzNb3udOJF+IArCxI+agX7UOs5D4/72GDXOx7R858DWm9p2h2vKG1UYtZucS3y75mBWuiXGyKqcNCr2Oo8IB6OrcTlcHJenXgujzhLsxwtL0laI4qD7180XG3px945gqOcR/505awD66sE3fYsbqJP1LOaidutjj/kT/TDKqCDMM6GsChfA+dLbnApxPDDKohYkuH4a/W5TPY5QiDaPMZ0MeoQfbG9n+R/qTL1IpEtekRZ52b0AozkqZOZy5InaICIEX70100RfIhwI8sBfgShcuOVaNSEYKJC3es/DOzPb8wNNA8Spi8Rg86LlDhCXJQ433f+JZmjTxDA6vu9w5lmRPoWao8riM19Qis8IaaDaQzWakifHACIrL5DGRsu6mFL8km4N+UTxWEPih2X0IeCjBjd/jGcUqf/vmollTBITaAIuvegfPwzPDD7kiJpqyxGKdTeKk7bNJUMW26ktzsacmW66juLWSfj1FZGMnWAxeoDIyr20MEfS7SOZChPQT7in+Sh2Ik/6ldNKM6ggWFsyQut23yfZrFLwW1RZZfu4TFOvgC+OENZ754O0W7FqGeDXP2ZVqACtP0/ff+/+wAPj0woJj/IW/b+CcE4htYWazxqspV9+RuisivII+zh7/bDzwUnLccW34e+95KSCh5kl4Auc5p+wfq2W0bJdIeLytPtStUfUoA3nSMCreMc1mgQ2yF8lQK11ekHKURYs7XAq1RvIH92r1isT3Udw6FnPujxdt/96mtP89Mht4p1VAx2J3WfqaK1OKLqLYrJBH0BkQ0HKtJqJ+qI5W/94bP2vKDEuQhwArHjSJ2HJLJKl31YMmudxm+OeZBiIgktouSz6/niSF8gUgSdsfdOOdO3kd480bKTmcMC2J/rYTye4Ft5xxM59Ocx79KmZ4O2ppImh04/8FO8RhVumcq4qNMbJ/jLwNhZdZr08RBAi4awrYwrJKsUpsbxS7T8Am/ZbblQhVen7kYgIIZbK5k/ZAADfxWygtq87ftMnTRfAYSAIOskQgjL7c2z3fI4b4QBLb0uT9Bn8unzcSnKuGZEbwE8SMOsIGtoGMduIV5qJfFprZ+Q0HcpCYG+z3S58c9KqIUnGyHjhKAv7IGA/R7Zut5/x2hYE7Ydg6esKHA3wAwVZo6rVuhQHfgIf4eOVGF7OogMR8vrpfhbrxg/0qUeWRa3Wp3HBNACAc0QrP4Gsgon1QvNjzp8NLXYCYKQ7MIgMGm+DSpK98V86O5GHz+HegFb8HCgx+EEz7Amtyhf6tU0vHzcDh5iUz1w6EteMuH9vIKPni4i0p4fQ7QPWfgAVlUUpXl75Mj8c+ChkWwYJt2YMxbjqqvmIvDpWXrNvC7Kil5KGOH/ROLxe2b2eoqBKATzsdI3G4zk0cPP/wyJxoCMN8YexBna/0f390orEc/jBI7Sna7acponl1z7InsHLM62cLN9OJJD/99KepKgZWWzXSAvkmwGTRvg3bcusExv5fTzH6AZWG8ULX+IPHoghgi9qUm0IZm8raiqW5mmHsu59NxMvJbhxnL5k7QBN9xxscKJ4gdqjLzPSzf1/vWCsqx7TOQekYGPMXexO9cWgN/jTkj++RpC2/pjzONy389zoKR69/uyzI1BX8ewGlBzWLxJ6HMtsRHptKLIEyNDj3GuxAtio3NNa9O1sc+/2+hxpB5ooROS0gpVCzMx/mQcjgKskn7XFyrePTK/fmSLUL32yOASyHJd9bbSwHw/qv30DKdLsY93IIevW8PNkuVUgGFrRKpaJ5wJwIF7sbHztHEvk8f1YdEdmXhPX0U/BnvsC4SskewxDDLuCqKc8t35xVQQVPIE65ko25JF88QBw+RzFfL7OmsOySZeCiwolrlq2KS0fFXfiF8Vo/EBsTHJwxVTUxfAJJ+xIuhVQeCsD5oeGHUfWl2aAQsNNG/J/7YI9ymeMb8ZWstK1ckOAnbAzd1SHlMXIhJm/PuKQFPkoOY3tlnbqQxMq0XUotPFgA5MY2HeWFOSZBwxjD/FAl+p3Q44Baaoyv3af+Q7beBBI/XsjtUVQ0ReV+jS9Yi9v0CXAV4xl9AMBpkDnXPveSlgdPV/rZ2E/FYtXNB1yiRMFcSpMaavuaCQ9lxGd7tHW7qDXNRXAslOOXSBuGXQU0cRBstFrgEwR8FuqqQAk5uMDgADru3+dduTqr5yfyhy/3i1kanZJXxMXkZ1hNYdq/c/KUS0O+mDcx3RnDK2mIfHTXs+3cpC4jGDkOhmqMvxX4Jwmy7UmLGW2CE1WHCQNVxq0IvGMcKzHd4g/N16w4tF2IRuHYY0EMW/EW3BVomAeK2yqqHpqvfuZfgli8HFRJYmA0rqc8rt8TLChMRb/ifPyrtvkhaLYCs6BEE73CTdPUGD10f7oZHmd5q+2HdbE5AyXssO3zN7OIbZaDcr39YN4dh/ZEEPohbhROgSLfa0hA1dlxNv7pwy5SITfz6d/3qO5mNuFQpopDJFK399cFVRhoHzp/yDAtOnqQtLaNLrPM66jgj7CYJLrsgqU7MwivpKgPd1DNbZo+RHMl8rBmLN/kGJvryOxCr6Kcp7SPbQ2gaB4JLdbOjSVaVeB6/aJm9ntEgNaGowt2TmolRxALdrWLZszJDGMl0fz4rECboz38TzKj38KYiem/7U0uiof5lFZl2Yf5faS0D/Gm30KpC7gjabp1BLw1y89oYpQG1jWF1Q1UnJ7FNuzEJ8eTjeTw2EGYt8r2cC2Wpr+Et8cGWT49tt6qqvvJnfHZAbSpT0DtrTO9lASTs1yaBtNoy/rGWHmzlRk13Hwxr1lTm2ZXUahV8Gj7hUt2h9/8f7qbGn9spCrFYc8jLlvEeqKqwHjbTgVRRrUGmAVQWUSKnYYY28zHrW03MHT+73DnmHNOOv2QRiGOZmZg6csEIYWRTOzHOtYEo5Se0CYxLV1ZG+TQSsmXelO3nrrHgeGI/76q0nJfuD2UYrj8dkMOLfBuQvgLAUoPiFZSh0FdN55Ak7W4v569+3IVQnt+kAdGqgRt5Jt8zuIuwIzCigjp7rulWUus3hOjTcdBgylv711K8EvoRAoFIbh/YxqSDYoXvGxti34u2iOWyCaxpIw4aiob+alnYv9CncmtW541J29Alo4PNIW8fA6+GETm0T//X5cbV58Ss081YwEHGFQGojGGHhUwUN4SukYOxBXtwRbWIYdGBx8zk/XU2Xk4Z6imZ5lDMlEbYMvC1uDl0fBvoDDhYWrqOUW+GidGa0YEgNPIhdVEQVn6tpfsknYiF4HWeUCDvsvc2Uk3Ae5lo69uhwKMrtOBglzmvyrdFDlOw+qTd99KyISlt8+RqByEXqfh+g4u5sFCXGNjszZPGg6NKoTwkhqls7OBZlZ4lwMgDzeAHnV3YjQctdij+F5Kzh8HDrYO7Jiko/0voUIcmpgVt/AAIBMG5j0Oy8eiWIhhDwM3sYetFB1twFwXjr8njrcfQ/3XJb7EqIzicg3fYwOT59U3OGAgjtnYN3K/zR9j1xBlDLmkhOrz4NjOuMhVug/9j8jFf54vWihGTMMAxtzKjPL4Vk8N6oh4myXFJIePhnAYd4HBNz6J2jvlFUc9CwiHfyXH8bD3/Y2lGkHuYdIGGJttgUbcgkwDj7OiBPT+elbhS02xeX89yznxfqQbR2EY0gr5nfn9I+nrCkbI1CbOYS/UmQAn4bTxrdNBL+H4HPw/FjrfTa0TIogAP0MWncjFOfAcBlNQwqzZGQAUNaVf4TpDJS7/srgbKZnV5iZBU7PI6KjxaxkcPO3CL7SZGNeCzE2xNQiIIXkqBkIjfCuOkAYhhOORGDBNQrkBGeM2Vri2HC82OFr29qsyKBCH/8FJE70ajj0NKnUh2vt0EQkYLh13su24A61WA2binoMj3P/7MY2OJO4q0viLhGF7guiFCpfncPWiwS3FNcAOVy6YPy+x1Aih9d6B6GTQSyj3UMokXOhR68/NutHFOpfPy9Pi53a8ALhnmvb4aghKCD7giUwuB7/TyoUoM8V5iuILHO8sKOFzzK0sy0uykFrD2XLJJo64wM2oohn+qoZ0/vpP/TYtVmG5uSTBIEFeufe4R8kl+HyL9uom0bO39n6VbY9C0NCJRM9fZne9TT1yveF+0qz33aq86q1yOq8VV3OfkWkOwqowqt3tK3WNiyAFoqZE59EHkZ8N2vrcJ35UDpwKFYzJtkLFTWxZ1epG7Q5sATvhBNMaVZF7WPm3oHOZB2WZAiruHwSJ4yoyCF+bpED6HiNoJNz95HMWbDKqGBErrXgBbYKt+5w3nAhufNttqQtD0SeX9Ir5el5nO3tG8Vv4hC5vqIxecxXfJMC1tTwmKEyAMQHriAxtPp9fvY8KOrsOvR0GSUqTtaYssDqO4OmtncVrldsOL7FLlLTvuLrzATBizeLxeHDpLFBEme5n07yEaAhTDw3YO+6QVDkJCUizNT/JGGlQ4YmQlXWujTRPVQOS07D7NHrWGw1SVraD5eKeflS5X64yu6U2pY/KKPBdX9ZFIkOJNr92Mr3yJNZSx9PLwGTq5+7APDU2o4b6MAjqJ/kpgCFP4Fvr7ZryQ+8nVL1ciONbydEP0rG1ku6nSHfMlHtDc2btx6HLZb8l8tQ4zsugTA5q5nstYub9hCe+t2yxmirybthO421XrBHZV3MNiNYSRw28yrylrGkwBK+JzZQRbAhMKgZGjKWBpejw3ORutMpogyRPgaxnQ2gsoGCVzVZGiWb2Kge0swVVvIXV6e4rpJCQuTOyQq9G1LqW3RrpFJBmM/gGszDMBGzHZAsWS4BejmKZVHLCJ9OK7OPRmwYEnwt8vOY7zPENDJ9ZGJyL60S3c1DiPLSQ0e38KrfsLEmMfYo2wsIZSa9dPQjtQITKWcvMNdOOBa6zBnfJGbjAph27BWfCAmEAxENyxT9rTOHVJB1c9zvqU4gEhjJYF/BKbY/7A7q3unZ9O/x58VTZ+UfuXumnKT3LzS2NKoGvd9bxmsCszxTsQTqHJ+FQwIMNJBEBJXw/sx9HKc6r7gryQ9NKHUGXaYoN/73qSOrSuF8fCFiM05ctp/GoDcuNtZzYag39p56gricrACvjeUYlSL7k0pzxVdoRntgPiHkpswZCGJ0B2RBA7b2sk3CLZbDc60tQvyMQOC8kx1RtwuwYYTVl6PyZfvruUsRJR+fjz2ARPYS28ta2u8YksX/UnOiB04ey3hfYqWZo59i9OZa+ELijAsjFuQmwUYCrg0VupzTpRiezgCRK3UTVJnOSKwYieefHf7EKv3fWJ0dpUuMmlU4Tu7RYPRpU5GkWIDZQTg7NVWIJEivYN0UAXPGeTeBGyCrSLU5gjDjOlfzsFimiAWuj+OJx9dqDZ6DIOFg+0+X24VufUAeV+sgfSpPkBGdSttkQ2hCAE5YLTZpH6hZ97hlIpaPpEXCLs8wI5Ujsngtitf9WYvjeuXiUZoh/u3bFQJB6YRbuHgth3+Zr3HTK56mJeWpblZFZ8jqU+zqDVXJaCpRLWTPdIjjq6Yf5BoRfaj2EWfKOAkaMtQT3Yvujn1a755LWoMGmTHAIXmpVpAI28tpyFu7yfYF0/j65DWb2haDGdFQKp5xwIObj+n9XyUSlf5/AwLF9bHDOJvESzXCLBloIChoQUx6tavCsYVDOdr/CWEEY7dSzvpy7vGL9CO1fshzzzhBnzlf+9knX0bJghYzG6hziwh6xOwJGjYs0v5fn2DG1mdc3fZjTRipd5vGN6aSSAUoNBCCuMlN10XmzfgrQpAqF0BJd+6/Xhawo3YBymOnq6M7sWjZlCYmQIz/2/4APNVJzYaNsRfJlelK796SM5U2SMKrZ22qSbOW9Kz70DeT/60qJ+wzOLWxowHY6eb5leH825qeZd1SsHoPw+h7eSzeyd5QiivUgrRHo4GzKZA/odUH0wpi/yYLPX5Er30H2xnMG17OGbB07SDtcHMMvE12ygDJbbLdQdlUCoI5U2fQdTAgckfk7gEXDBykfcae+nDz4kKWIedrRMx3NedrKKrQgWBbkyxMfypfojvNFexwoyS5LTtc8MFuY1FR7gQ5Fgvb266nPfSBvdCRITc+j4HFA08CsGwUUMZrufN4wDaxoJTICx99zjYCg29sUXWGxpRqkYAdpH3WVMSVMIE6pPvMDKfFx219ZG8RUqdLfEDIK7Ybg/B2UfvNDepIxFH3H+/wE2wvjO1I9D1cTnbS1h0OWyVlj8P7goZGM4nk+s8D847sSXhEmeD8q9Lk4shm0/8JaBrlQAKA8iRG1eQdZn9I7IbNrRde9sV+bDXh7UtJWUkhe6tHcXsSibpwaZF+/pznYHf1o3qTvJS00LQs8FRpTfU4rzez3tEDf6w5s9JOkOrz+/SmJ8LisjCxp96mbQO5Oof1WoLepoquhcfXCRqzkGRZAOwP22ZiGjq3mVkChIdTbiNce1lPAMjhLzt1srEMsBgN/tQkV3A1OSw4tRBgJw/RWBI5hpYNtu2KbsHIAM/OjpwO/seBc6Zz5ssERy+hP0OLZbDZw5PV0u3zra4boVpQAQ8VPhGVhcFvQIe7kLyQ9KANVEzTrnOIPKGTbXauIUJa8eP7JxY1G3ZQtHRseUwcjoQsBCBdSMztXPxRyZoyLKpBGH7Qzuqo5CL8kKj5J2Y0G6wvgeknJP5CrtF9/hkOhUdLH9h59uD92eMwC7+2epOIoD5oXU2RTO2uaylyn0oJb/PXI8HFQFdSnxc0EjUggqUCKGPpuxIkLMPS5sWqsoGHRLQAGLPBjMVzwx0BUVolh56eZaCmDA+3dZHlj/Nm7SS8x9bg7CeM6HNtydEY5y6nIwtGMFAplvSA9GcMqlMiFVxC2Swls7O55YwRfptduV2XqgIJ5evoye74xh+0YI/OWcEEWLA46JyC2LpyNjJIlrZRk3vjlV32wAIZcCNjgMDl73MbSsIA6yiM1KJG04GT7DqC0kZt0FdThobqYQUhWRKbAFzsG3Vd5jbLjFXWmC17krOAt8yYERczF4Vmaz19/PGh0o9YJt+4vQNI+WkBBSABuv4qpVRQkrUMlP0x2kN8Ru72DyjgS9RL5zCKeUvn1EfU1xEoC6gEQvoVHrromoSyIP4oW8c4RiYk8a+63MXKQ8oCj1EmL+Z2TktNaO/2gTKRmhPiFhZ+zRT8QXZzqA4v5Cqp5kf70VE9XlJzIl3iTCYQGMOX+gj574VPRbvk8hBs+rT1Y4EUq+g+8mA2J8nEVZry5mpAX3/ArBe2JFlEPM8W2rHaFNMPbBPaS4CPSF2++QwI9+PdzpJzzyRn7cP9cunJBPVOdWCe6N/jULo2qnAoxJ3TcMemnbhOLSlR0yRgxmiDayNl3NQahWMjonGQ3qwlvXXk+8ek5xatZSWCjd8vUQsZ+v25TXSgQyiieUIMLOytsl7hUYvSnUv5JuO1Zn6khE5onf/yE+q7ikQM8SAAt/sg9m3QzqxDsut8NopMFPtftiGp8a1Tz3T7dgxHiHWPWuJJ3Twt6YfNVPf9CL86R5hD/edNFcvpEzVnKNgHJL7qgNJBW5+ipfHwEe0Mxnypf5NeqPWJnIQLDc9nnQ8PUgCCNRtTl9PQFZFjtLs9IHKV83X6dvGhZpQ56pkkUV007mm+v+v3CHqhcMC3344K2+jo53Vtr2lU1bRhbRqjqzgl1ntRmKpu/mGlbPkixEhrkH+O3bddroZYnrGkL4vysNveVFdxlGx8JgN4//VBPJF3a1WafmmXo8nFB58YKL7c7Ys3w+1/Xw8KRjmdxSz9GO1JC4l74eFi985Zwh7mz/53szTtbFJlhqWB68Li+82ojnwKfbOfATj3I+tYfQTxcDs8++PdnYQBQGFRqsFJ1wlkg/efu8AhI9wd5KoafLAJUs9xKHeE6EhPn0zEWc2QaRg5S3FonVR28tu8Z4j7xAhiFYk0TsBe4ICaSkIEfWTuN5XUwUwGY1CZdTYvmmXcq16U8DWmQbQEdlJZBB/txTtP5xUjnC02SBaSjNlTbfqo5QxsUXpNVzDr+eYcOX0QSi1peXWsP1jUIIYH5Gw9xwwfApePZ4Sos3VMRW3ycvAk5in7xcvo3Tg2PFgIlqCq5SAgUzW4cqK+Exkz2YbKrLhKqpTophhz/hQQqHuu3fue+MuETiIm4OE+J01QKZUb9lWaqZNS1jxB0HLs5Q1nrzfyBhsZKqlCtDevIbTspIOT5AoL6kJLlpicN7/fUgvsVq8qvyf6wDABft9+kSS5N7W4NktSI/XYj0iPV0JscIv7MbDHLP/BwU3hiK0/Vgvt8TSZFBhOgyjW6ph1Xw+IkF5wyJMLCh5/uRPUFy5oyektsWFq5sxYeHre37eGbllmfP4c7RUCEFKqccyhWumwLW2euV2wuouTwwnO3MG04KaIAh+zBRtX3yuEVBR/8kbPywcxC9fW+gFAIwB9/pPdcFVYP1WbfuUMUV7o2UQ1QLble+2DWgIY+hGd0XGH3on+NxsCok3NLLTDC96TJ1ExrKTND3OE9RhVJBFiT4qBnfdbFqp4oR8BvZf7pV2mZEDpFOsWQTouweC2JlTtJ0VoWwJuv7DqdAPenccUoaElRQ6mjpLoXWXeW1wzuwbEuSG0rEsfCsP3VvsEP0U+RrzAnvJatCL0dpQrFaW6onMY6dLrdhSjkz66jj2oMS65RLI8nTCCce8fgxhrX1DoExZNKwSEVyRiyXuGiS+/n+gevb+G7iS7ao2tqe8NNe8yivEBbf/wmEYy0843oSuQSLlfMmg2ZlKZE/36wtICwB4mpIbWdVS/QL6wvVjBZMz7nfQ4L1VvLidcz02drZsiQkYrurfTSQklsXovRpZwDTsJO4P9GlMfts16+JwIy80Egd+5kob31rPWMlxHvOTasJlqfMT17Y60IrdwSyTovIG7MzK8QZxs4R6+NSDRw/AHVuFCJYo2IftT0wvcggm+DrA4Jv7ewbCS2uC2plpo/r3ZngDshG57ksayuShQdlFnrQh1p3dSJV54MzgmHL9oRSfTPFlq0k1elJdUWWHLl2UYZzh6WzBcz4zZLm2+kZnbob4gjCnmgquw12gse6l0fihVIs1yVjIzmynnnPpbcyjADWso1qU3heHhgThsBFBMS+8FnuPeKjGC6oSr1kOmRcc5qSr0vMXnKYP0yy2Eh8oiUxjPRRsYoQwW4Xvqobp1ruzG8tKHblO4FDnyCL5Fc8/HSzm9pzBK+CvCzVCE48pfRZw1cpnDq7aUuzau45rQP/PevBQD/pTKAP2KwK85EfRQ7PDtrMFZfNdZ4ugie6yHLLVbfCQEkSUyNYbdqhirTR5EjEZuZoXYtFEkWheDNEt9Fca4emiSddJz7xHNufSaWAjM+2JWH8jABjrM0p5hhpJjJNxOk2SlHr18KCznpgh6hWpRb+f97g/v6jc6iAjrRvS0WQk/FsBabNu+Heef5AWjcsre/+sTSWeM+/+/v7Rl84vpojD5rHTeMUKNe0FjBb4QBdRMNF6VVeMnInk5tzCnSUsCDsx7o+sTr5hm0PPeSHLp42UYOOu5gibYeBOZo1MfM5BRusSMbLdS/ObLucwaWDS/gCwIG3jjJJWVShbJKk+iotEfFdyrLqRtsx9Hx234q3w8VdgDDuOErB6rQvwTV2yUa6YRitmJjGPKH8eSUBxRkEoZws/+gMw+jRzhPEm93a43IvdKb6JwzO0OYcBwhRTbWDtzEiGQixrGHUHNb63zKnSuPoH1M1pFFYRsFwTMvVPDAL1HmfZp6NEBaWZm8hyLGM/84busxE+T27SIicSkD6QStZ41ESQJEBcVnujBsA07Y9Ds9moDe3WmNUzC7msRjzBg1dpgcyx0WMyGw7q9Ruz0kVV11Dk/ju5BruXYIZaRqLP0vpdt3N5xptSE+ctUJndtk1EqBf3j+jLVZbnjrlLh58fTieFJP01Q6TXFnWJ/HtCeqqCpK2J0yW++KVBc3kwoFG6N3l5+2dgYeaYj+RNYnBiajc+2Rhayq7e8HGRilSSAh9mLvIuMrSH1FGNVqdwHGPj/32HqCu7mQ5FWCLsYToYJMFTV1xSfmqmtMpdP+KKWO2zsw+3990zA5ZZI7B7yy8yHGIz2fd4iLTEltZe8o4Qk9dmQlCRPbAnfrsYFtKvmtBTyXlgMXTLluaycB5C7ABFqIyX5h3Jmn3TTKWXDNJCE4nKq7aZrLdH0uc9z+pfjeJaAn/e6V6AT/J5QnvBLRBh+pn+vOJp5pqwFGuQBEcQZgD2gA4A8RDF/RIxS/A1tE1aO+9nopXoFG6EWO2sZJZb4JSYYGJ8Sbb7B8QegmgEep+R0f98nWkagKbaJMm2br1/lYQJ1AnA4QdGiQGsBIvsNncJmmevnenWn3PKLKKJOQzVSzVJypZbp/BYOgL8VDbRNa9xOucilpKNIcb4/2fA3a4BFKU3JS34VEMEmBZdER1qv6UTLQbfn8Nc/Vel3CIT9cKG0jBeQjGVY6XJ1Or5wZ2Bm567o+FttpDsoJlgoXTnCazknO5wQpTcudzyN0x+25J12U1/eJu781J68KGYF7/TbY2Y9Pnpt4EtdUAQ4YG3HLQHCO3iTC3FUCt/SxOa5PccH3hlpyOQu2NNbeP5fwH4LUOalEzh50jpXDVyM1qsrTQMfgT0oJDwJNoz+9/TM+rjbPZFbZ/nCo/7zZhtz2KyaBgNuMrpf3OSQJJAtWY8eV0gn9MMZbn68xhSqCaR5d9E5Gdyzro+NGumAqXLnROD32d2BF8p6DzumsaIx8xPwkPr1n6SJ7wkTUWDRb+nzYfXZ3IrNHvKHvcSCVOHkRaOAKInGbPQlcGq1C3rhWbxToLdU+rAPeFDSIyrEvRgyXPZknEV8z5xJn4l0l+dVMmJdLS/XtTdey+OW8xpR54fzN4vPqhEloG4FXhIZF3zzx4yKBJ7NOT5enwkv+CxCWXHyp4+kTCHkdRfNcnFAGPZ9m0YgvojAyEIwTkpM8W92NalTXeC0O2WJVVX8S2hDa6kPMzWd2ovz7pE+n7fMnZTVoOR2ghQNwnQZHrtUhZ6jsFab3GhUDYb1u37txuJ05ZiLx4nYqIPLIGveEr4LHb18XeBgdiybrglm3INs9BXkr6y2KfGVCxkwytHpYCC30thoyqnYzvNc1zBVky64GhIm39VwBhHt+OZqqg0fvkrEoHBdJBRg0v6Q0teTkoiIcGJLFZZ0/Jjk5nqzkw4rJMhwc30cs6EddafRh3b137//t3fpBhaI7czb9zsMO0CcGob1f5FjNa6y8NAJCZzItrmGdorA8ijCmfJ7cWSbuRrAQhZanc+zSYJk/XkcLbj2OoscEfnnLVhNWf6/BlXsF4DqceSpO5p13ilykPwfgOsEKpy3Zwdqx0Ahq1VHGAN/igO46U0fUdk8jLk9FKybz1w+Kq+yF9l8EBCv4sUVGHrSqkKitvee8ddx+OzN8S1y0tmyZ43iboG3Lk0mo8P2CLQNfPEibzCqE40zurLTgsrgW86V/tF4FhCIzXUWU3/JSLwHilcRLaKCx2tlQOTnViXjmopWTxcSof7nk1BCisb0K5eBOpIrEdLEAiycODwlpj7pR40/RK9X/rkGgha+sMQx/MdjsjQwh6+oY1tPuJIGl7dIrhAmLre5zeJTBmrOoEL38fDqqD04Of6nG73IRiAahLi6tYsDaTji6ghizn/yTZET2VsCuLJSjG6l93FeyJt25ZI2Zf3Iq8p8vPE7NmFZh+/WUh1FpCbuPLPSTx9c8YLqqTNX8HxiExyfReLVClfGmcj3oUYPUT/C/1QJ1CLXDCh/h+iJfuurikyRZFmk6xzz+mMplvNNRTD+X5HVkHN8lRgZBcl/tb4K0Cn6C/b+fr7c27LlRlBHcGQdCetk1LXEXjkCEeS6QysPmlgcMWvhRhEKPB6fc8ETBVWkeBAf1UpgH2mLASNmBgZpo6v6dMVMp8Avi7/r52ktYnrLkTjqu4nUSOEVedPRZA48AePnXzM8eBCOwKjj6md0MisY4uaHTGXajNTj3tpBU7LIWV0qNHGMEh9JH0i6x0ODOe4Dyv/L21DA43/cKuGkL2Q7QturMxgUrygahERbqAhHvYYfBDP8ISTEyogPMQzYdbRgk+BTXG63TcdTM21eBoR/47V/Vz+Kp+4ENfkyPkU4bVc9RVbNFPSVqkKT8R3oC7VZ03R2caCZ0hPAnHjOPzhxI6gii7aXOCfLbkxiUrDG7Z8oBfN/4vL7M+NkWiQYimNRnUMPpNOFIuJ2yMSNRJ5oCb3jjNDwfwBun/2zrYz42Yu3GV5EwHTXfT3OaUJWTbmAlbJxR+Vnsp2pvSLX1xtmp85BzoJm6N2qmlEYVnwCjONwgro1m38oG+gJ2kYsPqqpCZT77nmZXGH2ujjtu7wovsim1RN+V17hmx6kbF6eiArc/FfwYIBigB0RKjtQ1aYqbuLmf3FBwL+6WfKEOKSqyKaHdDcZNU54YXDwpLJFWyqirnb12FVZB4Sy5aDJtvY1uc1CyjTIhIvAiShQZjHGaiSv9pM2zkFgAUjXxHv9jkeC91HZ8jKohZbIy9ZIjgCQMN5rhXMIesQ4X1UiGVNqU9tdQH5unLLXBHNTkCwEjndF9IX5W+HC6Om4oZzWzAYqm8ioT7zZbIMvGVe9O/oiMbmUyFNR8gyHHnPAkvZa5wbeiJLvZ6spRfRlYOXZ9h6A7r4E7Pgd3cr7g3FC6Jay6drpMfvRIO1/FniR++HIb3zm9XZClmsArC1zXCavybUT3qJfFShafG+50/mMK13nPYSGUcG1NN4g94n5ViAb31SZDtjjbQg+dJB3X2eXdU8Rn2zAkteUXzT2GYR5w9PGhPiHCS5z2teZDeGOV9DFw8JEp8aAQPK99zKhpJuotn6DB0mN5+qltjB+TXxJXkEvEGhnhAIAMTpfw0cqHO+vDEvJUn32sqHSS1Lp34yTEB+z2rRXJvpOAoQEM2e5+oxu4u7BgtKtZLOYgrQPe6zyP4kwLM2/u2IKenZjIFnsqDuCmVnildukt0LDXO/oXKA7UyfcUvWc08vGAmEgxS9fuIHSC5qyrJUmKCD01yFTmwqV5IQDUsq7VWNw547uQbdjJq5dXQn/6AePhT3D0Q1LhlTpPFsqq7U1a6/CwwAdrEy2PSZM75/cmOQZ8wzIK8I28E5NHecGK0J3I2vMgINGg4FMUhaBxDmo1szvAQPSuMB4/VSNfy1UPHkDpYz+LpLqtuZIhJsF6mp3E4Ud/vmxSf7jN5nWuL4yN3BM+cm4aYGA3IDyBpYgnHXonAqisMpHdGIo+bOt+aGLKWV27Brv/uJdD5qvPYMchjnFae1fIIaBsfoN9o8UiOO+SsM88G/D8qWBupBW+TsJz0FUSLRHaWNTWT3YHGx0uqFgNasNWdmSv2NyTWZ7JVF/66mP/pI+HVXtXEcFGfYHkbfcMNznAJgZMBejdd7bHBcyKlqYhl4P6rx+/WnaLnovEGVoU+uE2IwKhne9t2QMSfCsZX8djdas/CSWr0PsechsrdEpwDdu6++5ueROFFmLGPcVSN6BzD5LDyM/W1LnVFTHYiy4Xrg/D73yFzF6F1i9UdSnxU89X6hOSebQ8lgszZqOxyscn/AR8zH3KznQUJ2QmAz0GOTWAVetsPvKFRTeRbQ/Q24v4mosmJHg7GfTmk0rJ+IQ+C2spgMr/zopxVbZIg86dVnv1zn8Lqzu6QtxE4WjA/YQ/B2qQf3SjvVK4sSRVZG0J59tTLINrDcpezWT3AuxwFgMAjzkPdTZHa1G0roni2VCHY+iyxxxdm11pLDDyTI8IZukJG6/PHeXAmNW8/Huj1aOG/0nUAlDYqp0Zn0ZkdZk0L2PSnhsgIE/HnJmifMCQ0tjGGqUDkBRdc84TAedomvtxsqJdapUslh+jMy37FCLrIbKz7Jsi82QBWcP7IIsQ2bQyun2InauPTmY2BnblLxwTmFaMwXNNxC1iw6fM4HgzeIn89neDC747EQsuysom3Rpb6/5IaxNfOor4Tn1crXWxP0KvXoDJVXPGot++fU7+9mzXBovmJ0FTnViYaVHE56BLXaspAnq6fZL6jeIYMk3x0Tb1cfto7hrKgrV5nZA/efnsTh6sBN3RdvZZQmAxaw7wwnjpiBs/FvfAwgK9gELb4wIrbs7R7lqFTtoOGxxTmkhm5upmOplNkTiB5gtEnA0+uJREXyfVN5yMTCcPU/3LP/rqnL080NLCU7CQfMMzppBVtwyfq+QgZt5sNszKAjGF7oc9WeSM9c1em+IdC3ZbSAAl92uhyZ5e7dUlNp09B2dJzkOEcPYF/NaEIKLM1yfUYhtczCEFO8Ico8uoFq/YgZn5XJrHIPMtsHUeuQESbbIaLXDZSQxjKQZFGi9+Pxx0nv14PV+5yoUwUR3VKsxC3XdumqUTYjQBw2B81QhUlfqdOaWdaeICbuV3ix4wxMrtGNp3Zs4CBykLiXmUK4yUAA4msYHQ6ABx9BDnreG1B7mraoDUVNAHGr1kzsG0Yq/lRSh2mSJHKfSdTg55lClLcJPCOS7gMzQtaZU5UkSC8kBBP2Xv0ObzIOD5MxwvPtU00ejzNrq8yh7iSvvNge+aOxiZYRbGgRzeDF9RY0IK9e+qZczFZFqbgJISvh+Be2vqzNzOjpahZGRGMKJ+Kz9tmytxp0xG5Bgq9T+keSbMG5g7Wgaxjm1CUTG8TzARNqjC6SinB129GrJ1iC0ffTWNQeU6FajLTdfGzGtQnX58Oqem2XbwhNSBIgDA/7hnTits0DShu3LcdMnkZT/OnQyiabBF7+QoegOWaY2RxEwwH56zIOu3yMgoWJWudtzPuNWZ4f+rJEJhP7WRsv34hgYQwZSfYqPVGlIIeSRyBW94uqrD8Z36jOThoGOJFyhCQpeFPjkftnbvTqixq0S+0NgEtWOlUwy9CcoallKOd+MTq286bTNzkjpHSPRCPVoudyqfzLeLpYdJ0vxKYpuOlQOny+1+Rc35z7LcxnjaiWkthfwTYPQ781bdin8EMha3gqNyt2Sp83oRMQaSlqiCh/BIzRmTRPaI8mf639JK88K+sfVfr2Ew2ue8rhbOAWU//aL8m0a88bItYEfyX4dnRuViU5SEvgy07lR460fYjn3D41D25MEEkZzNTac8YcPjOgmWV1ANKKJE6vPpmvm+ocn0V5t+uF4ZcheoJUQ2lS0PmODlT6ycuTZzPh7oxOX+/u+WkRdMVya9ceNNfweHQPZolh+9LR21yJN1a1nRYIzLeaZZRI50sw7M2cKjg/hgYNvwIzLQXuPt2IJoN1KALgijZwy81pzJM9VhutzL1Bf7JRHE6913F0mnalO7s45jdtESvs4mA+depgtwv1Oc7+FovsV/DJ9uc6dfEAq0C6Cr9g9Vg4hAPe/5SUqcyqY4Q6qHS6OSHvqp1CUC8UQ5BQoUqQoqX25HajT85MgT+XbfkwDBBgeqSV4AnLtV8iOLgl5lMJUddY2bbmdYpA5f0HTKZYWft8ZpNSRt95BfIvSHQtL0Tov9DpvgVEOEGkNAU4XBO8uTH6fWRg+uCG3qDyW5pCweHZnPeBwIsYoUHX7xp9YFbxG0lPGH5cb/UbNXbXjZP4qbt7p9aUiQvzSuTa3u2L2tCScNvF8eAbTq+AlJjl1Rj/fZvzqYF///lJ4cdXA/q46iWfHrrQkLw2KZ2epRDWf03FcWi98UDK4a0WZqafr70HP20Zu11pxt2tC6LDgvpqhPk9tBAuyNvLMy9UApEmDI3yf7e66ZxMyFpfmwsm0K7l/0rgHXK8oybYCNS7/rrXUcddxkuU3AB2tUUK/rcyQyCG/UvCL7Wof3EagSgJyOjKF+PtN7CrNuDjswxLW2y3cGn9ASV8sOy4kCXoV9KAkVhh3KGVYJr9E9lwWGG9I1Zc7vrIl1cbc7QpxluIkHt2HSD6N2fkgM1X5f+1DjcZk6E/KxLBKYxIhoes9E4vxE7xZE1AknsyruqxgyobbWbE+uwFidkE8406u9J8adeA5Btxh1rKJZVKdiJYDA9KxOFFrrVftBOeG1qBWaiRbPqdrhqJQjUyqpUCKOenL4REGUsaqCTvWV28obuEQPSrL44FbOui9zDekHWTR62iY52iQITcGc+oAd6K4Q3vxVaiaKI2wiItu2k8JF/o3898ZTJuYlumjLCrpUU/dE4QraLopUem0pNA/7ZuHwO8hQoKl4bA3t7TyRUr09QsLjY8AMCFRnSm6qRbAArYNpyyqgb7Xhw6ZlKM7oOFTDhYyz/h3zinYE1Elk/AgosQbobix17uaCWiJeDrJgMjN8Bu5UflZPWhw+470FhnfKgOfNbfBHtLhYi8IEYVUnKKEPDpGkLm1ghYDM3U+I7GIVjJ+GIaGHCRNRuMUe8HPA7QICGxIOnDzRO7SoIIl/wEF7XNRg4DNPrnOYao/yFd+RS5mhH1N1eBZ7eC3LT9iK2qgBKgo2auWHal0kYwyty9jwRTNV6CmsZ+Z+y+Aft5eHHqHLeVu8hCOA6oPefNZKjBDK1k0nKTPf8OC0+s2vbk0a2vG1hgEUkP5CGBPE3gm1MXoKYgwYJDbfNARWAJ3sB60r6dpxqfCRFBGpjys/Uyap54zaqL0V3rw8IIPo4RHwaY3qiCs6W3XmqCOBFWouuC2jYnLpogpJETHjbUl9YoDgFFA5Qp4OOrgTOfMenfrPz5CqH9bthJ9Iua5LdCaWLeAgJ+U/ai+JW4QCPC6TRItY2F+5TVMcKHKNadpJJdqyVqYLQAdU7txn6mySo6K1BHKzdbPF7OlBlzawzrmpqPzlSKXgDGxPb/nn9fzRzdXKbLmvbr+Xao4p/E9YcNiciIkpzccT5nFYGLv20hW5oHhNFlYQt3MFIQoRnaAYHWfgYdsX4DwqTETDH5UUbcEg6eBTfQQeRgD6L3iQuphHbIUVyBCkUbN9NV79H5OP2J4zZRChPmtKPOnON6aFmvDMj7lwFP5AbdQqjxdUiUFXD747ZDzSI+ptpaFkB7tgGX6J/XeJt4c5Kk/kBXRHQF2FfPvBG7fDebZ8yHtaeY6v9BKsxOkFFuQUe7Qtfqe7tVeQuaRoWHIfod8zbpFhIGFIPcYPAvnqpZgDsQMpxiUjiSeJR9h/FT3F0LiQz+RktG++3R/LhfuF1wbq/Zs6qMTsoP1jrmyuhGG2H+UkHmIuxz4vklHDKEwncBhNu/M1oozl35zxYi3fr7BXIVFCxW84jfpU6GZEwPEFghRtgWf0oYeFdqQ/v5/Tjikr6Fl70a6lhULdzx17Va8VBt0MFtpHaeqWIcGTMLYneQ4Tr0w9uH2/Qw/Mg5GeKylDYr2gChyNPK0H5PxKJL4aPIxGBIGSJNPWNIcmYW5hk8q1p6G8qQ6nLDeUcql7qWjtcIYyajT8/mpCTv1d0wxfNYSPfy7BPQ39cDCM68yVVRhK7WjIF0ikOxlIfl8vWFonBSS4NGAMt4uDvfhuKHLwLTcP+MSmCzPJ/bhxdQNj9txQ4k3oDGrtTJCihOAXpOG0KX3D8gDRCa5FkzgCZDhS6aqdr0oMRNGZr8fKzQTNdf3SWqc0jpFb6Ikpsf8MoYva7cF20Ldm0x1adfEntcoP1Ex4Y4QhlKYPp7jiLyi8eKh0uikbYFu64ay9Wrs4fbn4TmQebdRhZ999Khr2bPB1h51ykTWj2iPTFb1Ox8yHFKyiNQdewdWs0/fhJsVH3xbLOogD+OA1b6NFOpRH2p5A5Qj7Iaq66ba6JvWNHFwLIw4lwaoDKouvUPkFxA70FhHTyLvAdzmwEKwFxPl3tUcophufUTyYkds5YsZ6GAv6RzVQHgIbXkxvd09E0GVAMHc0i+lh9qb0wTsxp/PlUykuhVOQeFmeQNb0fCgRPznajBg3MukWe9DjS5tqlmj9LoE2AKtYxz+QOBbvrS0Viz2DvQuGxuCAq5hSVdVJarA3NDljWf1467nRt8k+ccY8dHDBHbvrUS1N7Kpg4Vcop5D5t12F2eGUHXYrAlBdMyCW9q6ALiVBBXpHeHqVudWKbqh2nIhMWo5KccthZfFjy2LQOYcOoWPO/o4j3+J13oMUBXeQ3pehJuJ/Ywg6srlN72S14npJ5vbun+yS2UBlTmqE4n/uVtxn4VQGfB9opF0gFmmIUqkJMT1J0cD8HtCLX3Yu1fTfu8vP9pPgxlxs+ZMdEWPxd4Xo9QRV7QEfQGitfrioVmwPOLGH3v2nqXNXUU2qIq+prvoQCkEkYrykDhm5sg+XpX/jQe/xknCsv8FbjkYQVn1J/5+qOC1Tr2KS3Yp+0KHkSy+fuTdnEC688xm9c0AyBldwFOjvQnClhHH9I9+mlwySNb0MERlSweJP6BfJjjV2IFFb18w7XYTK/lBiYX1IuErAPVKRJVtAIGRCXqIMnbvD5ZZKoWV2RZv5b45HK1fYXU6n8WlbXRZn/W9KI6NPlaa+6OuATsxeHYGv/4aBiVNdCORBfLin6Y7mV7HwGfkyokQhR93FDRTXWWgcN7pHP/zwbRBqvVL3ZoZIELAmjk9BX/jcJitNe5ZyaSQyWQQ2tS2NRIimRkSuLg3v7dO3SoZBBhpMDfArIK4q0Y0Jl4JQML730RmKbFxgYzz2a3oSSuCGQNqENTRMEmnaNRw0mGIho8bo3pMZZw5MBuNxcxzIS3I/PqHkM2/nIuA72BoHdg9hDE38A0QOcc8H64RxXd7Huz0nO0iNumAOzgg48+usBFjMQLgrIH5qB/YLHwgbb8RRFb3HMWNZDj7NBldr78/HRejzMkNhSwH8mmTQh7NsaNffhOHmNbDE4UWpreHDSJirCpman6KRW+Gb9V5Pvqr9aad7ypAt2YP4+IpCZFxlU6/Y1+a+3kt7DZSk1Re8pq+U/azsn9VNh/dJFwscOtrJMQJdh/bQC6qfNMjInTCMyQHso5vENRR08oFRMjOXr8GWPNcqmufaDbC2yelozGIKJ4U9aRwj6kHdwYsGliogo2ST6tBapGidAGfqAl9mHXI1gfe7NOuc32fnmiWDNUdUb4zkHFG/lM0Nyor/a+QlqFwD8eZt1SGmohsofyKHzupyiBAnuw3s0y02p8CnMrW4aeJ1dew/JRfYDOil/jlihCODR7bN2K335sG7r/LTI+QcDkSam8kQoDVt7geeVlp+79Nz4lB7a8grMmS6dwCLzJ2p7UMvw612gTqM7LDEEDjNNUPhy58iTlJMxhe6lCeKjQPfRXlDI7MBI6XEHw9gfMejVPhhIOHJT+aH+fGRQ1FbE0STTv1nkVSxI4FA1jwjleVF54RRtjSeqMHOg+ruxAxiPTPEzX08x1b7s6yAj9E/qArOA4RI14xOXFJiwSx+nPahP7ukXNGGbBULmHfG6jmeJrCO6WA3jJKEJA3o2yJd85UdpOIdF1vxYldhc1/RQYndMXKTFWEGdrNNgc/UiAErc2OUis9jECPJZAAB2rggLt0jPI+nF5wZ/82KlGAtropUXuTm1sUcuJPmIfZ5pWtLCDoL10A+tcmaxosG5X1BQLXsvVpwxuYWrx6Mq1KJNO3Fm0Vw0+n1d1DePcHNkXp6mmd7eKzNiCrCgoWxLXYV4u1RKMjPfx0MLmYq+LOdVlgmK2EVoG1rcCto47l2WvGgjPWQtaHSxX/axeBQ5u1/Umae23u2zfuiwST31WmQaXXBFbl2Ic29aNtd/r6R0j+4MKc/cCYkSdpIkfonWSTzJZjXnlaJL0qeHBIIqnJuJvbRFmyh8Q95wyJT9Kw9ZnzFmZojDvh0gRstC/8NTehbe4lRUQ0QgGkLj4T43zYnltCfsnSmeJ/xbppoEKreOS7Kqc9V785mkn5X6gejagGn542y9S+rl13AObVUGdT78MN9NhEbraw6QYzr3gYHx5+nZL187+oOs9c7zuYvFtMq/U22KRtfJv7A2hbBHWftuYx5EoDFD1ovxIAEqu1IGscKE6BeDB8Krvi1cMbx73wmQmZcT0ieF/BycawdhMmOQKoxCEyLDd2sXO28PkUncLLmbs/zzPSxa192/Va9vz9K/nK67uCya4R2g0bpGzG2f9ifbLyRM51ijCylq4nbRPQL1WLtFLfQd5hDmiGM19/2ZWzb2SLrCtm178IsHau4WlU1RcSyZuiTXtbNtNj7w+BVWmCWHrIM7MJl4buXhVa3ItDI9fyU/9R1XKlM+fjb2dt5rMuRMuW0BX4s3OgxalSfS7Hmca4pW4AZAXOeWKqOGBl8F/aU+5/zBwaf7t0BMded/5GwNC9WGHXhoLh8nN/K2xyAT2tRWH0XZG2KHDxdwMlexDR6M5cdnWVs/0dTu+Z1neCF0m+xbUhO4jI0yRyWKj9/wU4UJiT7GS/1sNxgX6FP18nv4QxECuSDZu2FsmSiuO7qAjtLVfIKgVnWVoh3Xyu+4Ld9+S8aLfLACbwbEN/2cI6xMAQh1c6ww8EIQyeWVFMSgkJqqx18zV0Y+7MGACFWZrK/N9IU2RHCmWT78yTCKmc+VZ4tquueD56eZf+AKh8mVjdqg8QnHPESleE4w9eq/Sitwy6euhVrDDHpj7nJixRgmO4578PlSFL7ufeOkRLUz2iO177MwHD3dwMrSGVCsI7QIz7gTKkCMR2lhNF8lsB8v+LwutouXqiVahYo53TkxR7vSuiY4bC9geeZo8xR5sgwieAt27mXaMYW6f6U5lo2sTsqDjO61jModMqluzKfAV+RP1pxZByZL6a1KNIrVVSY42fuQa6NU/xOTM3UYF4V9Xb/UPUCPZM9u2ANtCetPmJGr7cvi6vuYNK6N5CN02pU7ngls3J99hqduwf8MEEgfDaKF1uwqYoNee1CGFE34a6+1e9llzbAIlBI+j8O3dvrbMfGc8A+68zD+RrEU8aeGOisD/NezYOTCKx+VBfZz6UCmqwaLdKKWPZwTNoZOyS1FZEWBY8ShG+PErMNbA7gxjTQN9InlJS/PeykcHairDtROp632aOv03fCyuBOGDU71OTxwWApgHkeec4Gf7PKCB3+zqKiSBiBSaaJNTg4MCztThhJoqP33nTdTIF+5xnwOpc4XZa17XkT7fwREGkqOndO5qtVmEK90gMMIJETLieJJyYyz2BZ8zqdk12z/8CoTJfHGGIASqQKBTjsfvx+gVXtyOLc+H1o1CZHm/P6pLPKFqDPJEqDw5IJPeCXFvWckRJk1SQyAsEtO07dP4H3PFSd2PuIyoee5dR9/hcjS3Uh81AemytSN2vYjG9La9jjX6l01qfqk9CaWgh4fKvk1JLdWqLemdh/kyKH58QPThtdVexL7iV1c/zhmB+2+t/mXZPessej/tXZGDsqXYZdRiP6XExDXIO09B6w0AJG7G1/5Y+SZvxmNpSuJUcQn20SsJDTYQPBozuJc3ES7egdEquFsqO/2atouaXFlhkki/Z+nJXKZTrqNjaYJn9TCA31IL2hk+IPp86FSwQpddMUVSI+Z7SnbcW0Znri+48oHSiN9Xfg5mec/FZtuTNHTewErp2s6wmnzhyfMlnhXxjk9jHtx2es/Yug6rKeJwZ3rP9ubC0yYUlnbjtbyPApwFiTxVI3TqAbsve3p6EAW7S1y+gzOOyzHmjWvgcJ2OwFmIxaN6TqO6BaAMMCuVw8S0FBftdZmFXuinp5RPadAXxzH8dpgOYhik9uaMVx9aEhUT0i45wlcRnXy0bDUQhGvMdLiV4Ob6jwtysRBoxMcVzN2D/ties+ok0jIJImblM7nETmOneI77BGssvPwhCK9EUycT3N20kB+ig393V1lJ7IjL9vgYLlVAd2dGOOKOsBz3E0JqWsKKyMn/PoW6BnOt02Fq+u7QAIleZYead3n+wiXq9jQvFGKUK2opOCa9p0p33GJKhU6CsMjAKW8rm+NsBZUjjSKw3xA0D4hM6rSRU63wssY/aFZO2k+cls8hqbmM8wTFIXrh5fApdkMxkMH4FXKdQRcblPKUu/41mD4rNg69esVICocy8LESGJ3jjoMGAfD57I4dH3khfsqPF4cpVJHe5DLBjP3PvOmKGNDy8rSBm4Hv0dRiiu4Kx6vrxaXXe+AF22YbUXoCSal3/rkx3msYpcwWvTcqEdCCw+4fPyZVhQrDHumQQTg22uOK4BXbKzEuSVx5wbZeoz/GzsnpKByRGCkvUYeaZcaZttzpnVSntZ0yfkIb8+oiKuRP+BrZ0hq1fevVsgqJMhnUQfc3k3N8D1abcfNVvwL74eyOR4rRXw5xJ08mKXqmGM14GnCbO7q7Iw84N8FYNKyrn6I/GFELoYZfAHQJmTN3HQlvQC83iAQ9AlKyzMlkGQUJK19L3y9iOuh0k24ADIppNUKRzMuSvEpU8gQezF95uGlDV97TPwILNZ/R21GNMJF2ZZQt7e5jxk3xAWiMc3TSxcq/ZtaXT8jSrIhRdsbVmb1UqTWqUDn4pxEBghaFFQM9UMLDLKWXNJA31grxu95e4vEpBXNzm9rr5UB2opHDoRWm3OtGkUP28vvWVRBa2CcdukZfo0tQtjwO3Pr32Zg7z/Gw+/Afybh4Ge6de1f7elHYmPCVr37ChHAi219yUZKc897F+PET2Nbj1VkVW+oaeh0gZ2hGSV8KmimZIEzx26PSFb7gtSjx8yGdpcPe6ityuaz/TW+tz5dVqvNWHfOpSPW95mLjwTSzh2g5U1lw2NWPUjjWaKt5jNwJTtoTzeiCv4950Ecyj1kOZ0xilfJz6hX4R3R6afCRZID8D5dLPWVGdEekbngMLGmoFcg5hUPrrnvCNlDIdrZiufBOypgsykyJMU9oeoK1P5gBthFZAdQoLc4EqRuIS1gzfeLDpzgoumc1hm9suiwH6NdstGHmz7kyHd8BXqVqAwSYqr4ukp7shpNbXRTUGRsLSgb2vHEfvsKSsAeRLyOH1Sjr0FaLa4AIUTvSOh9h4UE/T0jicKcpfMHqhbr6IZU8xyD4wKvfU4t+HGHhaAanflLrwIxx9LBmk9D5DUFlqgyBJUc2y3VjvTOcY5Z1+DuBowqL2uHQXtqBGVa/nGCPAcdLIAe9VTYnWvfReRz+C9e9ZISYlTyjtPOn5O/7vghjbaijedLHc2vL99sLX0wZg+xB8HOncLe+uC2Sf+gjjEFLn6m5xM4QAcmzoK2jWJZop71V4Z37Rk0LFEA9kIdQODEyLuCDshXVBJbb+HowA/Wbtk15KZokz1gBRk98xV79Atkm4UOE4+mVzdncdzIvJWv22fboCfxoewCItauItnEu8NakeNdgj41zN1BJLBUb8BDqPP24bSPUiE8N72i2IzEAEQ+RChj2N86INX8bUxDIoDtk22n6DPvaqH+WIezaZq+9rXUxOHls+orbkvioMM4hxOBVpDraJz3CxHu0GvE2qRgTaDCSCS6sqYW2v3jjPC/g5LcM2wy/r77pz9qCRre/pM4/l34LIJ7S1xw+bpaR59bFGWrLdEMDa7wCS733frHnYq7RJwf11IsL4cnbS86rbpa5EjeMoKMCte63dSkE9hyGpuvATwI+ERN2+E0ZEI+pFLREc0a4XqSs4Dn4ZksrYiuV0ZnBZyiBByBDKHUH7ojKrWi2tjSg+q4ByuWpFkoUBO9w3h9NMEEqqaOSabd397mzQP6b3kVMgKtx+qkV15B4XZ1BugI6JxKZyqOA96qfb2ECGq/1WuTccX3NOQAVknCPhYlFf1vPjKAms9wGO/GDSyVPUvPMurwsmfwO+P66GkRtfLbQrya56TJotW3FBJRa1lG1buFB1irjEC63KjO3sgncL/cXaMthtKBIlPi3ypstRAz7Zqb0YVQDPlV9LI9yahCY7/DFQQxLTUSKKflG9T+lssqjCjLA65gI7C9ntGvizpefP+Ao+GZ95jXXhbjBfIQlQWbc5+9MLKNczcPoxZ/TnLXw7vEye15tgW94t02xdqyIes+H/yEYeI+e+Bpp/cMXKd9xH1HvV3t0QUzVrIfKUH9x6Tedg4XmqmEh4DuU9Uu8D+Io7BnB7PQTsWmhbzrG1KkH2IKhp9wexnbKe10fjVBjmqOVsta6j7NhuMptlOXjoZPHvKLA+Ma64SiwBNBCqG6se/X5B0GS+2OA7DYP3XnOp98tafIte7eVw4n5nlZYEG0NuYGiz3ANzTtP90NljYFi+cP63SSk+vsGoLBooTl1mKq4+Xb5JuDbhCpqiYSPuNOfx7tYO8kuQ5JLiEaKLnRTiHVH+a9bEG9G0cOPrvdaE9UZGL3VGqUmAuds0JvOt63+2JZoSZ8IoU63m3YqL1+dUPfU/CUNdPcUGpkjMbmjPh6pemT2X+MRpi8C2q/RCIoi20E7gdW/ICo4DADOI+Mm5TwvPZywJmOkOwT3amdDXlGayuO3BMYYhMAi3iECjTZhNJstT4If2ehmiNSpaoNN6/bZHd6E611m2w8dQwc1X/3S2y9JBZpuYqhWO27qcQwtNl1Dd8M4v79Ih0unvfA9RwvWAXsgDWPg/eKdq0EdMDhiGRSWB1L7sSJeHPwEODwd3T28ooOW2xWHzpCyoJu+USMkSgDkR9TIDL2mA4FjUYsb0vo74jjDgxD48C6ZVQeMJVoruIW7qjC13CfM1o+AGgm27Vu19nii4WuglFMbtCY/hxh4CG4oAGVAdXFyUN1XrYsIuQzKpwwWUuYHL795Rl0iyvLnmmUFmYV8IMU74L6TrB5EDOEi8XmVvspt29iBNAdiqy9YwQUco29RLEFiWW1X3A6XolexZ871B8M66tL1DYW6diCYY1+AHDKjTZofs83WhakdFAVswNB9AiWzB7A9h98Kuprrp3/L7kneCcNnX/sTPtIC7GsOBHmykN4S1V9uAJRngu3qpq8mjMEBqxLmnsZm65Y8sSOm3C3w4OqvNr8zYsX3SnQpEtCNZ7cqdStLFkk3c08RhDSpevc2cx0YiIffgPwpK6sYqqXoS0YdUHnNIJ3q5a8PBU/DUozUrIW5lsTiOwnDS26CP2x0uNMxzdy4BkxL/Wl6QmIDe6dDVAJnngyfpNraEQeurE4irGmbP7Nmr1T5XzMhqlWeRCpKKAhzrtZgqByJf4brpwY1DEfkAtQNn4K2pB7roWWchkE4dXuqBompc5S03mypsxFqcFMHG1M0PbMcBb9TKWRRdtd+OlJduUN42CGHnrXifJ40ohVZg08c9hRZFHFQ2bzsTH6BttcsQNFgxkGn5hozVOLaM2mKTb6nhh2lWPpuuGnHLrLUs5cSzGLIabtB8LymUXxT3waZsIeyeRB7jH2D9VgqhmVa2Kzt+58lBgyXVjazr1MNEmXzyW2WgbM/0XnABBfuPoQAEuHTI+pwTVUMUBFzS7UASQnLK8BWDJz8nGPyApsquiQfnWJ5ZDdx4XQHsdHZO8IoxZ/Jl6pn2JHMIvmqgfmjo3rDJEs17f5jMa8eYFqwcpVrI36oViyEumIlCIqW+GGzgp+C6jLIyzVTJmPB1p4KA/c1kcwj1UF4688c1t1hnxkZvCFoxeFnosTNYtj1Q2Ph8z/CuP6Tas2yr/qxykzB2/qvUgT4GchZeKjH2XSbFDpnvJhno0GjYybrtc3Bp2KuBpkTA5N7jNrRdg0BGbAZ3yUCC0Wo4qS2Q8Vn9gEKJwAce/GdImjrsotIPVzFnq4qFTgGurPqZRQ4escgTO8bM9iYRlBsWpJrEtyRcusISxpWEoYDwzr0XWPc7z2GlV1mb+OgJKxLxkhH33DVogkI8gdB1reBhFPLXOTMGGO+whyL2o0w5ee5Yj3ijxTxeoyM+nwmVSyoKKMuQjXx06qPSWuaQESabM5Ja8es47apQ0sgouT6QoKex53uGQMEGZ1OHxjlIvz6MQ7q79yYm14xLiQEHqBro6kC/qhbXV7xG7oCAH15QP8TK/SPrUkh5pdMWM5M//0cZRoatOZroiNJAuc9+tpbyrJ1i9ykrjnXkApr4zT6e3m5JNp0Sig8Q31b5UswMj639wT4uMp+BZ0nee5iq+J9XJJxE12+w7fcOJKry/esRJakabbJgTwEO8R2ox5cj0IXISateeGmj+QIIzvBAy48qzCiBJmHT3ambbOeVKieLgR8uCWOp3Jrm0QZ2o3ZaUf0IL9/44RlVKe7iNA3VYv/3slMxZx5LP0Uf6i5KF0Vfaxlt5ut3APO2d1xIE3nye4oAeh6qUIs2KwM5ciQ9CDIjAeeUz2fJycERwbE5BSGz0T23+vgvkpbbQeXqYtGHGZN8OxVXDZmjiDFyoXXQ4HEojuah1/Kft1VXUWcku0esdRJ7/HFZ08BYU7IsCs6JiipmHn43rSkz/3QHGSFACMLgieex5oZhOWHuJvqxA0dGKPfhOWJ0JbJP1ibtr/q+CEXiFp3QdscNmhDUi6mhdPpA1Bzrmd4Q52AbR7VOOjQvpRHzN5TZiHAdGxss5Iphca9phuGnp7xVW/gG/k0CJhcTDxACuu9o+hFZE3tC/M3OUXCNVHXdwHeNSsqRJP9uG1WYH6RudEJvA4RFsFxIFyCT33lDtP/fcKhIIEI882UbJ2StdAloIOmLCBpS0FqGF1f2Awb/3Vel4pNtiBb4A2L9SzQruuEcDAs2oVsK0nhPThcxuI7C6d6HNZ21s7U9/+BDmtXRFj5+fW9Fca1DMgF7cTPYTDO6bomnwZocHa0aLton/4VNJAmixZFcKr/2gfy1Itix4TYJaLENLUG1vbs7i5Rl8snamVjATPHrMxNjp0wOKxDizXZdSsT2iWUuUngkdvE2BsWaZSref4TKn9SuPJ8KdK88Yat81OVsKUNJ/nlUdQHFECPWZSHmSmS9yXPooFBEaxq8suhVxjAxoH8QJUe5jiTxhXGe4yhwZUMPAQSCbx4WOYblEbVZCFf6UiZ0527FhZ+uu1u3m6T0NkD8KBQANLqX+/ZJwbRu9U53broqa4ahkU+3WBjek3KNGkthK3FcXgDFtWrJaoejopvxZLCZ+Gw1XpzDeaUZavlfHzC/e4kx9/mvCDl0cv9+wNY25sYhaAmnBxY08aWEL3kVgY20gkP30JAWtpOoFGsC4HEtpRXpt7AYFRyxNtclPn4F4J7fTz+9ng1OeXy9Fyj7IxpB/gLm5U/+FpGk3oCsPwTg08X01SRgSOi2i7dl+GM4r5NnwusQlmDEmKlP7uXmiyu23xrz8qNiWM93fhvf6CYh2yarUI3FIgeQGHRW42DELyDpkZyG0xhkWAKfF/07xxZAvcdwRvCj+Q6B+NJwr7ocu8lH6FAnHpslFCKt+L6JiWexpgr0xKcO3vUSoFdnbpbfTVYJurigYpqrsrR2vbaTRovMZlDbQ+pI0zat7kD113YFClXnb7iReI+YUxGN3OuVJ7YrA829CeNKlDB3+q0aaDJgRMXKOF9Gl3BRvwJVDV8reSxO+Vw/O/0wTKmB8A4gGbw9OlL3vy3jijopl9oKC/xYrnjzHABxtNlLdwj6O9EC8uTk1c4KzU5k41aFqKqHb8AUbCls3JZ0W/cKPr1TfTcYuruAguWQ0AZq3oak8lKP3INTHibOWWB8dCgY8ewpdKsbeY/fSQu+u/sL/9YtQm3x3pkKzmzl8fWWfVZsxiOUnxtPAV5uh9kDoa57SK8dacNUsdydxLXs8Z6AQvh5WnfvGxon+NQ00A5dj492ndlFRmJYqJxZ0Akr45JSjW6pDWuoORclGkqQCaVm0S3jZWgn7rMIduuPr3/vlFa+WSXm/zBRDWu7eItwXVOiryIoMrTbYEHxAxJvYioQDkoZC6EosD93WeTDiv4LkfnTQBNNYkEJ5/o8SMxXpP0+bPqb7FrXgIHoNBxprWME/oQgSBa1lDpdip7ED8kUfbibNBG6CRSFCT0lPDjo30xom25xOH4kqodIUqPTsD/mA0h5AUTpH2vT8AKmV7TKgJ/0Z0eKlDHw1Hy2FE2myxMZiVJSmn7u0BD2FQmDUZN8M5hK0YYSeKrFPFibd4ycvGJ8E0zZCSbkxC66s3scrTk8bCCDvdAP65Y+iOoB1mR0Ts404RDR83zgSEErsmFv5BuvwHrMaT7VZ/kEUqsBQIPpJ7RyHUW2SIzWEuAGv17HfNyuRrGGwrHuQLuEOI8uXEh+SUePe+gDJApoa3KpKSMb1aG49D6zNrN1SnoMJQ1Y7oG5fROTqslGByrTsy6Jk38MF2vt8JhY8uneT8IYptllVgKjeK06c5P9hu3Dv0i32FIDZyQpkeUsUALmmRwyhfFQpvWtAH0gKz0p0y7QtWVV4LykUlKpewNakA0+KwVP91fmIen0+yEKDNAkN4EY7CfrkrMN6pIrW6TMLhs2gK/qjsTiBD5uJBS6AjgX06tbUhZjcrqIaxuiX3Ad8QcBQTFH5nUVCYPtlDYTDcTvlCUc+fiA3P+rKCu6E99G7hEqZvdb6JpafDi+4gx9FHABTiz9d/JdhlC/HT9rL+VqAeB93QE/v0VblIuyGlnUFy4cEcbiV/NNvUv4ch2axddbEg4tKnuMor+v7FCNA69VNVt/J/56XB6f1Th/W0e2hLKvbYSbaV57kh4eURkOuKvAYgRLftS3tc3hdlRz3zan28AuqYeUdSU0TIQ1idxd3qOx8bwjUmWdwQVAngQHaH0UEsYi/FlkcKxRupSgr3TvxqNqATLGxSi/Cy1cUWuaYrqnvph93cHmEtaM8kHDKtTjo/5RVk/9OJxuVJhNtKb62T7hiZcxrlm0XLCtpfDZatagtv86E/OfmNKdQVo2D/+2DPd+h1/CiU5fZNBCKym6XrFNkkZhxY5T/L6WodLHtr3gN301Vc5F3fvKp1teLOK4Hh2D00Waf69InOfgI+T8TXbyKagQ8MEOJFdWDdaAIwtEa9QmgwPl24LkxfsL9HgU6HBrrZeGWKKjvHqEiYTrOjgom3yxr3opzKvu6HnAvtqC2NYJHD7zQcFA9WWMMfqUSinhMSlH00gGuvL8FWMELqYd8PA+P/EhLLd4Sx1SC2Ab5YGUSTM8gvkAeuzyDml+IY0lYM8saisXkOOhNlrCqwr0WOOukw5oOx1IHPXZKApPRip3ol8ndO1U6Pb8Wenob4YAUI7/uCkNgnbWYaVu76bupmA8uO+++V1Mpf3uz8NVzwWRN5FUprvG1jblV1xrHUJeeDrLEUIiAxcHgSJQItPkou+TOpWgxmifK1Fbp19b0UidTj6vvhsA5zCc+fuVncjiq7RAG/kPyfmjBIeefb9cj+UIRpBdcUyXIQxayHn1xsyHV1MbFjWxw4nxNYdm2lHVRUQebj6fX5/HvbQaHhZpA9FYJbrOdvaU/0sMsVmq+LQQA4dBWhICOzLntWril/MYGpY7g0WKsoFceQexMpEpTJ2+Kuu0T3ERCnTCooztosEsL2BaawLQgnjA3K8vfVA4DK6AvHnl/YF6hHbP8WyegPm/G+pmgY6rBXD9Q8THZZYgH5h4j3vvjXDNQXqjOY5bh4v9BA36ty/ZXYdUK49AVmGDLauEe/jaIQIyyS5nb4ebSssBwClngcYB01JqW8u83qEnhR9X5mOF6JXFFoP85SVJ/Fmqqw5MzeOrvpzYMGNLdPbv03ifbPdD4es9OZuUkYGMqet9kPHPck11Akcrqabfzw9uNJxgAlbpcuGY3+hSigG2RHMbL2JqtB9R6XhTvyF4WfqBmIBpDjt2B15GdcbHXCA2jvI1U5B86XtCEieqMqjdo+ayI/rqwMseTJ49cA2nORM/VEAh1p0YFYFwyPuJgbV5/75NuuTUgfBAx3/zUh7DHuasO7XbJWjUzAu2IaRFyoGYK5EQV1ltNxdHerimD0SwyQfbJlHGFCnzjkmN+Wft9ZuswPfykKMXsPe2Mc5PEU3Ks9CYh+uI1w2wPpo96JNldVNrXuMbKuV+z4PoHhGEhzFxTXvp2SEcghFxiaOLRokDAGxXhjbHRJzj338Cb4lUi8y8tRF+yMRZExZdUBOHX6OCAj8dhX3qMCb1TJWKiXAsm/ogzOpdfI1GJc9bPvB1MITntekEVmHetAyBx3jK1kr5Ee7EIBuJQ1WpFxjiX496wwoyM830Pr91vUrAm+5L4VQYtbspn3JtnOQ2YCk9VtFFUyvNthFfZLpr6jpHKTJpfzkxT+5RrgnkSVZpAjqhRjHeWit4loYpC3LjOLZEEW0184D6dYtSFSy8En/ppUTp2vS5/Fsemd8wdCixMt01CX+U14dmSQ4PPsVo1xuo9APt4PVhgBGvEo+ES2MR2HHDyU6Di6qV5j1ePmxhCmOkMhXEGpxDvH//zz7AzkC/b27RqYfSHkb/0TNPjmo5Z+aDq/RJaYnxjZkYo/D5540CKrHQ3C/ROgOS6OUeEqvRl3zMWZs2s2//Chw4bzRl94hMZJmCeGKkhy9wqI7b4ZeKkhMcJCSZ5oEeqSpyfpysUkJoMsjUq3Y/SVB84mzMmj1VIxByWBxAv9mxu8wak//C7CAsCI4VK43zI9jqWdZ0W+lzb64dhYIq69/gOBBV1WszJrRiolkNhLeGlUaH77n2Iqcbr5rMlcP9DXtR9aH5H698pIlqh4qYcT2v2zd6heWo6c3gH3Wg7DhWBotB3eVJ6dY7id4AHqFDC37MEIlWR3oshCCXtRVfvnTVC091fGXzaRTIK/jhjjDuBSXNSIq1fkTHFfJKDu3o7fH32yYd9tWnju2zE+V4noQLBtEPC1uKuFf/lUTXwIW/EjnPOgYzGrzcfH7TwEFJ95HLicOsYKvlhbM7dqrVmcu3Yu4TMd0bsZGIqr4zlZ49Txkxy7FNLZnwHWuoxGglauWJR/vjGIu+8jQUf3bY65tvXB6sh8t8VRQtQwi0DS6q63vj3A+78f4gYQ38Y47ZOcqugC9svbsCCfWwe2Va5BpjqN1sRdxfKBGb6SaMNrOeOr7dJXbkW8pW3xA8Yoe/NfbLISBDONzsmQ+WX9os4LbLYM2rwKCOv5WFhAOcHuL002Oo9vsMkvwXqgjL/h9rdzdJl1+g2SAM9Au1rn/8sx8LMu9YHYCIvVYOqu3m4N/hmzCnqNz4c+c5hRHRpZTZGfOnT5O75ofSpLtB7lKEA707qgjTqIXiRyJn5mUW/sKqr/M6VPlpYOi4ufh5cJvOBLz//u7v3Zs9p6Iekt7JDdfJYsiuFYvPXU15RIvZ/GTc0g5CMCJ4MDApztVxdeTrR3HWjuLKMrCZLRxr0DpmBM9V5MBBON5Sb1Or5uOlQuSXVhhekWyI9cPgmnd08w99OCIO36af6NgyZAYsci9GjGFuTvqy+iEbPlNY4LYhoFHTNHh9eU806pVxP38J3M/eWdz7Cx7F87e3bo8Vw7nCm3xYGFc4vEuQEXBy+E+Z/ADkXCEtECRE8UcIFrPgBH3FJxPQeGALIBo9A4io5/0eXYf/bGItPG+piCPDIDgCs+l/+iAyDVuJrxm4I/0tqT8o8jdFEKwJE3vm02lXF+LjhE2A900IIiZ9BBEtTjcse9Hp0Wq+ilVlBfR9/8T6M6yg3o+RfDd5i11AjIzIIGsdcYminy5L6DBpF5mHbQf1NFiHfeyg7WcOE8hGqq19a0eh5SA2GRO9024MAYt0bD0ySHCdztocx71hUvhfzvkF5lF9uhdXHe6nAe9MMpwi4kzt0/X4J/kMIDlXIF9T7U4BXmmyptWlENwBj1DKEP7DhD4gMzuQ9Ff5yKzEJnwgOvEzXQHVaXZ0p9v+Mg7mUx8P8F7oUQa44WGntEDvSgKUk/QslgfTcMGB/R6tlBYubPBmGtIBtUL+/dqQZRJ6L9gByrtJ4XHEiIQT5KC4HZ+Y/FJJzjMILIn7cZbX63G5dnJvkcNydFvvn+8rId7CfBh4Rl8q86daFDUtzri5mMnLtLQe0kbYczEKp5fItIu+oPmEUKafpX5L5NyMLURo7hlb5Za3GmWsMxIJFl1bqkddl3i/nfcZb+CScxjQfHsObi3iL4xUKkcEA9tE8lIJyLan7sZi6hqDKXjLOZD/63sxRlq86H/fVuLJ37mHqgR2oFpW203LiF07K+LmIka1VL9q3U8tXpv+nmCenqnDtH9L56UX5EZO45aq7rxedMJSvJC8vy39Zzd1Z8LVX6w4YrIwMYK3OOaqsjUKICpujYqU/nBumwMHo5Rbt4UYUAnlLhSC+jG0MFXbsSsi0Zex/gjHGjT/xZ591Wm/fgX9Q5eiZxhHu/T7G1RygP/d5gEmXpYOodi7jDTxbzA/yyr53OpVrLggNCeYU78Cm48C4ZfTS6Bcvo19mRPKUVnGZaN/Qlg7qzuPiLzl3Vrr/vtjIA0O4nH9VT6sA65th6CWuwNzSS6kGjkYVYneBy8lqFzqotkeWBjcuUPrREdBJVSFrlG3kDIpHlzI9eLBMqSbfvdDLD4riq/VDRzU9MenzKuRXN0PMCgdNnqoOJVhmXwu1jKWk6CkoEDPW+g4bcUwhesV8BRsJuTU3gwZoTiDS8JEazx0o1jrd6yBQC6S8Nc/EPPwcmguvNU5vwlMCqsm/79IEkgfi05Z02HqlqEcPk30HbRt244owB+f8AKCe7OjlHQjnhf7Psi8ZiE6YWRY2+w23QJJLMNQK7bGvBvEx84WcjoFOEZ8a9ABbVgSz/+IxmTScpKREaTLSL5mSY8lIZV26o7v+hVYLTl+m7tQDUy/ezKhchfuqfsSiCv27GKML5Hgc9Qq2yRTms+0l7eJpPo1wfiN4y7AzfEYTmk7MqxtXF17Uc6RP3/PpFhIUDnjE0DvEFf3sRjTIAtcEivUi4ZcowyBVgPIfrEzpappKuU3GrCYLsjZ1BqylG9B6YO/tNEu/IIM3ZmfFFlRisE7CLshzWnVWVi6u7TMwSDXU5S201pZywyigAfmMAJTF36BAbq/PAsQKRG2GZH2Qv3+VKx3okpD5E6aCoPuxGtiNEWUkwryWMJF1DupXqPA4Np6ZHaHm/0OO+AnHNYHjg14F+Q26+MfYk70z/zyrQChAQBLo7/PPiXX4jcING4hnQnzSco84fTvxKu9bxpwZSXF81Ymm+hy8JgYDYuMJJOzawhDRGBNuuft49dQw8CLdjKJTMpmEvG3I8xXIwtnldXQ343V3BpLfRzEnSrix7TRV8qKwtfUPBxubF82IQHkhaqESoSTxeiwyEWMfC8dK54rMzPsaWtGq7YFWaMG5bQItWCUFkE3i5uGVbBpc90WUkKio+8J26X4PBkyWjzcrbaoZUMIXvf3Rug2LTDJ53gyYsRPoOQcDqlqRDbXMCK+p+7ePoyh4fgtKaG1IdrGS2bF0TBtQgD+pbI5cCUDV9K1IN485NSH8Jla7pts8XMgRZzDl0ckB53uXcK6LjdyajuJJqLRyvZzWDmm+Waz6vENLjEqFQNb4M6Klg8TLwWHlL1UYEEfBDiR+XNsAqjFDQbf2KOztAPYhhsTaX1ITd1B6eaXSSzCvKHxUIG8PXVvAnxVpe2miNo4IM5tZ7xTEUKxB8GgZOLtl0P066X9dKYaweFvqnUC0Tco/KsU0Myn1v32TYVbODK+W7bg4+k/dNL4EdMSiq79pPvagYR5SW7mAUP87rCoMr5eYGJMh6lorrlWYndr9CxavE0Q2tvVeCwRnaxKjLpt/0OHyRiRpV/z0ZaAEicvnb500TpaAaES5mTIwfQR3SitYUaa1+FfztAzZulK/cSYsupA6gAxtBDwGj+RbhjY0tfoPMvBc+Br4JqPjXPaswX+OLOO+9JrS1Nx7yangbu5GQK4xNCHEtFCN1JtBOqE//Gch0twt8eVdYd16MhdLi3UWWC4+w1vKOCPC2/sA0igdCVnr9b886rqykoEPIhw+xay0nsQvJyrgeMdxwHLGYvDMc0UELPYmNy6zdfkfNLb7msY/2R+g0pZUl0BYOUqFfmXuB1L/qbX9xtnMAyRxy/ANjKOHyAeNutPED/6CunXfbwEmcv4/uwQ+wUoQja3MzA7cUjwzylybk4nYRA3hfXe4NR99w8RG3Pp5cWpozYBd5d1GTYRyj/rhRg7aPVCjhHTd3ntkeFKk10DCwuXi0iUDG4m5zg5BWTkgxfmRYm7siHYD39I0Ae9JBDQC1kIVrkHrbvJD8qwLTJmxFfHhqn0D2Pn+Ko6LxIPLzVnDjee5G7MH8f0jvdsKL2he6EDOOnwsTYAtRhuaHO/ewbtdknvwKBrCQLjlVq5D0Jo8RxZ8MMMEE3O27atxEb3HYvFKUavRhDa3Co62EWMXB3jRKlmCqIA/BAmUHOOTOznVVZ5uOAwZoW8cQswc4lDBmPQJAfa6EgcO9dyw/iRISCju53PAhQegk5gjb6IzAEyNG7B8/XwntAo7tjj/pgHijRDRVXCbP6zx40P8+akPb4agRbSkOx+VgbsUy3AVLrYwXIMLyLu33ITeY1PU6X8z1NRCaLOB369W7RHd6yAlqpJPFfWtSOdstV+CPWo92Pk40J0Jp4YBSdBpQnbCCSgEkvJFKeWESWKWpND10lpAMN5maGIAS6JhOotiZP5r+5xA/lHyLGJws1hn68E2vLGX62leHxa9Dx2XpztTbftrsBx0a9FTu4+E0ZhyULcx1Hw9JfSNUUeiT1Zb90I28o6g31CLss/G+3qT17Vnn/RmNRwu5/v7icvukjrFCRqi9u954TK38phNJYRXEykQPpnF5xgZuvEqpDNh+cwxU5tUB0uSWAD9a6jwowxNw492wbWUjHt8rOB22VqtNk98VTS+VzEYY6cuxfP9eqTvzzIkcpq265dd6J5JdwUdcuHoLGaJpgF9lRRWCHXIoNdZ6Inqkf514WB7RWScNcx0jmJVd0MIEj1XXvBUmVREHU2h1bKs8wzGomdSvhspVdkq5JYm+ONCmiOY4bVVYgYvf+bDWNzO33orc1gBi4fBDkedPKy0aS4TVgucN7/UH1mwtpWrvONGAnJAuEY5H/RstEWFsFqG+8LTnbxaDaxtEzDZlcM0b/8E3aXC1CW2jmowgrRbigKOgYz4Vvun5I36LHtDKW15z3LVcpexuvxFYlf4XfiIJ3FbZOxr6I0aBFa48i5XC5ttsd0cunLoEKu7eaeA09p+eD92oorV77Lw/SwdbKbUDPTnnF37dX97k75RIpSp9iR19SPEXunrmicv7YaVV76afr113mcPa/98Y126ADdgAdgkXd4oVWBq7kwm1Fq+FbZR/BW+NfIFlj1AkXBrz+DieCkGttJPZF75NWtBNBq3frn5xSPhHGcTBvll3Ls1HE3/wLVpAw2MWwcq3kdfhpUxFy9TEomCg7i9hIruGOxyazZBHq55QcM7sQXI3F3DcDS/SgaIcF+pp09BRisOlOayXhBHCZhTaJQmxvNtysQfJyGG6zVsasRQ5TO3qbdLNUTjNA+OQZwhVZdn+VHI5XvaQvp3iGR3ujLtRdTiHoGfp2sxePxzEhF0H2IJ5DvTZQGm88/YK6Q2n6r7c82Vg+JhYbBDpqbQEVgKNKfKYgOfDv1H8qGNFVmlyPxfc0Fiam6w2/b9dAshowTUv5JFst/+0c/7bJwF3CQQHtvx/Pb6b7agqXzmwLJMJzhRAC6Q33P4hQlV7x28hhi67fu3fMxPQ/95og2AEm+uXTrCh+kzt09i0YGMcAU/B8qrS9xBMOsyG3Pate3xWqPwIGKr5RvGQFetcnn8UiSzXYfDzJuHWR6QdsUZldMSLVlknYJk/kOki5tcniekkzkn+YivY0jL4prDwRoe6wTAl4+B3GEjcBDXBEj0VEqXrBt+etys81C4HFvxWxTh4CLjoIYfw6+vNS/+X2llVqi1u068gdSX1qRU/Koqb6Mn1oMKgCuL1Hl1uynJwOhFm9zlT9uigssbX+heDdn8FeRwEdpRFOhVUfNC6rYzUPv3cblYSarPki2Z7vsLf+lWsPHAgcwEY79RP3JVF6zbTH6QDJk7Se4l7DKTSUZzltX5wIN2GYwCAYgHIg6VCr55A3Bf1z5NdKVQ7RughI2FKY/zQLTy6DP9V60qsw1kOXLZOU66kpsH/thhw6YdIiZ3nqu9JLLdPBULo8BGAoVPZP99OQouqkeoMSeICn4OG+WLYFERY6PyStdLiMcKYjTidfLgbe5CiA9ZNV6roykYYX4hbdhVdkaT9ikmNfOlcFlkSqX5xf68sYp3KhtN62ha0oTD7J7OmdJBIXszVRov9+t2VVONC8bX1RjfUBGGHurQf85jkd4Z5y4gYwYyOLKrGVKYLYZDESj0KFiQ6z+Ku0YntvH9h5w8Zuw61S0jDa14Pvs3YDsYrzChyGgJvRfSbtiKzh3zoZPgvm4ka9/h/XGySYY6rMmVRURLeGhzv2HAN3CFD7/a7IZpZaGEqNGHjFKscRZx2m7Yx4AaeGDaTYH1J9kaWnEfVQY3TB8tWkaD3ztM2HY94aI4SwX88YuxxhZTtaii/NBAO4xvWbtm1yolPsL88pYQ++iS4UM/gWzEpSrob8AtAGTjS7gnMUHAnydKxQFuLBumHixSVCMNssYeBwRLmj1rlp48+GbeOqKgDXjJ0S1/RbTWXqqsK+mYZdNApBzbslkWrH9HRn+4/xq3xz66HzIoQq4Q/HTIoVwllNj8FibURH19ibdp/6hzz6/QuQWypXWKjpUH5In/MItkjz7WZuodBYmjKqjm+3kD7g4sVrLcKGNmT271ukAkC7mWWD2jwaL5fwG4SLpVkE3D8Gr2AW5foceWbFi9sZYBh20lsmm/6WAX2BTPkfLKkWOSnOMb3bgZf/PLttB+vTy6C9Ul8nUzU5rKtujsqJT8dy7+fc0O7W+n+6Z/TDhrOaOAbQ4bvtfxjNDWJS+O4ioznUyICuLwWcA6sAHqA3xPPOLgSItOjMotwTU3+HkZCowaYJPL12Qz0AL+hHOvkCONwxnTzN3/unbiI8QJgwrESpbxEhNs+M6hR2f2wkLmrQo/DRDm6UrSmZU8TrSGE8LK5GDhmdHSDOxNA6eS1t6gumX9o8lo0ThQHRJVLvnBqfWNcFLuTAmc1Wv+zckksegQThRYZjLDiiHiWxVvoub2p16b1Z1HuEIQB3vnlMDZ7bhiqXF/AZgpZJ/6WS66SbAdLibw7yGNDXE+d43zqF2g+fVcE8uKQlkx8k/sWg5/5iJq97knFK3KlUZ9o/0LfTApgdhbkOP4YHC86NGHKtAZmXNFUZFkoI+qQAiFzbWzR5Cy/ATSg5w0q3uf59EUO8cXGibYAH5NOZX5FPy3qm0KA3tJ88nry5EBZVEhw1iVW7BgqjIm2fEf1+wHCIuFtPvCoXCINb3MVM4Yy65v9AOyobbWcAyC3LbJkMmgBdjrd2tI9vfHnRGLFT8/3apoH8rDMPwXeJo2Rz0/iwwAYlONQ+3u7+JMNhCR1D49CLaew+SooahQl2lv3RzXUBgkae4X/C0+OSZkH91/lsoFl6HnQ1QglLxhdJL+8bm8N5NWH1VSvqSnIAt9mxJvtO2lvW/uQBcYBmU1bXCGvmcrpJW/NKp7XptD1J5g6DXn+rJB1Vm2MkiLcWtN4AXV1P2vmZEOnCc67rC/avFbRWARYQzvBv8TQ3SAIOPObxT/dZWrJJJ7YNwevcw7uIT7h3cTGnS+sRplaW4hymN0mWEBvQMB6uSZtsgLGWITbVPQBs4wF/IJQdT1ZFlUWD8F0tHWuQJoUbKgpyURjA08MDYfYs6fUVc32jSlmZqwjsF2JgukuJbaB8IVfbx5J5lGUPUScdO3cEF33H6HXG06sAa+aZZYJyGym9P3ygN+fbNtgwLmuug8/qhalPGF1Zl4HS9NxDz5v2ARYrDBQHFm7UqVIuVZxVGT54IW0+BZDt5RyI1B7F/YlPp05FrWVKZdkvPX/Eulwae0rhyporIP4O/AGRHjglWtOIduhd9ScKBtByQOVRIHWv3GTGoOKbaDz+/Y9LMx+oG4sggeAZGWgAGfNxsZg5SWxBoqbjvgk6dXyhSWDQNBTF1Qgj+LDbtuYZwsCUiDadgEA/czx4Pk29oyDwM80n3Rw4p/zp0yTll2o/gRRz9S+iiu47v4XHv2GXSZMh17B/y0/4M2cOXFRq3elYhKv0DNw1AVs+JYi9GhSQNNavApoYcC1Y2+9TCRpwmeDKo1Ve0EQuaiU1eH1AMRoILI2EnLDnygQgl7hHYgboh0erwUXOuwAZTpiKMDtI+PgEfFH2jpFxEoHJYJPrjMnESCzwIOK4WhJL25Vla7wv6sW86xCD4n8JI8QfXdx+KeDKdSSKKsVnxztgSlVUtMtMCoaK/+/ZMxWFNkQLOakcQfwoyxLAs36dZJ3UXDyzzPvou+RXCkckFRPf5QKTc0+Z8/GTutsNq9p3rI92BaCuMZq8UPIXfmj1Ms5z24gSS5qxEUG1odM5HZOhiP33obsSOsgt+fuNYvwCpsVODRjUCCUcKxoeXsRWluirMc+OsKjySdJia2XmxV/CNISYj3ginzUTq0uOk8qED+e7eRKIl18kK7wMR1VS5WWCnS6OxROXBmjh846kU3Fjy2aefBvbXpxwzySW6xD28rz/AGMRyw51j0TJ98Q1n5NtFi9McgrW1iBmkKkwiCzqeAr2gVRXyo2/vCBTpLEmk4dUJCIRhxGo1sSgMRVoAlM0HxSDgGZB+kSccCRtjouPVfD+XqtFECjc8yK7gFu8O1RZUrNOlC4kh0sHnOpThz4W+uLmUQtXSGWokCQ1UhG6njuOlzYLsSi1WjDq4NJvgf4xcxkEfx9upcHylHO7fpqgS9Hahy0Du9JK7kGK55SiePuAbdte5CzmLoEtYu6WV8/oLVWbeheDR1vUc+04DkL7LR7UkBSHPwyVfCBlGWDZh4BSqfFVtxfEZTtxHv2C94usb2PgQiqCTK1YfEwE3tGEppiFs4ykyDpr4SHyrKcXa82Z4ypj5vlN+MeGiAIHFVnH2N1xpCo6XyZJ8QX2//Wd6Hbd8XP+/vyVsxz483Louat11xGiRLIsraBy+0twVD1nFkC5dAHgBmhsluVoeZ10YiU93zvIRGlufuUhbxpdjBIJKe9cdT0dW4KEIfX4qxrjiPx69HlqCXytq8uh6BEgfMVfP8M1LewM9UDlYmKCA8Znda1qU3d/NJ5Ki0bRXf18A9crCd0Bn0wdTIjUmxqfDV8BKWWnkdyNTfr1y6u0JMYaPhxckQ4SKIzy0O3rhrRWBmKaHZrp9KPktL7ncxo3B4pvOb+5Qiy7HEmJyewjikqh9d6TgNO1xfCF2h6hMPAM0SGAwrm0ZLheMOsUZ3rWRWECq/cn3OIITkmiMQDUB/wK5lfQofKRG9jWB6R6rkfNDeBp/xh70Zl8R0x9L1Il0rn3pzuwwkwaCB5bGqsVGrsHi8hNQ4zOSUH5qoU1bc7U9/tTE9KLQh69bjA/XQvviw1ZHtpzpjtNLtYC4EodkOr2eubumTCAwNdJHkeh1yutNEONl89WwRtgH4i7DOHuxVrMu49dKg5L+vjNkCKStm6d7M5Rjk5jwSfBaMj5Ieagg6l9NTmdxShqv5ovxWBhRvvajgby9t4+rww+VWvv6Zvbov08zy3NzGpVEnVqCFCHx2rEsyePtQ2p/QlHx+/vzfshc7x8MWaYb75A78YOI6TpV07a8QS7/aJha6jGkGO92suDGiJU/9DdN5mmUxPiEov7xDxVypyFKitHu6hK/XwC1D9v3qIOhtPHydZp4Kwf8MG9A0ejRQyyp11eznG4gVBDlS8P0HgeiphTafeDcKPERsmqmzlmp0hewrKrpnhK5uaI45oR0Ey9ZSGbL5TGjnuXmJYibDNI5LuY1xUk3clHZ41p1Xde2n4jXFenH7s70JRPbRjxWssyaAhgNDPyO71yJyZvYAQegTiTQoyDR/T400wqEY/L7AJCI4MxXMQjlCVspnNOXkg8WdrpffT5tVlOW4k8zKNEA0I3zv5SQdeI97qeHncQmCeRtPtVFUczMQDDPrT8LU8oU4wixnpdtwi7SwuJUOoPrM5schu5nKuemVV6tlRlBz1ndUSTmn0sStmnPKbg2qcJf/glGm1JjxZKph5YTdtxr1MNxN3pdpBxS94ljmj1YAmCMLgyBd4V7MIOMemsE+WByhOUAHiW1Wrm6jyT+k3bF/FF/STdmzkE3RRm7Bt4SIiNXgoz2WKZYs6h97eZlKsrSM4tQtCXINxvlQ52e/ngtv6BYFXAXY2E7MAwG8nbwSoKt1ZKeAhJeVafoC2ZPFMVaoJjw8XeAYfSlnvyIK58hQui5DFsKC6K9obl0zZzHgVwuwOfuROmKzxqJayrv0REyOHQCfqUnNdERToee4rmu4EfEdc1taWU1CruJ6OYYMloUc6K7iD8QxerPY4+EXQj3AgqelWWsev7Ri7acXpR1NbKrbj9xZDSXcXcMXw2pbqGYVSgSyCovLpbLXC3TwyJ0GhGzLoZC31MRZ27BLV3iTul6uIMTDHgrL2y6U4oq8rY8BZ5RbuJn19BTC71gQcAKWjdFDq4xntjwfI+2pRUUZP7oElxgouOGVAZQbMfHm2cxysK9QkRhREGUhz4LZr2FZdGTlB/7/epQkn01SZ7ScNi3qGyokbkRPHGPgDxxZHuQrul5K3hOJbjGqUeft+3NOsQZT9rkzn+YYu3gYR8L6ru5LgiHrxzUR/SeQ7YKwN6ZjNK2SsKrwpgFjM5+3nyO+nZWxyucq92UmGq8xUaJj0o/E378spuQatFhw+QUvgUSLLfMV1HJSmpnb+xiSR8v8jT6VrfRvy8ean1aPF81jsXcP7Mp2GNHrmCLLvS4j3l6s12MZTrytL8peZgs4V7tiZsLcf1AxHT4X+CgAG+aK+n2SKJSzvL1eooMapokwy6AWIC7kx7y2DteenXjgrVsDXMthbEyCBFjkfsjUIhpA6FKw/NTzaGyug5z1yq5ovtyGKKHwXIReyjcNCPcWr2g8e6S2uAZ8xkbzInzcv05D8MuTUxG2VyDLrlGeeIfgnEKHrSwQXWAqfnVrm+MQ6pqppE9E2Uul904+pWiRryamxCjiVhKh+E48yH5RPwcSnluRGGWommdaMG+MpClE+v8hHzNX6LLKQwzCkF1wUMvSgF6FbVXOB3EfqSqKKX5VIbZmvbMyYA6rpXkT5cDsOb4nOMyY/O0DOD/sxi7511XF+83OyiTdchw31f4Pn81I8BkcIy1+vQ5FVT4V7RiLJwnc/dY/T96h3gflZjw4rA13GVIy+MawWHjF14eBF2cuKnjuqP4HkXL9UaI3q6N6feI0GOrPo0mxZN7qIKcFizzANmUzLTRC6kLcKZyoJbibeGPoQWSlZ+RnNPzfx1bBkcqR6j4HBueoz7ngsoLb0tEapM/TZ3kUpSvj1q2Ze1VhKq2MBWHhRrXT0vCoifW1jaM9ObYY3FCT0YeiyMkm7+wPQm95N60IasJ2ZIAHtCrZh5L1/K8ok5J6GhqcKOAAqB+L+sE5N1f/uaygwoE10Xh8Zza7bm/lVUHtoE1SUKtxjFOA5bpd/FnpVZ97/83tX0K61uv8ryiWWUQf47xAjupy0jWWVbMbitFXcmB1pAlzMO/Td+mRzRQF2xR2ITG+WoVhjdAuTfNmVJf+ACDckNcQbcTFeKYTQ4XLcsGOW3bnZILosVgA0p0076Gic4w+xD06f/tc6q5DOLDE5XXr7Lv3LH4TkTlTiFPq00JyjkQ39w15ANQgIraMl7wC+x6oV+1AlnuCYXlzf+esCYacXZPPvReo0prPkTETmDcA6cFQQf6q8EI01l4CIAPeAebHvitJe5OU9jWnWjRtffpg1072EMJdsnrO/FwXLVrTTQmO9n06XfLcreR5z7GAcLf9Yo5KlyvIyTpAgrROLsKV0PGcOqArZFsgO8WK5bYD0qNj7Q/czu+LvxaRYnKYtgvBYGOuB9Evjd2ZouO/zrtrqB6J+e4p9yJ94mw9kpnkMBy2NB6Qrt+r5vDBaX++8xemiGm3JCuESKG95I6W3e6OCw+m63J6G+oKDNW1aj/rHTKMUyG9MkTOR8IiML4IpUWCMdz8H4Gr/sZyaTrr9XJe1qGhUVju+/iBKBKN/j2++BlSMapOrtzX2gSiHWo7PlD1vXLl+vXQZrfwsV0TnaUNaQTgYWzIG+YaE36tfozwwnJJzC/nVordq1haLHmEMmu9U5PfXcDg3h2hGaAbh3CQQUTE0wCjBFHxjTNyAXUXSUu3FMiC6Nu1Ct12cVa8tY3m2US30X44R72uTH5A5Ah87CxpT4F6DxoLiMaUAu8gmNnpP7PUKzJud5ZW27/+Tma8+sLSIp4QjQLGbWsSm18jcDZ207yQu7K6FdwW3lsH9thHqJZYvOno5NRWAEZrU+b7XUW6JkDRFDNxqXdt1XGcIwFhLzbvFLpbCK1X1zuj7VsxRSsmbObStdeYo2cUNh/8HPEaeZQmPlbbD1v38IUaIG0UHlYpJTr2335hdAiDhSdNLf1akvUdeWnisqu8cvJJjoIU1sx5SmhRYqUbThcHGvBvfAyJOD8huT2LHn+11Oav467lOkqXQ1UnizcOw1j8H5+EpTCdFjk3nJBidQWxH4ctgGaKpZ50J1Uinq8rv7ObpqYOprrp7niNRBP8k9d4s7NxPHQoX8zHMrB5xkjWbI/RnbknNP9oy78VigC3gFNFywF40CiFgl+CmAQBKBv+rENQ8VX5UJjBPj0K8gNtynVlZ/6asKCxy8B0B9yE3oiwWcCL5TxcwV4CguVt/GLTG6O76fJbhdxy3RoXvTDCjEKg5RH9tH/j7qE8OXVyAeiuSi46IGdVy11JHoFUbCGN3tfA7fmpSvLC4xgoThB+1XaQGPaYrQ4ThItPUWSCHlwzVnLpD+k8/zg4TUtAOz863P1WSVRJdF2ZZ0vtj538Gyulz5FYtT10BnYrdXt1S5KAzyAFrx139fBW/s7NEJQcT/VcCcvclBaM82KKiuATF0n2dN8CRluPUOiIUWN/D806iE2dltJfepoJVGWyFBshhtl4XwkTCaDY5CmrFgMGZrJI0FR1egdgxBbnIxcuM0t5cTA+y+SAKzqGttjudYzDy7/ZqL5s+rFIIO8itm9YPzhvo0Y6NN4BKkinr+AdLyodn0qM02W7B1bY13eOYBocQqx9nG9THw9JqnAUOBYbf8v2FLDRFIl6n1zISkM6X7ZQFIJd9BEBdqMPeCbbJiXyqoxznND6seBF7TZpU9kNbts3he6JoE7PuOelt3/xF3NM2l3g/prmYkO6ozT20VYIwed3ATYr+N40aQ29lHpBwSf8U6Z60a09WGcPZoZhpwPzQqlPM7nWQHXAYdAql0SgyF1ScBTI3mC8miflnWd/D5saalL4kqd/NSnVP+pPO7C7+ygO6FKnDMzSX4lIqJ1WrjpaySo/8cWnOMwRQ8ZsWOnM0C2NpkDbvXmba34oMWCJjAwozp7AKWP/tWrE0/jzyhvECBTtqTGFEwbFdl3srOOueX9PeKuXzol/QfF3GwCn6N6qWLcq5ImYsIrGYKoJLcZsJXatNxu7fBAK3EjkhQO3res6+iRLlzGEwlVNYGeWOS6HM3hA7+qjcWdapR1OPKsD9PZ0ekj49a/TYPePeDQwlnp4ELd4GzNsqudsn5tGPcc2ndMqcIqe1dTQePldXp2T8pnx4JLiBgQA0hr/qxoRguoxZJijuKjzsXkDfBU7mOHhqFvJrZ8T+kjV7hbYkr1yXHXdCUpa2DLqHO2/bpdVBnZofLSQButtKtuVBYlEriAsRIIrSRNUnvY2tEZP+pNXBflLiJ7/NLk7V+OfaFA+TXzc4HyICgCBST/dsi/WFnS2V3A4u42/L2A4cs92mVKOvqX6BHZUD06jMJhoItr7XGdtfYi8L3afveIifhdajyeypgbvj/H195ykNNiZMoqq7HQW5R7gmiRZzz6Sb9//E/pOu8kGget3i77vN9yNjErrG5ohSRZZq5j6SzD4ZEY7Zxd8zx4Ol1MQnablvToncVQRbv4LG8vEtLKFHp4YtOWzud+B1va4wsg9y+VSFq3F5w5tMA/kEOEeT0xmvr8NF/GCrvHGtmrps9ArYbhWnupjj5Edv7khJsRWZYaQBiEhU/k7jPDWl8f6LphIRo/veNtQR/170W57QDV6J5S6K7FadicIEi4IminC7GLq+/ypAb5BoevMO2jkm6lFIATHGH4E35GwZHQduGoZKuwDNDFOtdKVm6tmIJvkWWrxCa/VIO5mYgYnDixPfsNTn83QEGDq4tvkjO4X4bhG7HyZdqmLNZm00iEONJJGfaqfQZeoF9n2Uju+YKHbkt9FO5EpszgnZjoPZ8mAlaJaWHmxcfSoaAA7YgC74tGHVE6iIWLMyGPSF4N7tD+5glpFLXg57R4a+tUArIwx8dzhd7Dbp5SCCU8Am3hSb0vGc65GVCOuATQT3bLXSFWVu7v/DCZ/lmbaBSMWIEcWXkA33GzBRPxdwbK9n5/r0jKGV7WH7IiQW6P7FRIC9k+v46x/IgBP6VGWvKjd7LFweTK5xb14pzxjd5f8GDlOAo+f816GXhZIM/rGCgAh972P89P9to7PGcKd4OA8q91ECZi7iSHNrJXRxL3TpTNTbkvDku2lgcR/BtbxBtv9TrDykcap6jbI81AQM7tpaIiNrUD9Gpzpn2arYMpw9RtZ7bcelE/6NUn+ikzQLbW9RzwJp/LZAEHf3ikwmOeMvh9MTyzoOZ6uGjyh8aSllyVzKKzblwlISTopNv80bRgJaj3MIOaORKU30zmZP0C43GRV+sQli3ZVlO+A9eiIZY3j6efQ+4iA+N73x6BciW64aUKAo0B2RudtuMR2Am6STFkDrobOKGN/aQoWq6JN0zqkCl/GJsfNByychKO1zFI3Qr2CAPZBovXKfEJ16jrZ9a/sZxJwDijP6E0A7Uf9YtqXaoB2HlNJ3WATm+50E5DTiasbnX2wBYnUCHxMciW5BCZj/0pCnR91SRwdR5ULcsDCICrf/5q0GbESfUoo0nRfOgFuBUhDqjEgQLam3iVy57JJ+jJ2AJ9geTeUHLSXpYkx/swYeEQx14loL5fn6NaSz9HhaPZv4ltUlnh8CK22tf/zVf2LUQTghRBHZrzRnVHB7ALgwVC90y02ZCy/pQ08znpeuHtPyKtAZgyfw67hQzhqOysQq2BpPpqWVvSNafsQfs36oJGbySXyZojAzr4CzwWsq2jT4zXkY65ZnDZ4SOHFK7k1nz+KK6UInhhEQLx8XTa+wMz0tcB+c0Mwhta2pbQi/NsXk9QDyx1+YmuuH8vpe2ScR3Tj0qg+aHlcGmvxEzYKrvM++fE9tycBhSj00ZdilRR3ZQ23B3v8IZpo2GA2McgZinHk5OhYJSnX/KIABugbYsvJU5384+ZvvLQ69iJ8bhwFIYQqwHX+abejXfx2V8yHmf6IA0kmdhaoTBu+4nPZFuDW9nbN7oO+c558l5aZ02g4bboyRQh8lI1jNLl20oP1Ab9GgcTOvXhkIvNJ/K0LkKp5ErUf/J2yjiT+ebXU6clIvGMmrc4jsqWAuIdEBgsfsHZ+FsSdk5EvYtTr9jQF6VhiigtmmGCBtQ+NSSbuEjcsn5UUJN26SF+c6LwjGqnAbk+tfIPVa1c0KurL9b6QMTkQR7VHH/WIgU8LqGMfqIm9hs3PIsmEWyXWfwkfyw6Uwf5t1NvIYwdckDLZF0QtxPgHN4M9LwlFjCJcrB5fYiHigSt7oZEPbgS4vnzZQaK2bxnQ0O4oSl+e4aLSplfkYw+JVz81Y1Pvbf/Pfd+KUrNWkkauopDVYgHSKGphQqFFfngpygvSnudWO9Xi34eVYIfXwBNJz3gnx3UmnVStdLnKnzMvGCUtHpQ4dWJbRQj6e+DZeoQpMCsbeO6zFFCFCIxxGSvodu9aIy4AnzTsBfKBcDez6BpZPEu4kq5pfETG/DUbLgCo62BTFDG19JHnAb2J1LforD0w48ItKAT+Vgla9m797NyvghjzGgmkRRgs1U0c1dZofH6Q9MGpW2Z1BGDO1NO3PPHSSelxeIk9lNaWwCw2QuhBHUgKJUuRGq8NiMM8chqwZaVADdjVbPvN5KEMc2xAbzs6kepSba2i+XlF5+VUWrHTAJ1a7wFkgFki7C3xm+I2u5eiqMPBBPGMqlQf6p+kEbx0SgHXBDfHfRIGX/jHTss1Uc2+62UI0Sfkw+2gV5i4OV4feCyW/iwJOggJu1zerv3AmRBdPkunQRyqgMkkNG36q48ditZYQMePlTBP+EBkvvhpRZxoivdm1Qb7MqkzkgWj+ugCSMEuc9/0kjp2cXUWLsl5WGT/GObU0Cae2YnJnpkjNWUM+PrxM9NtcZOWii7VMWPCWC6e55VXRIVlA3McvEriZ4LULY788QQlXMQrpBucx2kA1ZdqNJMt4sypay/XCr1KsR/VtdecIH/OCIqb/8raNzknIYBx3x5JgA7TP/Mko1c5fOp4qw9OlCkXbwRJJH0kqNY4zaHOh1EiAVUBQuKsJVlRs9q4TCa/OxMS/zU3NFEujnLE8kZ4vMNbnovLpPvuSac/5fHaKGGOQPlK4jKsipLdUTujq+4CivUjqCzrb1IjkZl3HDuAZZUb4zOfiME3BW1EaNmH0l0E1YcHscHzBOk8mA2sfUjOEwZ+8czeViadGY6xSshOlZto4cEDtRmrLM+T/1C3w0nqi8NFF3lKzhPcycm6ZVsoi8gJ4dXhTPlBxuPwZsSdSNxUMyn0xFP+pas6vh6nXJ1cBm2jiKpYP4+Dqxs4CukhsLIn2ZxKDngM01DmkplXm7J3gnPByj5b3qryb31VoXOfOwxUmhdhbgBGfKIR8ko+72Qg1n4AdHq9DpHdbtMO+TQuYwE6MOcV3w3alTDHwS+Um7q4EdMm3PsJQ39Ya4R3Hnz5WLDpdPRNDCIQMN3jW7M7rMVPf32RHXcjgKIebEtxcyaTGa4jjH9LpwWNi063hOSTjKYSCyheAeqfqYY/U8yZfrWBeU5XDAatVf9ZMhEoiJzYRleiBqoxkG2G9HykHhW/v7d90KbuQAjQozYF/olnDuzynmouhWb9AiNq7KugH3tF05kuAmmDymBJUt4G/TENOEcHRQkpi8raAIE+L/3aTBmkJROLpNzAYmHYrQkG6WhucddCdKYegmuIciE27560M+DrelIzpTnKJB4p+s3SBe44Su8SkTphBSYWvjIIAuBKNxpOrbam+h9pCbFCLDm9HRbF16sLrJbbnN+awQG4AK41cjIU6SogarnkQAm2J5VFJnO8UuhJruUus7wrnfKqA+cF+E9d558V0y1BSgEckzZzNEcJwwdk3Ae5UeV2+cx2bI0B+iVkk56fYDtIex/XkKPyLrCuJm3uG1nqE61zEBFVO7Lpj9iMv8Nu1SkejwtDNnGJg/vc6yrNIRYJsR5tJDdtMufM4q8M5sWJ6SsqyrZq34OPFcC83S4fTqwfWRuv5/JvotKGjTJbSatTzwelFalwqyrtfPhba7IGsCt0Amki4zX3v6D2ll0ckynHP13+UJciXNv9FY1YxhDbH+bCwcatiXAnIoyA7YdX6yigArdAlX8UbI0mqGkEW4dcsYBuUFzPDD2oXObDtWis/qILoL0MxDPu4OekNiHqnks05+Vyl8SAKOgFmOEvp6iw7jPf4uZXwmHXOKty2JiaNZRJe1I8CwU8F8hNL0t9jF4LLuxBYzcf8nPkXcWkNXbVIooYkbrOWxp5HGB9sXD/+7vWna+Kdr21RrvGJz92/HBv79ERtNBRfPXUWs0QDyWLVvYGD07Fo4181pQg8vvVJiTD+U8Xa5VScB7mw2qh8dcitNQ8Mp0WKbmGKDePS4JFtmf4DW8ifmEbkYCErcKjdKnYF2hYz3+OxO07K1mr0Evaoy5Bh3V5zVY2ygm0iQQTLPGsaCEKHGb4RSuHVavDxV0/93Vd9+xs851HtqlTreSPcOQCEaj2s4uu4/MYTrUpUER2U0EPcJ/lK3Y2oA6nwU1FR1zOM+MnEeeRBOOZB3WhAxGugoXSVLyUB64Q3YJOhqNsScI9IskcWcEVLHnrtaYhWsRwK6LJnW6GFXIMUYnCLuTNhFAONuftkISrRpbODUXZ51NVua301pKj3E5H1ZbTk6i8V82FJZdzOYkKuuHFlid2IT55fX19OsydDkglH4it5MNdWCIXm7zgdkq3PoCHQH7/qSshM2spEpPjasiz1uVfx0+9YZifw+QCMz/pwVuSu8i/os+WhFyFE9pC2+0DRLkuvl2bzW3K61Zb7Yb2Ro8uyv1xptBRLi2Q+IO33nHf7EPDUXLKldZTZ7hRgsJPJiAY9rbTUNAucg3QaP8IrC3qkXaCHKImDK+VNj/3YncoaF8uta+h4jTILQdWtnDEeH/XtMOnPs6voahQ1UOk7lD8kn3qR7svS1PHmUqftYEjMjGEfbTFUlxkJm2rE5+QozZmWs6v2UaMGX6XPB8tlGWg7BgrHqPoxamzp1Eue6UnUaNnhRYUdGwyfAXTI8iO401ZomNurEPhM3DMdUiJLI/zCxPbBKk3zrt3K51aMvAO5AmF4YlAXYzEdosP4u+vNv0AAtBK8gMpu4nxma3IjzCit6p9f2CGJ4Hi29A4ufzI5q53njWZlin8mVtgPTMn00agCZaV/Xeq0Tg85WtdsLHFaQEZ+Q/UzzP8Vvhik+eBUgUtilKAgwZHiF5oXBOEYJ3GAOvUQZrj3nGUMbTnU4HkwNTCBWtZjy6xsK6JJe1qf0lsQJJj36eHJpiGweMjlRQOef7hhTrlADPDRPgbRGZ9jf3/MByP1LcRib0cuM/Ri6YasacNx42illOauPAgjkt3teJ6rfsi7FxViRXJIdKEr8Wgf1Ydr7VZneHWbnt3Kvu4dUnTRcOSpET6uwdRsD8eZosbUTqVctHx3i86VaDU1SV0Ydd1sK1PfHS9QlvbMw+3CVI0tiPGircLXCFTbVjMa1BwgIWsxfDzyfizeDmlVTaCHEjn989kfM9gTmdYlcbZAWbNKPshNsYe8u/F+lFI11UMj1t2prjwgkbIAFsxwqfj3GtLKGRw0ZAo4w2XNO7nXaa7OHACY5gpYm4KuLT4M2kh+3/jegLULwsZV8PY7PlOuw1mP4iYQEk4NqVtd2Hv4WOBryjGVvd4kJMHqVfINyWxCiDfhpIwY5MCUl4sAtUe0AUZa2DLBvEI18Efsuyo87O5WOImNw0bdBe4zPr9GdaV0lv0eX9/kq8MDDquHn/9a2VK+DchvnNutbYu4G5JspsEiQQevJ4ifAeeTtZRj2DuKiQmx6OPGlhd3nON+zTwE1N2jGXxPfX//9oRR+6j9SKBq2RgOhgDIIQr+wBVmWe1LYDcgUZuUvbqL+Ktkml417mjnL3GQxsrDgtSV2RK2bNZL7G8J7BPKwL1V+FDSssIHOyZMlgqUpi+xeAC/VIcl6IirPrSlstW91eOJVAX/4okvN5K1BoagmBU99bjmv++xWlfo2sC5zYEqccRBbohcSmS8sBtnZCmvrYVoPsuo93Zw78AY2z+p16MtKK/FSM3KOQSNjJz59t3OZklaRditGyxXI/8cK+bninm1QUwlsm0VEfofS8lQgSny2QqL8BxG8H/NZNmLjSA+cCulr6FOO0gBupAzVlMm1eHxSVuflZ8PFqSAaYp7ARNWyiKmxIGtM8oYt5G5KyyadK2QxdhoFwtVjcKq4EaCSoXODx8sDftGvOS3+LQ+XdruW0/n0IvkOUYrFJi6SD7Ka1fJSc8vIB82Mowq/Jv+ZATz3Z+sOnkE0vKWklpoWkUZZm/+veCyNjlNGNen5HW/9IhjeP9uHB0awazDnITan9KwEsf1yB1onsRox6bBN58gz9acM7yNFyc2HX2qlZ8hUts5gRuQarfQZU5o/7ajMB5F+pMaLonjYPVA0aRfBS8wT2CSeEdBoU09AMYW1bB7IZjIfRJbG8MkrcmbkjDiU/WZk7BhCYZbRMkT2EhAfszThqIRjddMiuPjof+EaIM1BWJW0n84n3YYK+AzcHk6UKckdNTe/MMz/x6lZM3srJ5XqHQhp/5brkDila+vjKWMLKY5lmF8362pvEDDSBSqn5nJwRk9u+2CeVJsgVB2QoLN679TRNoP4xJVt44z9luwqPNQpPJjbuUpyjXvcPtyB2GCXnYYng2J2CIzr9TFx85L3cqD2wxVn3nOfoXnyKnzHaReh2IDOoTJh8+F/BasoVptzRdYI04Dd5oI+kJIBb1MWHAs6zADffSASyLp3lwXYGpekye+86SwJFQoZdhP06gH08FGpDnYbpULrVQFNL7wZr85zqH/kA6SADaYNZr6OsM+2oILg5im/bap9oOe1JkWk3s2H4alZ10vG1qTgbg943VOUoBwHhApCBpBFRF3U7od3uAEUbIFYQXrYi0nmjeZ7hoMIXoMcJ+bb/1zrisblltmCe0vLd0na9YljlBwrIMF5OTZ8M5r2dPAMLd3ZeRoYWSnV4cGzrRwNrf1eiWq3jIKiLj7rcLqmPcK0WKoak/3vGCP9awFISVcmIfVfz97BB96uwdR3nevQIQee/dN15snkE7IVb6gUJbPu/4aheBulZ2ydTpWDPL5GEFQSPDHZOfiLXR5oXdHPecGs1VKr0m7RbDNfzykChb9ShD2WAo6waFwL1sNYTY0u6uD6i8cDXKcWxTkT2lzMx9mBxBdbODcsN4wN6MxUPUto4dEdpGr4RE3IYOio3vrWlCHy5oOJm0wxzc4HPqak5d4cJbj4iVzZnddnTka6yQJvMxXDpV1e0pa0g3yQwwMmLFgyA5feXuZ44+m/GGJfrP42jY5PDIJNNRp7Y6WFTQ5DDNt1e3KOAysOaS3aiCWPu+dNeaon39unEN31PcgV3Fkcagdkzr21VHgfNbPakEc3xE3dzJOWoxk6qXXgZbS439x9TQUSloUeGM5eI0bWSBImKiKbn+tmYEYq2Xd2ZKx/ycOdqlIO6rVVJRY42ZX+davn1YQMSSG36PNGcycO4zlStDPFhetwNGyLQ02wwwhvPNvmnUwTowMmNPvKV3Ve5XHD8TboKfhSAaUyM4Mwd12avn7nOkp6ztKXgQ254TvLiRG4YOxKvOc+0/ALNUCPP/z/tQ/F0A+PDVbDMTWi1K5rvx3KOXxJAOoG5NLKoY2hzEWq4eZSljJilr3zBJZHgleVc1BhYztZqhldVp4VjiZJafsOxLY7TfWCFjpi5xNsvYPbur6gAT7W8GVJQTPAPZx70OQxfnct3ypAhE7mEgp5w+Vp2Ye3B23KIn1mNe67xhEagC0MgoE0EuwxzQoH6M/A1cgrwtBVLXPe16hCUquLMy82hhbghX57GuXtpMo+CxhQi/SSURY1h7DnnC8QuNRQfku/IFYT0ieHzFxyBJKx4lArpKI3fBHsrwvnHRGJzAy+0ICPh2NH3x+9qeQXtg/csuEbOS3XGgul9NU5HjTGJQh8LG6zBvjH7brmjRc/VJLKzgYllitVREcn1ZJ6nZCzleV48ECLRcpzrN5p0SAJEYgY/AoHCpaoeNneZt55raHmrtKkusJbVdMMcxDqkqJdgxcgT3GXD2QoVR5oroyHOGO7cIBRpX/ncML8vtMoIaQqCoGu3rbuFIQETBd17ANrzwrrxYRPObtq4F5pscrKGaS4XwzAKFl0H9zy/TbEPxKYVozM6Af2d+/GN/AnYeuBu17mq4kgiNi/VQHH2k6O663/Z7LEW2kwNLaOoDqVPotc6dLQeR0pyx1oA/lnPijylhKy9PNMi+CAAH1sNT99f5iavVycU54iRe9NOgwnE/OW0G4Zyuv9MZRPSp/LmoebXjNwMUk4IjAiUhxveC7x1hqlL0FFQK65Htu1vC11uMg1UoxInB+KLsV0cB3sADWCaesyeTObwqM48ELhagk34qWDFuUw2kt1hL7cN2SStl9bouwxQvgE/Yq9fNo1Nf2lbB6cEsbP1upwSDSnLbKfWDJtY4SJNT43sSTolHKkWWXoXZwQBKg/9eM4wZOhDPnlx5PZtbZblQ8AbuOJi/taps10DpCzAN+06oY6s+H3XnEtocUkE7zeF2x3Clkg97p3vHtlAD+wNJ3tq0MlpZJnEIKjrIntwdp1Fg7+xtblLwv7ygf/652uqL/NWwc1pSaQKdnS9Qk+s6DXSh+jo/RqISlGUogzXrkG9lwJZt2CN/T0E97C1IBnvmBl5wWpzY55HahWcD3NwRlHSBuM5+TZVU828Bl9jLBcWdlaG93YHjDwXl6nQm69pMZe7GxhgTsdCc6ReLbAUvbn/CjUc+dt4s+AwxoAB1bNYRqT8lpeXNIHXDRJu8d2/HZkrw0lauvZjWegfnMV6XO1EwDPLIJv8O34krt4a/vh0BCcWLyKpdocdQIweoYEI8xjqSZjYqNGrSFtRynbCr8nwCE7y/tJ8om/3ihbRdprIL0gDrHv+13t4RMkHSRTeqmOcvdBW/YfQ0P+DtvmLvlExBCnWJbj0LcC3Z6I+axz5nqmmieOntac1HUVEjwcjH7B0OpLnZlVvtwufe2xkrphzgUZeEPWp8ZBDrw3iZZGXNOCIQS3+TKWO3j1cE6SlROE7PG7kgFDBuMT/cmtCcbWyb1ovLkoGPRd0BaYf/h5nFWirGladkCKXpNWMMRrqiR5Ge28mcw1fQDXoo3c5GlAFOArLp4Ooewpi0RfnaSE3eFuO6a/yuDg2+baIJjSTYj9giUMNEb5qrD5BRNRedNPD0uaBJm2iMKGSrLyvnaWh8zaxuGXQiswlH6U24aS4tEOpk/AyxqNHmgEMCvPHs6RbexyItJDS3DZYPULmFfP4j379C5EcB6lXvtLrOhg4H7Xr1mxNCmqi7EI7WGsPvQvsPOBQuBxspHlKSrswiUaTHnRdFp1M92UfB3iB8sj6E4nGuG5X8zqeVDNgAF7tvhScjLbKf2Zy8tUsUof3l5VlAuf6W3NHa1XsSdLGcGW++JuoyqnkYMPH4OqpBt+MxwEOpB+1yma0ho7V68/76qiKadw2guFABmI/zH+k2T165hF5TD5z42LSLycUaX+DyLcLwbKP8X0M03Un8uhNF0f+2l1O3xjRbkSCtnJswFDYSE9YwnHVNNZW/BOfr/xsM+eWv6ROsGzLpVQ6wtDjmbPXRGEx+3Pslltfn479OgDc1m77QG/oGZyPJifzxjje0LrVvHarwEqSuuhtt0tVkaKfa0b6MAFgwElnwgQcGLadywB4MBlXDosOD1aoBSTTpfaGnc25/391gPtnUALXs6i3piI61X2nbHWJFatDf7xTZk5tYovON/FGe2php+/hpzyykbNTkFUbvP9bgAn5RoEsoKGvl6AcKNcXTZGz0FwJwfQ9rj+emH8YFex7QeGFYSJ0kYTyDipztG5a96Ug5jQcWTY9jP/Jac6KTMot8nY4myf0wwkQ5d2v6Tv58/WN/o2fsuHhPdfEvVMn2WrR203QDN185OGjkdIAoem+kg2onzZ19quZCQRF3Dx8uKIRSnn+OVdyYQd6F62geTvcHSURONTWmCL23Qjt6AdJV4tLXhTQ1uoLGijYiwXGIxZihbaWtc6n2T+a58Yx1pkQCY/xR7ReTi+RBUXnZlUdhSbCwwMaNGM/LttSvgZbE6BPc+FoNBk9tHjXiKKxISc05rhBaAimgd+Rh/wcNy5sqrz3pX+AXc66igN9/UWyI++VM9TCsJFdyYjjjSsOkxbXTWhkBdLF9D6UFjCSWJFbwYIDIaRvvccY1Imvmu6CdYGkTK1kjZ1rN7AlKdS3Al3ZetrCGoAGmzucfBJ3vgA/PwVfdjHlNG6wqTzngKkDY1t8YavoYK/GHlVKVZw3ua4sd1BvZyxmO3OGeI6BImupXVWOS59PjeCc2r3GqXwinWpkF+BqdTmEe7yB9qZ0bBqpumeaRRuMRvV+YACPa3vZPgAiNBjUM9St7ojgLHHILpD145/+mBkNlIUncmDjQHQkcdpvPZQTA+LiTPFqqbjhqT932u3o4jp43M65iDgpUliUYNxnhVnXncpcCQmyt2o6Js+STUurBfdJCVrhJ5k4hgxiEBGTOLErHAoooUHR17oKUg6dxHKkQZTMgaJSAMQ0NsAIy3PhfrRQMHMY15xst4gi1YZ8TTFEudpgTWtxYLhCQjDSHshrhz14fPg4gns7IhXwCJPmahda8snbRJwdIyRd15npTmBrl23qsBm61+OlK6FrlICUuemqQsouFT72J15LYWuTbaHFyEi91h55l+Tz8tbUfjXevKKLjPwiUWfaaIgkTUk0If7Pp2SBgOksty7t/mu3XH2Kv2yHVeMHWPVZmarG8pkMnyGAXMPry6uXLOJtPT4ZvQuyfQ1MEidTxZJQ6rMbkz3w0YvGYjPLOT5Xn3irJ6sY+ZwXcHE1XBbyqKGGTyeyFq5nQ4MWKsyO3wD15Qd86BdLrBNdRf23UlsK2kbZZCE1e6vlYj9IhR9bWi7GDKxQ1kmjjjQC2WOYg3UaWnIXqoRDCEdXdSDu8ICaqcufShfPwF6NZq2XvolJ4YNy1gaa9FQ2wm3Hp/xN4yfv4zfcgzbch4SwvbQtb21XKss1oiavdSs2pkRJAeIpCjaYzAK2T65x9wNaLHFnl4jGHKAOIEKg7cx7E1VnUmrFOalnQKJ7FT5BgmH1j4Lb5A8aGSLNC3RZdmtKMHe+oiKLhwHqd+RtlLr4FVTD9j6Qrty/8fetBn8bqzB6NTCnv2/yHmPwNahBuzO3/mbxkmlkeUbW4jyXYdsiLpAiaDZcBP5ymqm0ouXeOmK+D6gdO7YapLyOUBBysRtnvl7S03YUypv/j5KVxpFrupnFRB49oq9vnQuf9kQz5VoYI0XjSgu4rsci7+icyz55cIddpu2yr592OatBiJMy//s3ZGNrJYMCRaNjVOMBNotfgSlhYtrU2zSyXWDafpVqPHJR/xAJ4T9lIsPe/9ljmeUtKcj70XFi9OHoIJPHyWXAcAHQo5Q80KePcYrR/D+WeWjaMFGZCL13h27FrJkJkRU80+yH4QPHsOH4/A6zLWGfKPNOBfUkvyRoNQ3nF0CoB5FMymVqbVyFtEu0RHYHMrv2vuETt3G8o9kY23UEUpmnGBlu/gmukJNp10K1/YZb9rXqYm07+vUi8CfxWFHWpO9CW5uuO/h2yxqp/z4nUJ1trYbCj5Nk/d3tpOp/0KppwwVPjOKuRA51xWUcgqQ2Rlq/xjdL9Ai38P3HFMz6XR4ekxmPX239Gq+gq9IDVumRy4FjV8MSpYHQ5+3LfqI/ATbbCzHV50+bwIoBWEfgk/+nohlwh4Rz63BIH2s5VD9OLITtaGwWK2StFyfSI6JEcghIZzA4RY9qhwwESIYxT3XMhLpurC2Emah+663hoHXKm/kLiH1T8Ih3uVn4HYqj+Absul3RFqnZ2sw5ZEm+6ykgnGNi2KYDNyUlW4CbNQkBESmO/OE3FwECToFIA7wJuK1D9Hp0J7j8ubU4VIu4LEdw04U39EmWh7LLkNgLlnyv3PfkSh91yJEjiXrBKK0QlaEq4t3eCts+WTAA4lidSQauDbwlZMttfTIBiJDn7g9SH5VQ1gqvMla1QGCiJiQC5tFXtD+DBa3vOS/EsJE8yicYHHHTF4DtjskGEs0JiqY7ZKEhoY1HM2yFu9GvsxqGRQHhfhW6WCkUWu/gvxTUFvsmh0NMbl1LdGt/LduuoRzz+fN1o73JlLHiWCAHS1uDuYKjwamCBE8KE5Sbrop0A/GeUCdfbr02u+aRa8vKzz0bDrY124py0F6bAx6cdvOpU/aO7/M57BCCewc+aIG8wW7JEWsS9gPGjxm8HEB0u00Z95QXWJ5NBzl8wQSaMYsyigNb5IqmezvnX54+RsiC/+8mBJJFZj1M3e4sJ5AQARXuH+xVAloJWJpowE/fenXhqc0/3y4fT9wZpmwVwhaDDIyBPMx1JWgWCqPvc+fOMI7mONXvqygO6RmZRN1bJW4Gp2xCT4gojYJ8bASgaIppWcsbsSJChpTujwzAmr3aS/6+HFy6BXcAnch6P216XRjT4aGA2dcrlbzjUyx1hlqvl5jYJ0uSUhYua6OXzsvmV4Lbw1bln5C99WD/NfrxPyEfHGwQGscZbdskrkskXIFQyuJgUDcS2/U6SZgQfBpdmIKDudVZ19zTkJB71d7vrMye+1bP0uE8QvQXIPPoyvhxJXvo861AD/l02WpQfBxzxznzd1usGWnTEhMXXP2M7ssl51OJEjnujVX5RcbzMhyqCRgxhvJpZluU98qSMr/NenFMssHcSdDeNdFk68mBGDg9SMAcJmv92nRGQSBHp86LYWj2FG6nKaNQ2wYNrInF4ynUN5JSjeRmEksb/dB9/pD8q6szmVmi45xPwotxJo1Q4cQkbhzFoiUqSI4/u6BvIG7yq6cL+nOS4FxMxrZses8jfFWfG+tRPcwb0qOWkqi1xZYqwCK7md0C26shQ/had33roaGQI+YRamFJL8rMRLaSkDA1n3xcrcLmgIVT/CjLm15hMP1GqSzdxxGeVM9zWFL+QqHM5GPGcKSSBzgu30CCXKdoxZFxmEjKXjkt4tslNScC5x8RttOEr9/UyIhUuP0U5aLpyDPaGSYnjRaTPacleaKevbdnd65mlOGlKEaa2mD6lReDB0ExfLlVULmxnJfriseoGRn84ddpFwS5wykrhLcg8wtaFeVRPSNhhBmCgsrG6g/GVEZx5C6D3pYOrE4Zo5fsZt1d2C15CzTu03HO5ytSvL5U45osYk5eH0h8Qy3hq1E4ADbqkENenAXbzWj5mkJNQdEmlYrMMeKezNz3Q6a55ojWhgkeXeu7BJFs+BTt3LShHfG9oaGpxQC2ac37XSwn+UY2/4J8q6BQgyYnD6Sf90CEQP1U2n012VXie/JSMzvX6toKNlH53odDOz/5oTQasWNzTbiZz3SnuI65mLkuS0g3m19xKAvcfwrRIwK99nEKbtIh0NX33JX6sQ2llPdrSjGG+25es6rFndaaQpoRcpIed/78b6VH5bGKXyjXvbFDp3AGjZrciBVUeAyvazNIFxCeEXKGADeMlIJjw9DrZdmZqbftO2pHbnYCCHFLuir5IE7tTAVvkIKEQPlREoKqCOo1BhmVro2IgSygDtn/g9eS28isjDYI8kF431CuoBdEZniB5ZrvZLANo53jTYgRjehiKLtwHSvTl/UKqkyAfljK1ur5VWFYRZUFmS0pjn87xe1+/9lbQrIRi0lALfbtcobtJJbWai9PYZh+kzZRtzd9a7ZmMWj04ZTcmHNejX2Aal0183JlCTu/WAD6TROnRG0X+LStQC6IdmJDx3ETdLGYglU3qkT6WKrvaTFp7Eo7pCt5VAmGLTbzgOMU9ZIKXzt74ZceaI9fTsO4G5Z2EKYDxUKbr8UxRfJRC8LKjv4CvPJAvPQMkOOY7UeMbCRHtj0ay3P2+QU6Q54dX5/Ik+nfgPJT5Cxeoi8AiLgaZkLM/Ccv6od0phWOMVQKg4bRYCpljtWTOvafKRkPcxnDEgxgiKiEXFdS+2bnKofSTUP+AE9FOrz/xYFGm3dRiufMvCvsvOEFROkKTvADLhLEFYUXjC5WgEH3ysgb7YSJV886qgYjx70V3d8fFB4H8cw74F8RDoEF3recrl1Xrh6/ZRG3JKtl7aI0Sf3mJoQdfIyEf0tMonlPkl7Ok9dQsENP0vH+BmnjmCk0I1Q4Btp5obLkbi2MyoMuOyO9uTG5jhAeu0ZA2SSE7sPCaB73tyzU/oThmYJQ/Nsp9fL5gcgmAH9a4y5pk7Ud5WKK+8HNu8erBhPVK8jAvd4BIt7oOyoaxx1FU1ByQSZ5mJ1zrgiQ4XBLmsajXgSVsM9PoaY9P81kGF39anETxaSPCQDt8uI7x/w0pjg/tiunVkYAg8cKazuxu1/4EX94X9tnMEUNbw2QhRB9Tc2O5Gu7lrrDGwBF+/3WHDsmCCEzDR/BLHcR5AJBIhdV6De8dFrfE0HO4HKjwzhfqkdaW53m+Rieqrfzclp972qaXXU5F613jCBjOgVduMJoqy7zB/u1GWxfZuPMs8RpyYsCAGvSaDSkepgmlZDL6o+zL953N7FXCsDNXxNBQ1sTPVr+tHkeDBFGqACj1minYtEUfvjfOLy6QgnLRay2ih33drmONxdkzz8jwq2xWtX0tS9vLdUW8UoCj9+/c7nseOwEm6nPBZo0BPhwDeR4uYBx+siz0KGw6SU8YLFlKqgNfhZ0l9o8uAZxuI2ssqQTxw5WV9/WO+c6sJNr+KgpdZBBdOPkqa8DGti8OS6Rbh3duquxR3v9APD6PcmrUyhYLgnTu+WWQ/nWn+huBgME9m9NbrfSk1fgiFEUs03ggkpiaNwVJYD2ewsa9gYxvVN8p1JxX/Va3xi8DgOtdFn1YkUu/jcCJgjqYF6mbF1GZG2+DC7rBHLXSQzzwwJxxUSv6zHhd4LczqyyHT/4yQozQy+0gjpJtYJ5+9MwLHnPmRPQf58WwA1Bvl2u9LsvSfYH2v/d5dzJXbaRgg0i13O856EMNGexVzvq833RWugd3lkDOAgKz6ICQPPhqXpyq78+1Kwox5iv0tmE2wBUbkKALtQ3PX//i7xtE7f6tRoL5jqcPfeEMH0CfC7jXHPZ+g79uejS5DQgYW2NkJAPrQxdxEAH1JRqBlri3geVtb+ZKaW1PlylOm4rFCDsYWbbJewz9WSCdTKaCQRyjyX+sWurUvbWN+1Gi+Z5lMVYW4mgrzef+cNUGbdNZikiyrfSpZQ0++BGtGxAScKBhdVwEKSaLMUL7QuRg4f8DZJz6kxXhajIVyKK+dC5R5AUJl0itERLKLX/LgQZGniCoOcY1wewk69NFlaExO5XvN9CXrf3ewDW3/SSCLcsosc/pX5HaYSzbnosgkPBdo6VjnFu7MFSZ+jGIZoOMhcSIO+LH8Sa/YOPwoSAZweiTQW1nyi6RcrGA2Gl+eZRXBWox9Ze6NbwwtAKypVPBo54xpPh6nnpmguva5VQ6pq9+Vz0abqKBFtiT5HwStwk08Mz5doiQKBvZ2/W7pqVtGtE3r5NsPHhv0fkSyoNzUJe7dRlN0GWEHV7oAk2GDcDSo7UZ5hPuk9Tj7J+ZvmmaFhvNLTCGxlXul1JrkBtUK1hghVU3xgeG3qCEmAg+V/Jd2nOutQwYk5VvplbZrvn6bxuLikOWP877lXlNZPsCsqHj4/eKQsIUYzJXuk8dBbxJ6eLrfNl+xzNrU5KwXvQ7hzBVQ1IpO2KQ/ikaQKiomCl0ltCNHT37HmpcmDHoAhtVMxgja4pmyVoVtbaASvk7Llbh4PsR6fO7N3xNt205ykGbKlPV6EwMRZr5AFyLDavVo42RaW6S9dQUaaVfcJ4sriWmRqMpnftGUexpUsCCoZtcF9Sh7ehT2U5+uVp2QU9vJF9AZpRehYmdxWHXXLflY5d401BoQeXLdTjq4v/rfpjkxbpvymV9D4AuP/PKUsAXMU4Cwvaw1lZob53DlZI8PMwwfdk7IVkUSU3P00UfD/e45a2/Qwcn961lMkg65obQtx8DUQ60JHBGMNa55Rs2zMiNvq7HNtU9jnpAbYVUuLl3A2IxHEKhjN4YQax3krhsHzjRMGU2xIlWUp4VEGRP2xhicgaAnAWqtZKL/ngx1YH5yHDr5fQgFEBTJiIcTJxWHYXj+PQwy+Dr04TvDlcwFaaBcO0aS3838+LeVK767t6E38emMuu1zN+BqG37fepKk0R7d65Il4cf3QvLo634v7TCw6YxVeX3IFYf/8ZqpZdwags5IcOgTKJLRkEdnIRK/fSCJAReCasTXaxl3v0wTLZ3jkfsGbdmcEfjI2v4/FjOPDQK3pyCmHSn5HMpVIPk8MWsAylqsB1eKRA+VVELjxHhunC93kfDpIm85a2OZ2D5/bXbaIYiRzXcUNunM/rsYQgC8njB4OXg/SSxjQ0VuNf9JA2KJcuy//q+5g6euqRyPP0FaWut8Hv+SEEoM/pgcD6j3ww4/ZaB/ShgljY3a01e94Gq9vVsRAcwNch6ctnOoxPJ+EczL/Axl6dzl8rgi1veMFffCRFkQb9DIInlH6iPpRYBYE5NXH6g9u0xSVC5d2ONujMwlAA19li6vbAB/hAxsH0rPKbwM4w59g4GHeDgSUrU+xbBjPG1dJo2uaDS5B9ec9rontep6lFl3MJkgTltgU4uLi6nrKiiXOoPsuodITMZ197g9a9kncXe0LtHd0Yaoo1OtXDZXREVaUJdHmxfQI9Dhfb3vX20L3VtLAvLLLwiKKH3Ja+janeEHXIF6E5h5XrWTVQYx8wTSfJy7/vT3WIX2jOs1rrX374QcAN/OIG31R385Ww8J1b6IFUB8vaV2zdDgDe19HJ9OO7Ohdpau0yk6ExxazF6OA9uAPz58RR9W/PCq57rLIhv/8MVmw3VHjchSaALr5mZa0DeNvZWVsGxTJYzMxmu8JQUNLGRLjKgWqsXilc0rOqMavyFWDrxGD3DNeLet7vPj1Dsce02D41cqC1sBucu/yRrV03wDXdmUUAgZhL9JIEDEyOZSNJnoyYnB6mu5HxpQGSWRrOC+JIvRHrv4G5qqXrpmXfD3lgR0JSUj726gnywtCQAZDK+GvrF5F5B7JRKpQNKj6a0SWER1G+jc0A0PUDieeQkzcKBwhk6Hf1Lq1jJtUVmVNbFK1wT6qXu65VP8ArwIty+m5W/Jl6YjHKwEt39wI5nyupEYt2tNkxI+Ic480YOITk30rd6RuvfwPZpv+6XsJDGUfwmmwB9dObI8FZU7BELc09z3WzKPCRhW6DLnQHC4YA4hO2cnDcveqv2rkVjWyZUrF7cCF144H7+HL+B9/lwDFrjjeI0fgaOLKglKfhf26J5jdQLSmPT4kJFMTnOUTHkJsiDZM4bXoOan6OxNvRh9yloJ85VlWsnX7VZmJ7LRSEVNaOlwSiTUvs2kccKB4cN2dnvEB3AYFtlMJHyfpWksrk6p+xV38H6mcQ/SZTrv1FIgiNHXJEZIarKH6F2DFstEpiiAJEjAL6bG7SthT+13y6gKhXSB0naOZs+Ob+WKCG2jvbi3sxS4ue2uxbwHT1faPIK8tETqlUtZt7fplC9Xuip3agJjy1oDH6fVjyOJT21YqXHCyQ3cse00UDsTrd0PbDRpkOJYG0e+aJvuXFwCyuhJpfp25bmMKq28g2qcuZsfea/MJLbKxjlnDBZqRjNwdyfLYJ4gHq8wZu8WsSGcyFKT8ADtYjVvUwv9OVJLgl715VniMK7L2z126XUvrvp9Dzie3yZUcheDLKsC0DdW06qBvW1oNqWFf2nGNCpkPqC5w7cNS7RcgXZ1k+7Ne07uNNz9dRjPPwp9UY3JJBuC8uyimMNuuVck1n5dcAWGhl6BeyNQ8/hKnNKR6ZB5FbQ9WX7+hUPNL/zxGZoyAh1iCtC4VrhwFCf6ih4yONNyz77uYeURg1KLg5rlFykhAQGjXUamm/wTGXDajV0px3lzK2pyQVtkuTp7KmprSq4gqwBakipnrQuWkOQOUOnTiWJKF1Dvu4e+FuMKZH3ebwnVn3YgSFe5TxVaF8gwhfEi5PiaWtZO6evA1S5gocErRcdXD4YX1UNftYWfWfNnpLwE3ifit5SABhZpuCud6nksmhHUvomj/An6ch46xq/67E5GBqUcmPeURAVT7A+d2+lkEi7WVN2BFZcXMhTTAWMklbRd3nj16oGJnY4cwSgGHZgokfDIXM6sCvfLNog0pX/fdZvZmidES2TPHNgDpJNdXtuptNb5StoSBS9OD45wkRfYSPiMMyC9IWBA27+REPpDov/XsGeEAWeCL/bRDAbrYCtRfx9ZGUDHYK2RReemHiNeXndH+dToqa3IIrB2wmoWtD5XAQ9lRsIgBnManNmWIpvbkTAzsO6e2a69cP7QhnGmck/FzSMMG0pZwfel4SeuWwAJUrv8W2gKR9krPVGzBVN4VPreyfOSAnFnVOXqoMdYzt8tsB4Ly5HhQMaKucb73kWx/11BTmTo6/LjF/kmTRHgYrlmIR3jpJdVPd3ZGNQGxS/2azL0AZPP93+X2A16miKkXHjMO9P7CAKpZ42vyVw3c3hzxCzkDvFPwDWMLMW1RlsJjhUUuLQcVUMYOds6lYaqotL9bInuCTlYh1i93BI/ujWKl8ZaGS+n63U2tQY+7eK7tYYxWv80zq/ncoM7ISMsR7X0gBnVxjdsA9Nk02zhadHC3ToOPP+AxsAR+5W38f9/qGxwgePli8CvbR+cQ7Jm2TsCKV7Q0VhbrXTzNO4dAm4m6XYFHHRyAfI04OwmXjN3tQvkcSOx2og4Doxzm1EVzCPipBWJNeG376ULpt4XHWqFKEc2iOySfpWnzTf87VMDwiHurCuXfXWttb/CL4CTBXLsWJe4aVhRJs0ywmWjVWKpy1rpmvX191pjSwjycUTtGLzOeliQQtfRPMBmt68T2NIovWbwz64Dku5ciXDUpVP6AW8pvJ6ofBgIZ6zu3nosQ18tZhMtGq5GdrhHBSaVOl/Qe3s7SOcxHcXp7UutId6q7ufZYK6p1d/sPHfh0xOXZNwYUBWyXVuewmTSfPAYfNJFM4xe5xjzeTq9PAE9qFh+nF2YOtsL+jntPsRCiqAqfCjTzR5tVm613pxQpMJOAWhd2XzFhsUkIfDIApEW3qnQFVd5WVf85Z4+2jpQsOY9r0m68lgwU8j8nHX3cgKNg26EUzkkoKrzKvG7smivIaJ/boLZNZETCSZo1ZJ78QniExa5G5SOGsUD3z5KD5NgYacMJUU/gD7uost57BA/iXIX2aPLlooGP4ROn4V1Zc20rLw4kb2zN2dxwXfQCv3+X//En0dqJVA0uL9ujuYn30Ns4VBOv0nEuomhVEymTYtdnon2ENjL1gk6+JEQNsXWSzzvHe6FkszlLQUGp+tToefAljz1RwF4xtMmh1Ts3aDi6DWKWBnTaf9suf7AKJq2On/Z8xZKZDPIFoiyk4EYEgJFFvUYBm3dN7e4J8zPz16VZhTpZQWFZ4wcOalErA0O58U3jP3VyWl6YLOz/CSjnSmuLfHPzs2avdv5JKxShq+YicEId3ZVvmhJBZypJVY7ZvquTihMJFm3/vIz2c7JjFvLmoocAZD5XjLiM6kBLBxcjoX/+rKz3EpcwUcvrzIoW8JaYBLNKhroXBw7VFpqpN6zqxSFt1mO7ZHzBjdd76UvUjhTLbwaGVFlUe3l7+qsCoofDJdCKFhA74Z7kKcugXklNGHvaw9MpwYDgazYJepDXwqJ0rYXhiUjH2B2wZ3R7Y6H9bSJMknh4KmmCrfNgFjWkoYK063JBKuJd8/z6lagG3OtRx5ngc57ct8LdHpuIkS0riN47O/7dnugusGhPeW0RpGVhZTb8lMx/38oziJlEaJMsBCNAbOlxQh0z+EQIqG8uNl4ywdITvCETEM0tJ233DIJ/f3GfBVECnREffNaT4tMmTHxOCtMcCA/vLWK5xgP0laz+H/1lWbffX2KKQRZB3DyETZJSaDhi6OaakDEmCsGXAKP1WTxwZXqj9m7U6HNhxW+gbFhrurB6HkuHDsQCaCoCVWPkk5Sy9x+TILSUtn7aXp5cG7raYR9QgcPe0r4JS35rligQStq16JwvumTR7J2hYdqsGX7Kpj4stZxfuYr3dqoDtGU9Ju0WCe+c5CJ5C5NWjNbi1RQJrBdjG/XL2PwPEtj1U4ykmIyFhwrOg3dBzEIMF1YuO0SAoECdsRo5g3UDxi+Q0T0V+nkoxnuk1aEtQraVF56cAEoN31hToZLQdTmLrxk0/OjeIgJj/XUeeuDIo+lr6jzCj1m9k7dAHF4thyDcYkdXBUmq+kRUynNj8qi/fPBIHLqOlIW/uy1LV6GjdKLs3iFiaGTY1EcrrofRbi2PdCsgfUnu3YfCuw5E2K5OYLAYcYwlfg+4+ts5wVEA/yiylDl38LGhaHcRrFO4BjHg2DjrCw7ysLcqpJdCP2RdxvTAYacUMqcmkN4uoo1NXeZJCTZpnu3iTBcNpUuBphr9SCznjuloHvSTdm5hqgCGXDaYWxew72jRlVvJkMbeFc26cGEcuFd4DN6HX1SDAkuseTV8VfgrzKqR8o0Amc4Tv96oTkrc5Oamt0t2mFuFw6uOdR1u6OJgnfsiqyFnAC4NznuKcxI/5Oiemx34uUVZkYN1G6vRc2zaG+bhT3h5JHMqMxPuFAgvvFd7V5wQiMrTXozbxfNiR6ogLkVoqUZICi54ML8dvkLUm+eyxMztJ63vJuMu+o6c2TCV3LgkRxVqWQsdU0+p0K925ofM01eJDdlqAmNIJ28rlWq9WsEliUyGf2LKXjLG4/ZOf4no7LcthY3dq693ScAz2KojGVtSuEjvJc90Oyv31oaIfpDzaB5p1+oYT1vscI9QYQXwy7ajNGnSHpIpU7BWo6aniRs8Z3+oHL9NK1xJ7OH4jnVnlIwhBNcK7/THZOxSXs4tkzmX6ZQy6Un5tdHtNW4+mfYHvkbLX7FYrZoyRS7DYGmwwtqBb6Bl1EuenjO+zHPgw+1lLxToVENUIF2wKnX41H9cFgRSvHUqZMQ4XwgKVBwABaPoLjycvAa5M8glZWawfLIJLftlLXYQFOcj8G8wNfmcUXux6UQFNEqwYbn7KnUy+MYxrMEag/+mAXGeFhfgH+4j9P4OKTGbTmysf/hrkpW5WD8YbfCaFJGAoOVqIeXyEYHDWkeGWI9+RJOky+veK2GP9rkQoF/btbsEXfX2bxmRMBpQfdi6K9MuOtWcHrBsoLYe0u0bR+C4FaTnCsw9bPyGSacv8Wucc/qwubx2bBDxWNuuQdGaEULFsPwP85swUQM48qbYwpX+7RuGBS2jmlKbQcKFlmEomjA47cpfLI3KfhWZGPaPq0z96ILqO4OLa8n1aKvu8aPs9oqYbPgbqEBsZr9iBJpUz+3sS4/vF0MAU6em8nFWbesVAwK/G8EgK8ev380ZGG1y5JHlACB0+NuUE4VEK6ZcmYUKU24geaYZX3GSUNgm2KusBnewKtz5tLqrSD9/qcPqPUhQta572D85yOYKsy+y2dY9dKwyxPuAg2VV4vhp+3u06zn1V+gTDcXG2ZogH1wAV6MdyqB3G5NjNC2MxL8Y/4gLMwoRxfBV8sFvCwYvwcLdDCZjI/gA3DAn6bfCbLUuMwG7iNb2IQ9m4slLtJ+MEfBZmxQzZ9QjNdpHUhB+1x4uGuUbIbzrn80uS0bRSafC38ORE+G/N2l+WBFf9f1jFvJ7b1JJkHInH2UUYIWsHDLBzme3HIEB373HPyfOr7DuMgpvZupE5LGNlFKmY1Ycl3kTPZJBEDIsVMSNdgEk1YEXvlZzi1Kq7OgCYqZUzsbOYvYQodUv8fmsPUFgdFlbTlE6TSLQRFLUl+vgoCzG+eKACIboYwyvSUGg31zL9pVTD1KAwDQWjJHqDgPSStEVWxu189aiOOblUJFitENUG13602DCgUaj/564O6QwpRR/eK/4YFWamoVh80CR5pV8qwrd5NfhBhc4n/jjJ0+zyTDvgOcAeqoBQoFA7w9pvFoJWqgMODgRZD1er0Wnh+0CXaoKr5+e7fdUNGMb4aMrnI1MY5A/YjVCZiauSd6kQ472H9YNh6ioRccpLc+mzEGe2kwBJU6Xawe5sb4JCuFWlPrrZUT+2MrR/t5WTaWzDqmP49hrnvipRALoGz9nB9DjhEOhp7MnITau7TNuZ+BzZIPYCJme7FEYW2fChv0hy6UIzw0oalv2WHoVOImXOB7XU0zIlr1bqIu/gutxizpDM1kbI9hVcjjwaAW7tjU4aFF7FLD20lCpnL3373BkPlnfPH0CZ/ThaZJNWNkIOogDPepRgOrMO2whwK8TgB578fNPEy7zPfrOOJxkvul7g85wMMD2NxpgphdqL48ULmygeDKFoRHQected3ndj59VfxLau2GvT6ZzC2hDAu1fs/K6+AT3SeKd34bvv7O16lNfc6dT4L3QX520gAxLhLIa72VsmY22MTgChcVOe+IfIoLI0UQbQAlTbGWpxpjDAxNai5gokjg9vk3sdShBVVf8wJkrGBKmFochzD+OZOGeZbX1C02Mk+GN+Yc3ZXf0vxLVLFqRUacZ4pWcRfTngG3X912CkR1seFyr6QfeNIvt7KEGTMN+aNJLpcAdzgUMwwUAQwbZpCpG4FI2wacwVqcGdJAuK+n7Av3w5DncQMUs17+xM3k8rt9osdY8U2OfrEcYWBGM2cY/DVL+p1bv3NBab6lrDKLrC1rghtoo26kveGEquaPadYvItUgBzp4vhuJaAi2zgdbkZVL9YZUseDSED37aXk+XC8Lne/5TPlsKnuUv/gqq9Lmo32JM6n/FNHC0U+je7VGaDfSYsYisuMfOcTdPp0UQfTbcE/3l+aTE1mg76Frtlh3v7r3WPMXenzQ7AdVfxczUBqgWNcaSCFflsdpfvyPD5FR4nuAlW/71mRCpSXE9d18Qci40ESaMhmkDffOiP4OsvVzjg8vyOTLVI2FRTrApksUmR6kQxCosQVxJMN/7Uao1ShFRva+epQKyBHRq2pwltT7T0xbAebS2qkTu3rH4dCSHQzQMlt4o0DDFUIH/yWzKvCLemsBXrX+4FEM/bTqJIBMv93RvGSEy6cPEmQ96qYXiMgyhGCZyhODtfOiG4POMw39Vjduo/5HrUOH2w9jXMuWbenJuYv2KWojUgi0i0jxWPZDqEZj1f2q4EDmXYWERYote/VZEjQ9ngl3Xk499MeB4znxdNeXu2VcRDQ0pZ6ouGX/IcYqorqpJ/VKbDC+btPxoEEf5gArkmOSaApHYfuKEq+57gRJYmQTkTkpkLaX8EQ0xCU7E4LpOn8CBNGi1ZDi7/AOvMOvc3YLOl+cZV0zZ+inTlUdY92MkHTIDrXeEJm0tizx9V0zDiyZt+jqZekWwON+a7k/F/SkUC/cCwALX3NZAj7L7or4VYn88ZKO8u4NCCep9TqTM7o6j96ixQ5OQlEqAaFC1pspfgciMSscXMd4wyYzPIecUfrnnV8TDmJzwS82nRDJDDDOPvPWHxq2NS32iYZ3EhSjM2XVVa+S+hhaoYovfjU0gcBz1Kb1BKdr7bAyNsMlFSalnofszp1L7YthWUGSSlQcl1bNHKlfZqa2ZWUDgfRyZV677woJMCk00/9r/uT/m6F2O+XGSx1AMfmcfWRHc7ttAPlT7OxXLi6KqSAA5mSxJPi0UxX3Of3bxDaPhurmYEnmEGXhcTEvXP5pP86wZuMgOhFjpxk7foVR5Fa6YjFE299okffjBWLdGr24RcJMJOnn6lUlLH7BdQaqgV8rRyS9KVj6lBuQtXOMftu1BFQ9Q0UUDxGlHYRYTRdimG+K+WoswSxrM9VwiycVqkvgGivWWrVZJT6YG7Ll8DM7AQxc0ii8lwKch1aP2+unC24eYmzbKM0Qb7YSpCkOMxowfYBY76SPz+wgLxEiI395quynh9zxyFhLGzVLwPH8KItcA/XHdXV4+NxtCqokSnAOsNeLDe7p1ZMOyt5ZFr4JSGc3fqvN3J7yf1IfjGWA6qoj0WieeZPsQPSNK1f70HaapIMnfUano6PkRjedr0PaNYCuurivxO/lSJHgmmw8mScwvS6SJ0x63eU7gbORATjeL9Z2v6aQVtcNOtbNMFGJG7RpiiWQ46e/EqsgE53j3DiTo0HzTHHFP2AYxOUlMLC6lRqKLRFFcQo3uPK9541szApdRNdUOySXbbAAGmxkkr593S1LgCk66aFb43DpGSFzmqpHs4LCp9dwIrZORPq3gMcIdcBMjr7WD6j0mfaiIOUmDNa3oK8YdyiAl9L12BbMeuSj/KLOlMjGJHhO3IBCR+UK4q6iasRRwYqGV6Mg8KnI1N1uQGa1BMl8acWupdeTNr0eNSyrM0erweFQdtCQj1kzfnTTpxTbFR5UWpXE7Sjkfs0lTSIXx9PjYb6pOapDmyMlOMnmUzt3FyQbNEbyGHhNqEWIwJFKqjUEJlbVItmdULesQ4hU7BWZK/ui6tOSO5XZ2nwTIZHCap9rVYELB++qpyqXpXr4xsIJguToKyVT4Ha5HdGaXi8XFKDdKOTvuCgTcUYGlXqYnDxOCxE07y9KpET1MEOCKyrDcVygTtURBvhznKqmeTel0RUz/d1Auoai+3S6PR3cTnkYS3Sa3RB9r7+5JAK7z0h6ifyrc7zEbvpuOoBEqDt9KGEEYl4Vm8BNPLeDQh67bzE76AaBR7N0dQImOtv1NvqJhXVqyKlZv1Xxx6yQUqVURaLRA7DODH9MlMwWhPuVRmpBMsQ8iFD8QC1fWlFQroCcZ8mS+0oFQwYp6Wgqjb0qh2vVdmmSD6k1UgBd0RCuYDWmooke/+qEhH7b+Prbp1KYZAWaTm2/vy65+S1leF/JCoCvwfq7dEANBcnc67dFB6DH+fZe6ySrtig58aBc2yFFaECT0enr8JJZHBdNNTQBBQUD+g8KC/gvtMUtaljB1z7tb1ey56kjte+v9HSHh2sPnEKe7J9NnGVPkIzisRY2Pedrp9/BqDzT7sKCMhTFllMmRLxQK1eopXy1ilhn4+3W1o/2FHfjCGu32PyOvxTTY+6dATkupUwUIyXXtvdvouZVvMaACq0jigdofTpO2xF8gfzsW7v7R13EjErEwuCmjTjNgAUIkbrejqmhNqF4nxvcYweIh21xMIcEK1xGENotyzlIMceyGMI8isfPPD4xzRHGOaBI8UCMlqZEeBIStW6U8LxfiUufjc1o1BQskRj/jnT/LmCF93wlZIDQCGhL9MTndtn/Oj8gnb4IyjHYsLqI2hQrVkSnfrAgwY+nXWIFDYSl+TsyHMugxE8f45l/T85c1lvn+FNRkumP+1kTY6Qmakh37th/1DG6FDrpDhTzZGxcdFRRngcpWGG28sayJLzRz3f/2yQJi69sV6bjHRA7HWJIiQbqxoD0UEaj05Z7GSFiFN3g0tLPQgo/gmIDp94Y/CYGn6GxLKgD46DkXo9qsCyN1Q3yys+9FPILKd+sgfObF61bBjfv6mWRTT3jxCcjoJuXGwzseksPXSNqqWSFAccWLwwMBXpHTwKY9onMqEus1kNAd5xEgRmshp7DpoaLxFIfCF0hTVJniwQXW9SH3WKNSw4I8KdcWxWShI46qLrIHROEaP4pBx4n7NwEYQEB8h6f+UvNUrqadneLpfPEGgpWPkAoU4H3ozYnqH9hTkL8jJMm84yXJBncF3X6bkn3rSx5lzuveJsoXJT4mm7GyH3WKdfEP8zcHsJPA1qXTdluILj1qpUsb/6Ev+mWlqi7z4BoOT7RT1DsHIkXLXiyuqUheemhfTzXkzo76YVybQpwjaHbpIko+TpfCpbgMhN+PfhQUDZgjTuvAboQ1NbH3RquDu0DHUltvPeTEa3ygac4e8a4JnrBmK+7GNIbA1l0Pgd0AyTzO0gxsoqs/iJaE1zuaHPNuLcs8PZVXXURrggQbpaj4SFBSukaIS8WtxG3BK+fN2st0ikWVyLFuzIIYKnJV+e9+N2pQWF7i+Vtmt9qVQTJIMO2vDHSYaEzjZ2cXUKaPLOTQ3NUktFHbojSqGTArbEeO3bKEUYGRG9gWOBPD557MYICipg1GSQSh/7PKd5nTgS17kizN1tZC7bOdsmuYxHXREPDESAd1Pegw+lXucnNNEQA56TIEYLQtEXYHpUo3RxP1YdhNqTHI5kOu3FA1NglfUqupS+R6dszJWuSp5etXDKbgE+AhfVyKTyk7JmdaWrTt47BVDBxp73O55uokIE/DZjyN7QWcq2aPh4bSuH4AXYtZd+V6F23+fsNnytLlXbmUTC8zghZisf5npZm5uhFDfbGx5EuUOt/lZ5nIYLGL0BtK+4SOoIUfaAsEjlNe/Fdk+wBQwn3ILdvEBww0sTEHAOV4lvqvhWIm0nNe5YwZUyQw6uj3pw3UTycYuI/z+Oz5bZcWqXymDuNITzHDTBoRxCbEdQ9U1brzCgfKuo1li669dnf9BxNTXNE8WoaUYy1O/sEQj6i2gsHhjR0u7YWfiBDuZb/Vc63cJlvfIMsaCAUZENbtqQSgim6QyB0R9TkAgTBNSO3zoZt6hAtLK4HeiYyLRgEvuvR9eLC/W/J4ENDDt/IjMoP9uFCh2jylb869WPYL3xw+nInkPuWv+ilWQM2Bgylp+4KCiJ9mhqgImjf0AfzHrbGf4TKNTGe/VoIUgtrk0ZWsyXwFUebiuVQgh+xy/YsCrKWufTMjUe7M370aFqqia21l4V9T+JHBuPHyYqgJpl9mjW9/B/GMU8R5fSKhbbK/+9lg5oJA86XDr1N2OmLmb8+Aax42J3ugSG3K9Y7QxXDXCa0U8xWUL8o3GEeli2GCNTLzhISjkAAX/jdiyhLNedTgW85KgwCOIfEI2kZh55oJ+XogJxeYncS17+/r1kl7QxRydUpYnjRl6Xq8gdG2woYtHT2SlW4cmT+CnOQv33oyynRlq9cDywPB9MSUjRE3HfDD5mtYpiZKvv6gXlhLIPWsNGItaM/omMThS8wjRbB3gZKCIINodkz8xLb3RMBG9Lfa0Ek52tZjlf0SFCm1JOqUnPCUjWset2XLlcgCLx6zCDGuJMmKtj+kpSaAcn2c+tOBboXQOWtBKVOuAqW+YkGiviM8gGtdKgWws7tbsqM+K9xSnIVQKwdoxAw4Li+Jy8yisNnRi1NsANACM4Taf/uQpz6twxoNjVrIzSNyGA4hElao0LFSzRjR8XYTpcwQiNDhIBbp0TW18maoVTXy+sCXWmZZVcwD5ipUkKTGNKAHAPoWmO8UHlJoBgLcDC/rD7GsNrK4wTY6NUSDUu7qIlO4fDcCfDPbVRJBMx/xcTP4PWGVxVD+BensO/r44oazQJwdowHPdVw8OFn8/M83AUhnl8OGdHvAVs1wuJ1DQ+2JxKl4gCt9UIFeMa1BRn0jvng3zTli1PVRXHE4nV35ilJRNxUjAWdqWqcjYxqpWirFaXrcMUYmxefPAHdSC9r6XAPW8gMsPw1u+aAnVBar81rxChIGk9+qD4sJfJMMlkkWdSY3Tj2Eo2vlwDXbXIoRklO+PLbTYChnFpDT4JWofXE+8BAkyG1SO2uQvH76GjH8TIiLfdIFtbbN/fwXhSvxglK1S0DU6QG5THdUkrDS5ZQWOl3JjoYGR2iX7OS8E1iqSHskHxSfz9i6O8D4ODe+x3vaDM7jGHiolCG/lRp8ACsgl3wIm0rB5cWYKAwy8I/hlOcek3bhmrqoadqeRH8HdTtxuEZ/E3wQh9YeTjC7P1BbGftri6aployV9XFb68rS3Q38i1jAYEgslPDQlkj49pkwUrqNsItUtUtG53XiQBq/w7Gpb3lGi/cYBe3PGcTM26UEw+S5kxTeAmNmnLszWPdjIj6VX7XqCEqU1tjX5Hk8rhjmQrsCdCSuPHiNZ1IMXy3bBgKNDwpynhsda6g+GyNJbJq7nI79B4SqIx4hebx6tqd9eIHjRr+YePwoMi9WTIgjEhHSjfLJUeCol3FHQvg9bGKE9/2+D9CG8xFPRGdUUat5pCMsifFhqcZuIfQZDcaqPzmNNrlFrwZI2itLDvztCYWRv/IH5XS9zHdDCxGHEBvJRUnYBDtlrXWDaGFDlpUvHTkXPqDMD5DnIj3RdRkVRnUev0cQPMgZg4U+rnXSalSNICQqEvBuB8uyhg/AzEub4KhRrN+IHNDOmz5dMikIhuj0AAESS6kXjhiVvrIxw2Cop6FcsfQ08ceFOd3peQBhsMNB6BR6jbfDIWGaGR5Cd0zCU3aqRO9JoIYYwZVlBreo+O2T7r9n/5Ep96Kt13VxnztujOcNlVqSMgidRXSxp7NJDfiMVqqYtj0DdkPJ7Zn8r1n+tYQ3t9zBfsRb7KDWfThhAGEk7zW5GVSDoR5owSQJ1qC+QmfmNTHpfBP7FBgfeCD0knK3WDmqYvScgEAOmCxSD8mVQ03q+78SyP9nK7VK0rprB6TaN2O/nXV2KWbAFhciza265viS/SZA4x5t0oH98WLEcqF0fDWXFeQpiI+0+m2ugGHti13dIW15WzYQibgXavCrO36/58mM01VtILJ+uC4BK0DpEoSlc4E+vQ+ayNXMkwmM0EMjYq9IsdKFZj8FF5nkgnCEKZTvgLuD93CVKCmDJ7LHGI6Adh8KNNUUIWp0Py9DMCmBzVqqq16DUUW+4vXicXPHLYlKgVxCHjkxvTdJzrx0g0lj32S0PdEMsbQEqqH9YbxIy7wP05cE2vxBej9wQYX9h3HZ7Hh3Mi9HdFoaVtivARZQmDmVn9EHNPPdoHDwuh02nuQCUWPnBfONuikn+H8mVjvCi83dbnKt7k96AF/gJ6jLR6Z4Q9ilVd2cguj+5KzmGmK1VHBAKUmi6dZPdinW4pG2x8eXMWDeb1rsW2E9YgRVpX2rPpHN33A6A81gflPzlztS40ocJUCmMbDUQa9KrtKGlJvV1LoxUG9faLFlt8N+zxwXgaIbyI0kCmf2IHY2eZ/iqcLmsQeCk5VBFKCZpszsFMInkLvKeredQaARzlc95Ppd3jTgzmfdj9v4Gc5PwCK1j9V0XpFqCkiCFbEpvHryvut6ya5dlz0yi9Ykmu70YUVnWLX5e+ZUp8FMwb/4ZieOucJltUkTfWN6TrRraqwsgSUEWkPbtf4fI/00Looa7OcSOK2X2cwjuCzIjxNVyC29fWy0zwA6LtX2sUyGmtitA/MOy0YRFpPyIwf0J9OdL7PgtowTbaqwW5uhrU7eQegwR+55YchW5Dovo4ABgPYMey27Ss+ODeePaghtwVLHsEhwNMQ0JcJ2piRKfGOgVBewBgWaT8HeHxOBLVBk3TrePbINlGTwJ3rFCVwamgSpsaDPCEIHOGK1oUXfghqL4NNXyNMwAKLIDtlveurZhEqdyuFFlYf5Rkrk58Lvv5t8Y1J3T1BKZwB8eDftX5C8qUudAEt4V2y4HoHjyASikLXG3+m4Ktmmfx1zHcuJwGZ/LMUIwGvYRTLUWiAUyXc0l+ZDi0rCMP+Dvaq8jbesAog9tdNHTSlTuOLKFgF0vWwnWUBjgOkqUWCQFVwBq7X+bhJm0dxb95szi8i4zxvwydi+wv4Oilh43LmgUeQZ9biA0oqZjOsfXT9Fp5Tjne4SkpPd3HRzEExZC72YSF49McAdK5q8i/IdRRHeM2E8B/cWrTmQGzE0oQzXxLL9mWwRnlyW9m3YFECKcpho54WewV+fxsiNsQR4udsjXc6hplKHYs26CR9NfsD3ZyjzVm76xCXCh63EQHe15QZuWpqC5TDykmd2IFkYjEbnivsLWPOIZxX4j/GKRXvAMuFLAurNZu5Q5Ygcvk5JjgsTDZ0CxkI979CJHTVtE0wHzUduLNYm6fXAMTizbFGR7fRiSaR4C47or4PfyEB2V5E8ebJnbr6tWzTgpR9OOLgQXBMOSHHT+wN77ucbicu/VC27tqcaZniXzBP+GSJNzLggSHaqSa6UZuBXRWaLYfrqUZtro1rXInRd5HIlxg5SajKPA+ckZpb+g/jnS2rW/ehYhtNARnivpFKIvOaQSIMqHIc+Fbf2q4WRQuahTs02kvxCaO2POlA0cQY6y1R3Wd7kK8T9UZtYO7QEI5vBCO+qsFswSzrtodVD890JWfRX+clEGRKTxSRPLs8/Plz0A/+bbqOL0St7WFmnyTdF246d+eE1HzDiiyeEDHeOs+IMQDv6qWYlhw6q4I57UmPamnTOZ6YOjDfi9vl2WK2NwX2MAPxzXvKTY/RsZjf0O4cXpbAYRJ2BvImEhUZ2jRVI12uQK9J/eF290FVY295+k6CxUPkgzGCAifuDUCHjGGWuJ/fBLma2migR46KxpBDobg1lettkU/WNmSKT0zMytKUKE+vZkrzCI1hD1hS+UcPG0NRMZ23wOD3dSGwYv5JbNcG4gj8EzffFaBU4Yw0jvy1kujR6vEnObI2OaZMpUZd3ZK1/PfCFMvDiuBr1k9Tvlc7D4bYtskEhmIcv7MZELWP+0rz8iCo43zVEUlv/a6RaAEJeNEbZypav7T1LvJWgBvXzsruN28yvZUJXM/Raurwt5xUg2pPih3ppMO02EepeV7vD9k+pjKCMHcxcYPUmPyvXZ081e5MBxChtjqiHLTe3CgiS9qcCCKEuLlraY9zLrtgocMrLweZAf/qgSpP8Oi0PiH2dkvR+eYdQsuVwvRCSxQGYtFQu3OpadZXW/vd+cj4v449SwFkYP/QDAdHhAguvyItX7WHg06bwZ7AGVvHmik6qYRAROvePTInvyek4U21q4w0DMMWzzJ18XYTVnUomj7jHzd+4NvoJkCLxD4O7CnnQAtfkQDJh7VynztdOUV2V6x5J6eBvoXQOBfYRCV3067XIymZ42cnjXof/Z2XJEjL38KVWAL2Un08KkbWZhcm6C1f5vPxvaWtgcbUgXi9oxBXDuZPhGzMTVaOzG4GMGnW6NNYtmZUl3TgzGxHfDF6lMRHJXGm4vlFvxAIsMU/B6oo/6pCPYDrT7V/KKB9buYSAGLxxlphUbMAe9C/kNvo5EAmjK8k1ymUg8v/lSsK3BR5RMFJ/Z4DDKtfRBtCqgF97EgfBU27ZlOVtIt7DAUJuUZfD5Naokxm0d+LI2QgFbRAJXCkkXr/o3PVLXApx/Ian5XdfP7eJUfLUUchrhoPZyVVYG2j69DKAfUspEZ4PjlB0s/r2rUQY/VFTbbi4I9mgRrY0IYaxlpDvA5FRmjmwzW4URBA1hrMiW9GpgAt5zXOmZLE1t++K2tBg5lpHss6NdjWZY+qDrcz2nFZhzVul/zIELP7eZt8UIQ+WAeLghtI0SIiLhPqJg1uawuQdEuJd6+P0Dz1aJAblR9smARdDmL+ef+FolCzCE92FPnlquid1oT5CwG4PSC+RsflbQmO3C63YDxjImAktcCkiZi/R4/G78yCiBIjlJV0cJUg+wGcwqqam+DSd8W+23c+sLSFiwiDWXeM9dq2tghGaQQSTw5Zr9LSYJ+pZB1rnlamjGBsJphHBxlc+c4htMIi8Pvru6yBzS9k2cCIZXzmSEdfooMcxHm+o4uOb2sxq0y5RvkU9vzDFYjXJarwsvPgxmLpdKsKv/7aDAwgaGC+Dzit1Nka3R63c9SYfL56jEeRwFxHjIa+zJbdhHAK6zbXJu3CRNE92BmuXPvJDLXiKIlUi4fIGzhxa8moZv8nRJsGmX5dnRjIEO/FV4jJcdjsSV+KjGlPL/8iFteZZUqfNs6OWhzBiTBq686MOx8ZQ8UUsWXussxMGD7yyqph98PA3GuNOPi9grW+0vJAdUe+qc2I5bncqaMuks99paMNbuHHarPwXQTJwRgJKFFWiq/JZLyRnRcs8cA0cilPYDRZ4SAzT166NY2BkbKhU5IBlQ4ivb3ktaTjzIticUfN0THxlMT5/lc0345todCssNzOpDzE2XuNXKLhQHHiVQFVJHkvOnOQrJMCupM4UFfl0YJb/RQBsb+Q92Fdh/NOhD6Wzh9zj1dSnCoVshVv7QIZv91qx4+FAGvGrjHVzUtq8FBXubhJCv+XaXU909rt7IzXfmcWKxXFctkV87DTmlepT3EcQbw0Mzw/uQ/C7eWVg2/DWsYTgTn9SzF/Nw0cXaJRhQ0YtC94t7pFeUMSOe/3TuFnZHK7Jnd84mc7KkLxCO6MlQgNGXGK8jK4zVcCRVDocXzdTRARPUE4fT6wpYod1sxu7kdkogI594yT33WyDGQi0WDc6DxRq+N2vamahPWfEWlGaWKhClv78ZMUXCJ9K6D/Jwc0B2oilXSnQs2iaZ6TCfWxW4hSWHChFlEhPUAFnYiRO412gQcgqmogMWldYkmeylrSUMsPnJTNcBr+zE6hUgTm8CyBMXvvDXMigvic07rMOLGOtLYxtXgka2AB8Qm1OehHZl1ZoOvWpYjaC2TdP7T5QCW5M/Bf1iuQfqoVktz/mZl69uLbXULA3jWutuQHc6GDS6zph1JcX1TtwZwogYFpXxhtOdEJoRUMyJoNUA8oCq1LtfbcOsyKnV95Sxq8mm+JuffU6W2Gm42LgJZAxvJwxsR0ZHgtLQVq1cbIaOp5IaZtm02pqnlHT0fPzhMbe2gRiDTDWg3e9yAnJn8iPzt91eiJUWMdMkuWe9N8tzq4r1w8+55rid+RUGZF32mcjxX6sqgXigd+W7vAhE8aUTC2H46Cjwp0FtZ1iYVKwLc722BpZZKDI8IxmXTvn4/qMvEhcIar8tv0JB5BUFeggl28sF1eot2q7Iagz4/sSSKtnEA9RXIkH9uXVb18Ke3O/JDpnCt72h9zT9jEcTy+JgNg4ZAJlRKGWL9PwDx8KElaJzzKISFFQKhMCFC5hH5xCSiw8pRJD7NCFqWcYGSLzfQYa//ERTSWjOLw9HnVvmacFX/Gb+ppg7Wnnbd/5ocOCXQFfYPlKHGisTl8AWKIHPcaAWKAFk67VGxCSvjB9sEyOQm9uASL8148vX0oU+lUKbUjBttGfHbSoTgpL2sc7I0bExz0N+2niGode53viYPlEqsAO0HUPWVR+yYZO5ZWetfG7Bf/yCUEaPJS/F+WsyM2ACOiwOpH6eX00Q4r6Ov7lE/wZ3Bfm/2/QzdfCcOmznnXS06MW5lBcueLROn7PL+cO4/Si1qyruASZzi+h7v5QwTVz1LqJs7t3WOfPYe+59HkWkNoYH7HIvkAO/3tFqc+F9ffNmtLDKA9t2PEE/fdHiYAlV1kdaQdOXZphzVTZ3GxFDBOd9d8MSPs+WMMRqEOvwQvgaf8rcQmdz3nHSk11o1EkD2bB1y6/04Kbumyjwm7duc4T56pMRC2X8D6Bk9ycyVD6cDQ9qljm6XFC5NfoKuMLpUlJQyZrS8oNUFiyXrCXdGnqsp39hPvAAaBM4ufzXKdPX0IcUqtnB7TabX3zxxAz4J0i98EDgZDCr4kuyLwuR1bc/xG9ow0qqedh4lLzrDY975vju8f5Y897cknjYREFWiTbkgazc4Nu1TsJ8JGw4zHTlmZ15ZJfVolH8UG5HMOfYrL5I1FC0oH9CumzOIrWS2OcMS1QOfl/s23PqR0kbWyoo6cPwsre77vQ+gDMcfBSWqIB987NAunywY9jwawbWP+tnM7G7O7QXny6ZYRJpjVjTKk5o/1XBQ9fn00znJVMg0PdZPjUgc1Sk9ECQDZLMvNuiPs6/uVq4HIQ+jFY20+nvwWk4WuYUM+zp9biWyUBEePbOcd5Qv4Eu8wedw39QXGwUnAxy9Szap63u1RsCAd+kgkhJepVoLwssILDBgM/qyI5ll3WHxK8wrR3k8CYL9denSInMKmP6A+sqehEkSwT7zMF73dd2miedgUDOfiCi/uXRNwPyKEvD8wJKjFipR+ZYySf4phm4rk9rAwPBNx0sD5aR0L8VktH3qh3eMpdENXoSQrxgZsqQSceynSVWBjYMF/yvxfqf6KhgO/5QytGNJxHk4W50Kso0FSteqtK+4VZofJ22MIIGK0xET4EAw4sntQAt99kH4BSHAr3y3DDxAyT+/hLNjCsCYdCMYrBDmCdno20uew06BMK9vkclo8HBk6k8gowmrZ6HVP3Q+zfCgXnpcM037+5/jrT+oMK31y3ZVpakB4KuzNTiA80aJhXuI3UrHyKikfvgKTzYPlUWKmbhLONkvQuxZp3G6MroTXEg/pH8H1ZCmOVGSXNDHuWxncECLzIHvnTLvW1dbEL4B1Ot4NYN4oA6TscxdCaVzRV0eddkMRlWacIKYUV31P/gbfeKgZ8M3FdTUMQvS2WTpMSHEGfYnZ6RCwBxEldDy8NcLwFDp/eh4/oHFsabMPRelMZJbT2MeuuOdjJcPbhdACVyeN2X+v2ZiIL1MGUYucnOdziGvAyDPd+dCMiuoew4di14B2HAxSZuDLPlZO+m943pTRlDwSnY+U0vSpZ7w0tESYSly/gml7RAezEF+uI4hXQixNqa9cjZowiOFIjbN4kPbNyDMXZpE0tipYC2lqAOTabhvOIT6wHxKRTKNpRknLVE8jdxJ0A4eA5AvLRcRH5qKIx4qx1z65XpOfiPHA+G61RgWosXh4r+wb+BtsTTTkuJuQHildob59IXli3OJpCcSeiAmn1ZLeRm44jmScjkuyBNQmIau7m0kZcpzeiidz1XHfCYPVixbAogRWDwlOGtiUYJdqXengAMEG0GRLFGztG/1FBrR+R83biSKLF11cHGxq+6OvwmAgdGg8gEQNxSzAEcelm5r4v7FqBVMesNc8JmqR03J2PkbBT5Nql0s5zZ8eV2Eer4XsLLqqXLd/2kQL0xAknsSHcBmTsu1FMC7/wjHhRoGyKcX+xMZTV5VQbxsfCc1HU6xsGhRumqPJRHc+Y62Mm5lr0fk8xLd0ifzm4wQ0jLSrJY630vp2xx7TzlRTMqq8TUKF6ebvPireiyP2RRAex4Caa86jOkdgw5qNe3DsN1UTmFp34GdYe/TSzqgDQUCONX2jNZ1zHPA5jaLGgnpjdfkjRMvjngm34v04wWJnzqhvO3Bfnt5V8kjomOOCpOgeTlvtrLkGRToUcBXOItVUkCzbl+l+972yeQF2CmDWRnpNodWETfPhRD6yugfczROVMMRdRPduOicVoDJ6ilsqb+7msny05Z8MwSX//luNEyZUIzwD4pqgxcHdcW6a3Xr+xIyTu/QLhRwOoQUCXppMdzqa6ogSiJGfePyFS9x7/gdUIbEQLyMVEFktFBvmGY0exA7XZAnaBPfoKzJTl7xajasvnp5654Ofq413TDdKePn5HSwTapSq9BpHFFfi0Rkr/P9+SZWYyMfsq8UEPZon1qtz457wdmD02bWO8vDviGupnozcZjGDyVG4hGs0eeQfArNRk5FllWLwDQ8N8QYZi9esBZmIZugWlgQU5IaLR2GLiPvU4yGNFfTbGhmw2u1AQF0rm0T+27LDIKf74qWa9wiHDM+iLotMCvA4t8u6qasuE4qE1HGtDOwdayrjOZjdjQSnvXnsse7D8862z3VlrqxeHBOKezjwpEXx2Xruz68lLyQ2APKTOCEUJI8HVqOcF2U7lLlKVt+scoLuaubfff9GSPweGXAOMazePNJHud3euA6n702eG1rdXuBH64wwLfJ15l56jDm3NQFP5M1HAsv7isDnCKeE5hkReQmvkBAVvcmFKsTgeHOFPoC+xbn99O+fKmZWTPZLb5k+GunOmKVBPaPTodx1mdVnywH4ossacF9aP8uWs/uJ3KYpy//Y5+x4Xc8/bnnee1LtX0H1gbe5M70Mq40nVc9mUCQUuq3DwX9b7v5WhtAgEjMBmdHeIk4hZD2cZI1hFrrV9WjXIPWZJ3Q7uehZBq4cRzz9Mkx/RoQtswbp3yHdn1cexKQRW4m2Na6UGEJoM0bikbrF1uEXKuRc/50djWBPvc/X+ySFMEZm//T28cTbvT1e2tZKkF+a7GyigvtxvFRe39n48I/VwehdJeeCE+k04omFI1y+BoL81IUqsFejC0qZA6HltPWeYlbUtyhfknBQ4fUWiQbFfL/34w+YrWTNLiZuUOVgzouOmTKWoQqS1CKOXSuYei6wxZKDJp91HzX0rs6mSP9eoWF8pprQcd6QzjaZOaQCMQDiosQPpyR72qjg5qE3FfTHHHzgcFClrCtb7XUwAkX1djwn+F6hL6pGKjERAEAhRtvtdlsIUzRsmkDW36dbNiS/sKVTvaLAbZbJa1waTHjoJmAuk8tEwthxs3fzLCR30f7yUmx/8CQdHE04dZOOEC1B5AUWSaH1S5sTXWRn2xpMVF/whrX/0RZMVp35VRoEYhjiHrO/EaS65bLv+JcPaurr0IFTHhLHHIHmpsh38FuqXlYEjXyVMgvX4pktf9ZN+XIXBqdzWU3Cz9iaxSJygXt5WO4dMdoyJ7M7bz1FmbbXovcXm/BNaukqX1U5dH3jswOpNfAqHw62fXaAeENpVvRIsr40FedAXRTlBZnBwoDxvv+PhN61iDTBGdznGza2B/W0i+DSyCibOm+YhzGC5qrKIxyTQJYiJRmKll3FBS9/vVWK/W25fs6gXUuDcFWOrcXENiwlylX1pkusuEaXwcyik47l1nKvAEkXTkpEfODRwr2p83nDzygA4sqok4ajeU0GUbmJajTriefeoNpTZc0egU62GBoztjUvFaGMrgtC6FLEgnlYh9UcK516d8Yav27Prfo33KWCIvT+a5BGWhUn56XJ1bx0n25bImHBY9FFbpTfPEzbN8WmVSkVb5ySIlcPI7hAUK4KH8cJENXzPfRy9W0PaEC/fy8VbNPpNRvhUsVmFwnmozZDHDcVFGaOkuqmP3Ion8skcUijVd8q304zJI4Cos8GoLvIMZBpQrcOK4RaPto0v53/UALNAYNH4bVoNjZtHkqyWRn6pEptiI7FTwyboVkNwcbdxgzW4IUnX25EIE8S0hoZt81OVycK5Zgvo5Kz+OwfFOu1Pe9PjOoc5YriwFbDxCsynUYfmbtYbrwCBT2GQQxL9arahJxwLJCnsp5RZg/E2tlTPZ0Pyz9qy0SkZBnree+zwznRdVB40WhGBYw58xUoL4YtQ6KOJwU8zPrt+Y5qe4LuV5yo8knNU2a4FDvJeEHjygv+G4g8oef1KOlPSw1bb+B40Q9Kfs1Rvt39t8Nv24UAkyjqyrhTPwCJ9K2ASxVegN0h6M1N6w2k1nmCjeSG6xm5Hq7ZwM5z0S6X5JOZ4QW1cmaHe5k2AdlcoPfmpR8sA8CTHZlmC6Fzd1QmvtQpes14MbL7w7W6wvN8sGOKG9nJuZoFnQhBEWEU6rbguSjQ0MKpjSVdOj2CZabuJeVltmIGzZYm7QlvllI8bj2uIBEv0cwvKcSNJbSK7qeOlfpWJd1TrfqbSAGonfAPafsowad1kUqirrmLkOMjTPiXKptabnEQ9EmI88juFP2214/b3Fyv0LR9PfyhFCDCyt7zWLtLMha0cp2ahGtqecX/yIK1VFvO1wX2qEnOAxEkqLSs15mniX42Ud+5cjKZml9+zx3/st5wCsxE1N3yp5jLPYHByxO2x/bDcHmGtzxROmP1t2YPgbct7MQ8XUz+iH5uHNItc6qg15TvABDKiTCRmOb8lNaQaFWu/W9sZ9eRvkxYtcnGTNtVanNuBMikCHz9yVldY9P5zgIhkR7i24SqedD+2H9yY/L4+z2Zb7v8pXtvmMghsui1p6EE1mdqHbnJSOlMi7iKoQOU2egIugvK4ufwnmUESHfrXHB215arEJR3yyglKO6F5yBpQKthaderbQ1OwuGsbiMKX0sfLw2oRFL3GM1XlHaQiSXiKyuvLuFqRgzVL3XXU3+VUR1Ia7WLjTOXjJ28KZSXL8oeMyCFe8JIk6X9GDA+SEBvdiHGbuh6JTyw4+FveouVRFNcDfyuavZ13BPo2TlPZ2mtNcw3koK2REhXoU+Rnnk8qtHbIB30HDhRky+8ZbGcDjnN1sOS2lRyNCkb8/sY4xSxGh7dNbi8/zq+ak6gdV3i2sEkyF7hr30HN0CQWEjWfELnbI1bFb6kO9lI/+W8X6Bq/El5C+EEMjepKVJAq6DtBUbz8lH2bzGCQm/gAwDHiyuARQYZKNpsG/6oA81L/XPo72zr75wrqgZd4+R4ZUT8//B47a/JMz9u7KgB7c5s9NXbh7GEEr2iRRgBXVjcvwW8Bv8oKS6rET+yyILOqD7cbXuqA4sO/cy5djk6cFR4fW6Jqo1JB1ygrhnaJUvOE+Tq+GgoOc4QkKSKcNRQwehiU6Gb/R9DHAV1PrfrYzQCW0qd1QuYwPulWcWBIDKS/1pq9hsbODrJYEbRP/X34CcLLsvjms4u5cPwIhFDrxu8BVkSVaaCir7Ievc//JgoCdeL1wY5jB7qKlyCdVuxd0JeW+HR1zZPebopljjfYRxqenqPXnY9/hEsLW1EHAaVF3E4LBpc3gZpThJs4DOLGVgRmfl95UrbqFAdv4EgyR++4KtkHWV38w5NJH7OSa3+0Z6FjLsGnaEfhztiZWcuxcQWUjqO24ifWT/KuEm53jLjQ4+0PKO/5ieI3uWByhDwt1S2zOZ7l0++GtwEe2M0S4qXLwVziI/jNR+QgSsCLkkwJQvOGlPxheJAgMXgIvpiBQFVFVLf0yvtqeFYRpGhZGcJtERk93TLFe/n4wc88oLT0GufGsYl2thrI10wcqpsQnQHWITKD5z04Y2/cMY2vfOcO6oZkgocLeas9SnVzBInX3fqqC4GmyZAi7AcV02lyl0u6EM9iiA14t044FXunORWS5731mRNfhLfYABf4P1IT8fr1F5i117tdWjWhq0rTmcIHSLc0C39G9gvpZSy0QRrUypyRThfoKQyw1FGfoHaMpW8DF/wnIlkYGF3zIIF3g+IIXTayiXoFgoxHD0ULnEL7Af+RWImTSZKc33mY3ewrQNae1DA1EUaDZWBSEAzJjdx6AfZvI7GOTSxkwfhBiz56e8rwZkAW+slL+GG5SkMbdaGMCnZOumSIwSzgeNikAKF1saAahXrl6EQs8hoZZN9J/vSs17j/Yw0HMB7soFXnjXcHHOD9XEvgPSzzyWpPfr19SvzrlqGShC4BWyH2zpssPS5tbfH2coEY6Tvgb55iljVh/MGcF7X9kZvy5YAWlng5T/demgPwty1niGLGFvEZ/XCllydlYphZZV3KOKpZNvcyZ4TxNBlaZF9C/2cdWEcyPY9JU1FoRyES/5le3QDuxMk9WJ55hhQkgjZ5WV0xlBki7PujLVKrKZHDP1zycc76h3SzziBjiJPvtVWlRDMzUW+i8UTwy3HIyDALFP6xk/sbTQh7sEMN15pXvtSewiGhXAHofu103xgbvhcJbHOggw37q5/Rc4QtAPqBQJ/e/STAcxwlaN24fKLyAeyUL3b37jyavMUEvpIiIkQR5/hgw4VGlWmWqUsOTSINdCbqL4zSqCw9Mgdx5FApfv5JoHFH9sEYf1pzO7Q3k/Id8NqCi2p3IUWIVWHDT8vdVHTjuqudRU02L8JsUgRFLWDBgBFYtWBigAhuugKfMO2G/Wa2SF1lv4cUI8IHHKqMoGp3ynmZNoVyI5gSttOulfZ3vXfjz5GnP1Zds4Cm+itY//PNxtpCoWXKKDZYHFdxoiN4Dn/knrSGVpAPWt0WnzYwugz7SjLkJGinl2DAtRheaPAecccqTobGU3PROhdy1AETiCP4tl2WIt7wJvACSsktyjDS3WIaYjFu8Fk9dYzDf/qroUEKkIGD5dasyFOKEjFtivzDqr3JxoOfTnUrWPWv1Yc+s1+ZTABNAHtCgUOWHJF5Y6W8urJBeOpzbPSUTrrjdvQ4Cp+hBe878PhZaB5fdHyGNGXhXWcIFMFBB6qf4mSa1Gyns4n6pDGJGNOw6gtNoNqo39ARyeiHCxv800lh/m7gZ2TLiq9aX6tiUGunwsvd4g+l79uvv2X3zzfVAPlTmlDJbaPQkMuWFYnTV5WMipYDEaEt2GhUVYVCLZzCgoOXrDBswHTXEiUUcjtrwKUjjBNSUJ0BWBRWbeuF0n51s/or2K0vmhzqROCrlVQkqvu5aHwuum966s7sTC6hZ6zwl+Tc+HT+v1+T7GaIp/H+PijWQ8Wl08SWKNDpbphmovDC8xlbE2EwFmLGwh75SgcFAftbHJWf6n+tBDzBbBoHC8AWtgDnbgMv5Nny6E25RVSH91xkDyR1Xb14HWveBkDr42tgA11MNYiyvShnZ88QjRQcGRenA+6XHclxH6gVuZPsQj00KcnPN9OHNtKAS7Ce6iWY8CmZk7cvxMwGoPa5SK/JU3OefbMo2rRWPmQtowuz7ZrpNyxaArhKQVcL7OdvkMqhUIfmO8updbHXwt3OEVr8mLXvArc+6Qaq2zdLAi3rrkxtsdJjyk29ryXRrKJUnTW9blk+Tj4bK3fpFIRsKnJTpM75tW5QpvI4J0378Nxf+3yA4Nu7qVCmL7glCbX+Ejp1ks/Txr5mC8GuYXERtprgEQLlGHR8njD0ccN4jD83MTkWb1+MIXA4p9m1BKCag3TTSBNUBwsjmAhBClvi4IJ68CKFn2UugBTOurMIuFz7lGaJFtJxARvWmt8H2ZDWohb4Mo4O+avhIbIQffkqMaLz4WULcNlTFk8irfamrtdv8lJBM/hRt2pzqVuE2/IrhiVvw7Z1UHPvcJ/6rdchLmCGKB+rdNVgUGUUNuec0oEJqHoobfg0TUsKBi/Hd49Kh8jcvi3QClBc7zlECaC7pSb2ftvf01YziGlnUe1T4ZXfr2SG5vKToBkUgkGPxVZ8wv3w4Ym3E2AmrYFGRB5zl6X/jqdnjxSXtz54P3w0nb4/UU98IWTAv5DUuWtjLcwNbqOx8A5m8zdCfIHPwbAh/gR7dlHLyIQ/otvspmMLAUgxSu7IjHPVNb7J30cYHSa/ltavFP5lFCMllNo3Ycoa3AqpMTclC3wYhEA12bP463yubDGwRdkg8K9wXzZOGPJj/RF26DOHgVsnnU2EQBE+esYC1oRphAmBzBSnZIJHkkIekHOk/OUskOmt07L9ZvWMaxGOScJ4RT0iZniGPbcIEu1vorllNmtnkQp05lDQuvnYsnaEGkbZO2BpHYiGhX81gxBrCm4lOjTVD2t94wDdd+3sPs6q5Q++QpHFiaIbe060Grlk5SAD6AYHys56xvuejxvJhhb0LWj8tFNqnWmGQpciu/FS9bidGOaeAbqIEK1IZ3xNTdr1v93on3KnzQyHrWS9NTK/ndXzF0FUJZ7MyGK4z4i4BC8PE/p8WZJD0CQvVpDhmniEUwXSCMaWpeQ64EjqDhdu07zSuF1fo5tzBB+aXtTN42tAbbw7hdngZEQqQhdGq59sfz5gcYY1ARTB9wWTp8h2Rc07kXfyfCEIq37K0nxDfvmMnWuxhpT8GuPfVgf6FY0ixuw9fczoTnKUnCPb6f7P5B+XCf9IQjc40tQnJJCIBVk0tTvcG/qRE7wrXisWAbFUgEQHQGTF5pSvAQQB4oh33Og1lsIV8RxUPMxJfQS2SynV5CjQxWPTTiFfDmU//IDKoiNah1ZjE/51vjjic4HYMh7XPjXFhRNnfT9g/SSoE3h6Pf+yWDQV1vBGOLAn0eSSx/CGFaRAHFoI0jNF35+HpRwhvGE9hrVSZ5tnKz7s5152kY2hg2v+T3Ii5gMg4Ec/hjsRBGhNgqJGMxDh/rwS6Xra1MNXzHsfD9GkmKayyX6q3nUuS7m4kbNY+lAYQd8te9ULB3yh8TKy30A+kh2+32UIjJ7jsjItwJrjDrkqpuar6oNzeIyGYR56kXf0aiNHgnuaLYNXJp991lo56xEnPLadjPMr2MuHPKrOYuhkBaMtLuN5D8X1XKOz1Gx05MrhJqaCdkLF6ecgbh0jEm0DGjeMomxFPkzhmkVAdvgYLUUTl5ZLKPBDUZbuseE1mDdZHKXO133dr6T7eqaXK3jIy8Qu/6S/rdqNevqSzZ098Exk5Q1ZSjkn0QWhnw34fjAf+DZtlwn3/7r+z/6NZLS5Tc9loktwgIAGFHMk8hhrgwyP4veWdzMTyD9IZlukoJ0bZrjy+gDZ5DSFQWRzHnJ5TndcI/G7mvDW1TEVVTe9yb4LvvCdiJSyGRNXSrR5OT7OcGCA3TVoJCXupXRPauusmsuh7ipsLjOYonzbxabAqmQRyvYwoXeoGowq6bVQojR99u3GxEr/4thxVtDAAXk2JdSYH5TYSdkSpi08Jyc5OERNnZVlyig1VQSKxzY59YV7yuG4biGgha0pJCP4BbdrUxHOHCU+osMzpuTfKwZWAui2wW56Oz0ujonoHAsn7sV+Bg+yYr5Rb1bj4ueDiQFaXdr4zJED+Y/4CMONViW7ppf04K7ul7bGY/iSb+XLJKT3HcK9331gq06/WDjdm7SqyD0Ei6nC7mwRZFmo8M7VMz0vANuBUcmxeBCKP7k4wZFK63fCaBDzboKIVdAZqlVQua7pm5zDg2/MbkM80n2r0suJwXG+2MOpkqkzHV8fSTmi6kR8of/cs8//y/wYjbfVshW3GDf2fUFEp4ETIpoLiA2PtTjxZgI8qx5ei8JU3uEoO3d8KQvCrZ73MH22Ts+ag9nRzGJRsK4DOaznEofgKp7SW5v1RvYVDv90q20SW89pbCepoVDt8hljPeNMI7BuUatSIB6AdZGBGfGnZrm/BSGNfW7Q/9yQ1LB+YQrFWzRUm0xsqpWmxHDaD2YNMTiMjePW1+GAwC9exCEPDNRpZyWl5IU1cX/GLUkz5SwipQFOyEgBzamjyYn1vp3c0oNdHWVytiTUz3hkOdK5YC3MDygT2XAWZYu/tHRFEuUMkShP0rtKSHQzb7O1R/NyIH3MsPeNfwPky3s1CJL5/qw7FKGO8wOTlbML7/U4EPSySMgt6yp+lDL87F+SOnrMw9eUodFtwTOrxiDT1njF/bvmwgjz6l7w36fTktSWWw5Gup0YAF4wlt2mu/kdM6HF0JnZdBc+QeVl/ftEvgl+zopzdq7KeZ6X3rzIP8/+LFCTss4BEBmKO0lNagpko57GzjOsB3WgaYRaovcfEzgfg9UAzd96kqDRGZXor1a0cPsoWz78rKPZ9YOYPNS6bd/G5FodisyXw/ClaBW1/+MzpUXErgSuSGOLvsH+VEB4pYNVQLLQrfi8+olMFjwOGxTh1rga9onlclErglABdup9rZYr0kbcF+M7PixjPRMKbJEU8H3hapmn92NgFcDMPbc1y7X52QqMqGNQMPm0MK3j9tC8RRc/6kavOqkOdUA3nC4Lhow2sJq25LRbvbj7Elh3/sk+e5kMOPg1j4nBA6aTMXPNR4E8Kuy/7dmypm9uzG/rzCe3VDr6uDwU6fg10ZRK2B2MfKWeficsc42dvS0W1j8Pcy0iu4j9s+Q1nG6nZlqG2lk6qf7ka2PnSv2Iq28zbTpJX3vxmH8pzm4UO4KHC3s9drn4rXdQ4YFubKzjqxrsEEFGQyvK+XJI2bvLwf69W4Ha/J3PH9FdHDW2YMere4B0WBK/J3ESUy7bFUC84FSA13ksdbbNH8QfU7xNQNAoWBccoxwYoATBQjqteVfeRWqYVA413jNqRDnVzzBBUI3G2dQbXzumqVjsf9UlMlxQWtKtUsiWQ5S0hlyPjpc3Un6VFmJauaYgi8prM/NH+AU5knW1VixwUUXXw955uDsV8IMtUS0CGAkVLcNKBRKItz3SmoIuHm6VpQEcLhF1p/zTVhhB2koNuteAg9ERNS8t18ybTT7geY8T3SeNpFzguYvCJytUBLMAFV7J7672JqX/DVDDUAHO1LANRtmyF1nMAWevR2UWQYKLUMAA5lFC+pOcF5VAT+T5mb1++TSTtDfHB4uK7RqjeleuFsKoIn1PyjJ8aFSQ8dr2hS5+4Ke+utqfqr3UzrjAhA+Mj/cx22OCzzr9n/Y1kPYh1EivBgjbhGyNF4ggrGZJ7OuD6mxEoyiUgY04KE4VPKbuwevQDt7CTBi7YLEkZxVMAUKOhP24fcw+rezSmuXp0s2eI1tcaFwHZl3iZHOHg/ZuKjGOYCamYPC+WtR4q7qWcLAUIYKmMkjya0ohjq/voHmA+rgv/c2TyWL/sOq5j5M2HIwwc1/xLiLCyZCKsTSoU6XVlSbQezactOldlOwQVz7KEfMO+nw9h47CWyOuCYP3T3W5iKWRWGNN4t67hVomvrVMdoC2NofS0H4y7OA/yu5M2wqMzMyIrXshGVvk1/+Tkwp2JJlJHJpZGJgNh3Efip5iXyg2FPuUSHzrkzmO0DnR9EEAscgsnlHs+uKqkd9AlJwBwkosb08GSWoAJLVeE8m0XtpP1j4Zz1oYiyn7A4ZNNuU+kJtowqWJchswHk60itcdH0qJfC2YCNoRAy0udPiouEd2DyfKi8BFqwqDITmhRXnEnRGNNK4P8jSHGBlczdzWvA5Ek1gCoMB1KVF1EblRKMvN97cCvN28jO9GYmfktLgC5Y2WdquP5Z+/Egpif1vMK4UZDg1jMfFoedkhS9RiiQobtYKBImenFuKScCNgdkoUyGV9gG7f5CVegx1ABV5ub3z1PdstDo8kQWTwFF91ibTDgt8jGuydtCDLDDdRvKfuF9mz41SqHb/AXLPG0IjOCAROyTZCmaEVRTKl0CT5Se5VSNXlZHU1eYaK+nPFKej2YdTCGSuto2OORZoQRK1n666/sJqnVAh8vVcnMJNnu4YGYNvXQ1cOKtLojpDyYgFDJasv3eSULOOuhgax7RpAJQVPG7R8J5Bqo0vSDNofxUmi0bINUHbH2kINwEVqmjdhjNYW7Q2NgfL/dBAeZq5Je69f7HkD3YlIMQCDOmP+WW9oLfaqGKy5OSzKoNeyeWw3eS9AVzsAcYIBkNxr9Zt2YhY6+1yBKYu5Z9ErizdrMm3pbV7Fky3v4nQhB3USVdjlJleE5eyHf0g7Ry/vKFSovJvi5PUunoUKBqhWXJcpnTPMV73Q9/s3YwuXUwIiOWy2eUPJ+yeo0QaFiGjNmxjFVN2eflUdGZCKuFjYfRaoR0uaF9pOsdj9O0ssRlyoWuf92JegYI77ZHiSxshEkOT76nqwDFXyDa4Sgq2b3ryYp/U7Z0Q2F5MOSUrfrSpGI+6zd8im1ENbVj+LbZT3r/p2GYmgqh2JW1OBDYZS44/gYfv9WUmH8BLD1nP5ClGi4T4nziXKdPRW8J/8nv17Qanx8PsLpqdApbUcC1/cTzVbxWsaYRz1cdnFQfM/mCyoLpsiMETPi8yXWq/J2dMYUtmQRfviSo7d1Ny4b1+rgnfizwvsQoE/JcJ5cxobffzXug3y/tCXoyExcwdfhi+tN48EXSqqIEM5NvFCrpnFdncFY+liUojj82s4iGFCilc/EGkzhZNs/OIcdx5YbmM2gjZrPaQVOnDhUDvSJhlZE/3PY60Wzfi2LfA/HoRoBL2uJhU1eAy1vwTw1OMFSdLqKKKvq9qpHcsmVrItoHIxgweDqUK+psGBMJ1mI5EyFQclj2SuRo3H9Kr23v6LIuumoBrIpx8rvEHcwkKDRbpoGZZVM8pYIORlM0ZBr9XG6JmOeIuZhpYnrjhudJRqCZvSoeNlfh7/SMaFKR5i9rN+JVKyU/3o9QtyGEoVRazAPmdZABNxx+JsQNFgrvVBriMYlLUiqYE7DG0xnDqBT72Hj/g/a+tFdcXU6XkneyXfBmNI+tW2xyHlwJsHUI2zKqKmvh//U9LJdUSZAfAEm8PxxeVNhNe3jfFZmFJpE7Wf/ujnInz1I2gz5F5a+sja3qyBb+d0VGGQP6tYORCC32txLopWT/FWiuozjeD4e8ebQQ7hDNd8lJsskN66cgxpLZlynoEQ4c/nqV5yRJ068VcA08L0Un/wXd3HWy8sFy4p1hDdy3TR1iBa3UppYeRiUJ4SZYFDoLwa8rTydBgebO44O866gdgVbaRppcXZuSGIkgGhdL6/cN3+DxSDPqc1mv8ov2uJFFTDJTtUyWphl+hzwu8PMAVMx2t2mBnvD9lNJslvZKwpS0d/PYK9m/PUjF0k+pmDI1630mM+7n+5QGXbe/usPdgq7O1U2UK/gFf2XQ0WwfFDfM2r4/3faX43MtDaR0WiDSLPuWwLynyGMLAb78PlxSh0MXcB4JUEBiyAMbJfAHqS68QVliX2oWy0j3RqSeY1psWo4DYgVpTWnI4ebokGkgy2EUHCiQUXh8uZFBZX5IZpLM4LjUF7MpBXRzwsFfe7Zp//3H9mBnU5KiVGzQaCxUTbFx0+88iRj0yAywNS7+eAq6iHx4t3od2CQe+fL0FToV3UsL9xxkA/Pd9ILd/Yu3SawEIySrx4vQsVV0EOpZvwrUXQeGqgW69Y3IjNdvhgxboGBEiMlLgbxzb27nfRFgs2k3foTbNUeNOPJ9LSXOFOXacBAACOlF5DRrHsOa/FVNeICIzysG+X4ZIdeRCZVAZ2VYbWWhWeMsuAgvxqv7sp6WnBBM+rxj08mh0jEV+/NMv6SiTSiuKN9FHZexW6stmx6agWQpLXjjoCeswBUQJ5OGUaBQ/1Z0Gj+Amt7wqsf5RPOTDwzQgwKEZeqrI0XDuTqDNhBv4iCwP0qIM4MQ1o1jGXh//R0wDbgyeB09pZlScv26r6HASL46cz8HcFYonEavEodFbw7VuoZQiY5YJ5+q6hztQ8yb2nhpdsIpL1Ss+UTyIqEECnx/tQJ0iKitXc89298/S26XaMkGKdIUh+4ebVrxC5GnPL7XTpdqPjuRqLqPiZzR8lVMgFBtcZhFQQ/ndoE8x8q7naL1xIbMVnKjAWygiBolJVLSwcvxpqKPaTRGj5fFwhr5deQMvABGUMaYJwuvWqlbYnlrr3p//38GxZsZ6ndk0nxYy+CnnwEAgaya7wSsi7JLbjLnv+vyzv7IWY39Ru/xY4F23nlYLQCvZTrxTOuGxfFImfNXTA2Atv3o3lB3QsgqF3+QrVSqwdErRrOZmoycP93HtcuDuR+asf7/oxyeGhrh4D8ptX7hzPJt2DKZfriVOO7geCb3pMC1EqWMHD7u9cq4HrpSU3vqSY58pC+Lcbe3O5XmdB29Ig2H2PUSdXgrYUD0+T8VUIaUH9rPAx9oZzcGtvwNQD/fGDkezGIHOU5SsBJklA9G/AbAeCPBw0bNLbqd/ACBt0Y2xUVwMnXfznlEfyLdm8MPLAPWV3k+QuBh6B21fWT0KUP8j/jbPILZC9gFprlYfsHV6DJwIXQa/6q1I5OSyNttiXH5ENuZ/G/uFPhCyFaM/BrMIc1UV3+l13pvqi+yVgIRE2uKv6dCU051mUvc41p+wEKXCPj2vDr7Nuv2nRIfSf5l7bS3M9UH1jhD7xklUIaNBzvRAGyZfdNnm5u5rcqKLUDu4WMimKxc58e4k8aryfQxz+j7gO+eW9EkzyHw4zrTPFM/xsoCu/6BnACc1/W9+IsX5RoCB8xjIe3jmeEph/4IoIfI52QIOstKGWbo39yqpHgqD4RPUmetx9gCtfVWLAIx3JNr9NWEjk5SmOaKgFtHjQkpj5Mrr/B6BdT95PutLH+xV0VMCq+AhrgKbu60rVLyshL8ew6Sc5YsXx5K55j56DleitVd0CMTHvRfmaAMnQVardrvgzRtSr+FcUcIQMsavfpEAeRt5s2KkL6eM8quKf7YJMr4gTvwbvyOJVzdOE1Vnp7K7An8cTDif17nKowv0TryMIRCGp5sgtXv1Dz8Ob+882ytFoFY6wRVeuKHU9bz/akluV9vDH4y2AHABrF9TGF/LAyHvritdgsgk3BMoo7opCrDw1WZaVv3tktjTRQyD1Ooyw1Oy00knL4bTooGYgeDEWT+T0ehOb2QnKaRmwvBo2U1Nny2gWNfTf2ItBYMi8y+A/y6FbxFeKD4zB+mOdE8G7hqxhJIV+Z/rysQgP5IA93Zt3LdqDJpwL6nwLKwO9UNon4uNEtQoRFWJaQjHcYCpTUKnc3YJYVGQcgMufvLrKjAywERqyXBP8e50v190lYY6Rj3S+uVLXQ43pLOGbXIjfzVArpBv+Ra8sJClvbwue3hNQs3ZgLgFDDijUu5oT/5/QlS37P52UKs+VgTxlz8Lz0w5Zgz9OiCbrRyfVkli8bOzFJ4e4ENqxKi6RDgbJl0vF2qKtA0N+2on/YFHucNt1ZGE2Tq7x55eksWPAFhRAnv1aHrs3fy5wznXFiZeKrjm+fc1X+uytreew2FrSU5S2/UdGa9jxj6KdPotFjPZXM4PEunk3V/kgwrJIlRtaL9WcdBs8wsGH0ShdxgQJpje7HmSiufeXpGsCjcOrA3wtJHNXjCa/TVM/IiBuMLrlm64PKToPci5xkdJ7WLjrW4y5LPjQI6v1XOV8qjop2dadd+t4QmZl9V6cc0PPaIbsdaz7seqnU5Wr7+uSy31QvfNQNOEssVAX5Eq6IRaWpPwhmbAtDNWH6mpcvIxQoofONo2TppG/zAWIQZ8pztdrQdmUYe/oNOc0MbYKcNDaXWpqtIUF6Al/QVd+8wcIXkCEtDd6IQiElR3bZgsrIlJ+C14yUGogJBV1zvSoyad64zng713vl5tnlxk8r/IE+HEd3QfHDaw914oaIDgrb9ubV9/XBSINQMsu1RVOi5HYVMcIpOHazukTvLfABooI3+VWdyTudLaCVHAzcl3EQDo+fy+1a4VEkF9hw71GZ1wBSJdNxYvCRqtbhijrSil4dUSp8hFbgmrtDExDq7mJDM3NWRf/uwjhKBWgtZ9yKq+5B240po8zizjCWrVWlCKRXjeoX+UOlE6Mi5RizfSdr9zgoaF2DXcDqgSf/nSz3L/J1oo8GD7iuIQMgo1/Egr/G2CBHEXtL6ewz/0bZKiWEXle2JfAEieMc4Y6WCu7K2vkfrGg2zxGYF7C7DyPgQ9dXrVGVVgaWqiQUu5RLbTWPf65/rMtFlEeFcdVxLWp2jSHkAlXE+Y4V1ZIMYMa5N4P8ArD/Awin+mvhjWsbau/H26mmtaGnN0O2phJFdfSoD8cvd9zn+XtiEnvSPQ+EkeMk4AYmyVhMy6CAnMOYJVQJeGx3dJTcrSJVUamey/BJSkM0UM6GFqklw4R5Q60vbOAh3273nfclnVhcuFuc2DuBjUvlpzBFqS7kKHN2t0gntMNG3bnnap6Zfkar+0u3A00v363JTvdYSzyU/9WzACsU+z+JVeBGVRU4bYVfBJkow5bzF9erLyvppa6tsC7MAHW3XU0tNchiA+Qj/PKwBHH7Ci/S/bvP5eGwWRK6bSeV5LYi3YeQWOBDyeZc1JwtPjCWCn5Oq3FBW0Lvj8w91AFXPRY/T/iOHslSMFj/R4CtTHHIUZTiUBo6MhbrXsp68v1NOEazwFu22NlgjRuiHofEFN3T1DowYQlB+wQ9CKDhoxHHdcIoxPx1A99SBHe6hLfkVj4+SeFlwlseAbe9BRcGdBNLR26hR70srFERtHSzi701cQDGXuft2o3DOLrfOJR3t3O76tyZwipYe9JB8u71DiAPbqi3f87SU43b0lPZYX0BbrsfGm+O/ii81tGPyjtOvqewhO+RRIe1EUtsVDPqJrCpJKE9NFtD3ytcBRi88u+WTnllir8mhXo9HOMe942qslYyfECfWzFHgt0TXbPVj5vp5R3JBSh7967B4TI/xHCHVi2z7d8MRgG1Y57qzwgdRvI2Jmw550C/LnadbLiVx0YajPf+rQG4b6VpC1X7eVS/ZqTlspebmLRfTMKqE+4CyhkoiKl8xUSOj7K+SsbP6n6sbwJk49/UEYxBlwM7qthE/YbdGA0d9OHL9OCxtinJ7wtCpAZ4KMCwJ4c5zFPhSvpk/FW39iK/RDkO4tuBbc+ImVqmXejLK6SGJd/kcJ3DBMzePRLiH7TfrcDak6uMniyNGSva/OGgPdLxMnLLDW6tLsVZXyT9EBUruAfTk2V7lGS7skyv/BRbOOfxyVc7dyhugDXG9wzU+nH5D45WI+TsjimRIEGUHLxTmukeKqFBOol+Xh75km/TM32yZTlDYjoE8Ij0wzjpbiGP2ypKyD5Kv59UWcbw4XrCowAP+iImsFUGAEKZ765vAz9o5olOEGzdVwcIJEzCNwr3pzejls0CK/WI1GwRDkkFnUwJEM34Q7+kXll07RBloEOFfhmljrK3h7fIx2+FI6pFt7yE50Tt0E6E9CWCLAqKzeb/tXT5uF9OtB3mEdornufdSz+iuQUDrOVsz+eRFJEgE7bUDJGc/gVKcgsn2MFh88G9FmlTyC+YYBfjN3CToeLrA3bBfUnHYJ2YK6i+3lDkI3l+3BouvzlFMu3Uly7P+eBn5EB3z2bFW5H6MiGqWkcvB5nNHcI8MGsrqg95zrwGey5oq3or5Mmu4d+JHAlIHdE/ZKn6R8bPPFag/Z6hG86Be4IWzTLb2A1PFU8W+y6AetyrlxjKQJPK8WuiYkzvEXAeoDD9PJVKZrnzAv0m9tzALt0nlCy3F6U0orkDT+4RRWnsbMmxze7oRGYTOsk2ZaCsY30tWKHwC/ByjrGt7uqlTCvxyiN5Mo6/jwfX/gI5uRtj73mfuZV1ks0nxEf26eeqjq4xPnFncJlJs2T1g2RM3HeT7dcwanXcLfF37CjaSK8nKgUU+2qvuJA7zZm6YGXO971hpQfgXzFAK3ZJL3vDr3s76N6inh+gM7K6+2HLv/kuDXIVFbI4finN7q587GU/iXySwcpwYqpjt0pCqDLgMZE78aJAom9I81rx8e85kRHC/mcSpGxjK/tbRNGzk5OxlWfPc/Nt6hlCDBVuAid6vbcI9CkIBU+rjG7+JtZiP8kHMFTKDbzOznLMXxGu5TVpzrcu+lSBbPzuyIcayaLOLBx9Z7pexRRkHvYAcfnOwh3iEOaSnUxPEkBTvO0QY+xrIw3/k1W72rt/OecJV07U1tXKGPI+qUdjquMRTGHUzupcS2dKPCCxjIoA9hPllFG2t0ZcYAYY/U9KA+rR6oPVlEyZYPXMTanBxdo7bP1/dvzDldqGdtqPMUfnZXlECPtGy6lLE0O1jkCFQcevQPoK5mjhFa/IcvEbvRgTlQuZd5BvJ1AgQv3QY3N1sJX63PDnoK2/w+tccnt2mQmSIrfXk3PUPaInwPt/WbYSv4L+lnx26hriGp8C16oY+sbnWGY/v8H941Rg9S58kXzAFmEQQzBNaRBqRp+UIwxlIxOTwjDzjx6PPiTdUsFqXO+V6uTvKk5Aem2Fi0ggzyWEWpoiN0cr4XDCdV3BukJMHm1ovo4z48jb7Nv1S3azWrJsDUF4mdLBXQUYINVXF0uA5dSiFTaSVZE0xpVNoxzFl6fe4IFzORY5LZcgSfioxiRapIqCB8dG2qSdgcxvTdRFSnVOXlpHa9ksHJu81JylPFCSmDQjrJvoZkZ+EO6D1gWtPvvjn5ShvMLU64gPflyUAuiybSJy31Wp33OOMpkSo6rRb6ixXQJvq6uak8vBwW1QLnuMth0qIA0EjP9lFV53v/IkKUdNORqKbi7sYHwrwYMmb93ltQ7Bdc6NCo0bxclHsQzKpEOeBUJe/ENP0E+KmjEK1+iSkd0MDIPtkS/rdsZHB/5x+iwNVQcXjsB+ZAbG8YF/MV6Y0RHCXS67JfAqSJ7QFHV1ld01J6qJtDaYGx6rYnVtMwGr1vcuBhCTRkfar5/LoV3b8A+t5WzEeVcZTaq6ffYn+LFrSM2+Sb572Dx/+9gYITabGw1+81nf+1iD7O9zKj8h9urKOZckUGzk+J1e7JTdWzS7XUzGkVODb+FPf/PIUkWepIHsdpyxRp453duqUCc+SlYdMKka2mHOQ093mB2RPmiCYvBrpNcIYojFXKQRRTkKLNmKGk4D/3boH4dx5Dsj53kgL8ZUDejdhwk0Vk5x4rWNlNnjjoxS73LS9/t+/P2jyJLrmUlBgdSaBGqUOYbH5tl8njs5ekyhIBxKDmOcmclZbi4a82ExDAUKaZWrd1LO2At+TwJL+0SyaR4o3Q8GzLLbX59xuF/Jh1E70ZWXAjE263LYMqPcM9pJEEj8tfgZjcUx/9lR4z9934cT/z6WQ0UoZXVfecSKQRHszqKSkDpac/kQEueETyAlLZEc25EDSGmyN6ulhiTOmqp1sbOQCa6HWQpbe54mqxmgKB6CyVthtDPCNG/awPqhimDvx6abmoz+M5+/64g52qiQula27JYRhtYFhH9To16xhPfIdOwdOuCvR+nxWa/KA/HCdRwbgArsyKbYBgGS3wUkBlfjr2C/bZ2ln0qY4i5yDjLcybYYpftCKICjlFF+XPs6tjFmtVqns7YRRofF5F/b6ObQqPaDxmD4IpaJpk7kuy2mvn0lgTtf3fXoDwiWjHHngXmm6aHKaYaN+ZQx6o5kvSTm+DCTI0kCIh4WrNAzDVIFLBUeY17/QBKuzyulpq+gfwCFX2VhwZ+j02McjNTnHyoya4rm4Ull/QYjBnyR6ge/kZNsHYJ5HnsRE8pMecv4e6RvftKbahcgpYlvhWMtvU2eF64l9AfKNOJKNQicsoQeu8n0KH9IIzLamVxcXGx5UqyP30+uGEGm6I5EGO3RfL+geeF2gxthjRk50yf8xhhLxx6wcwvCj8PgLyoGOGjTNU/wQuUGDHqOJVgqFxauiQL+26+7bnGXieyPiaSNBengEQGwdyY4hKtfqF6+O4wkOW8jUP5R2uBsEmPlM7HxbFdkpbJqrdOQhmX3+ZmSEhLePtWT6Bq4c6NslJy1t6ckFgcMs9Z00gtZS/mt1T6j+oMTQqeEtq8606Npcc/EleEaqoc2LISwCJKGr54q6qWs2UvI7UQJz6QVrJfEHAr6hN+CuSf18sohsv3MR28TKatUKbIx27RcCBk3iokLI+c/qGUTPDR8Dlpzl9Yj0fgNvH8l+2uqGL35X+rHL9JyEbZUbL+ZFVvbxKBtcCHWSzvPAdubF+O1Yb4/1PNR5ta0pctKH3itR60ofxm2IJr2UIMonmPWjIOA7piUZMNim9wQKxXDkzUuCgPrBHLPm82UsGs3nHd54SSAjdWjGzbpD/kG2cL1SXBHqbEyfNkdjcD48/5LZjwMmi7mLu2/gw/cYnE2n0MDaG+ekj/Mtbc9dLITh5Z/JBU9iL9dNCfN7lOa7gSxbbLIcO9Algb/QeX+uX7JaSdjwGz5CXUyhRKA3outzWHtOgsA7SpIO5cac3TEMe9wa/xpmURAC8KBcs1d2BsYAe3/04gIethREagvIbpvmzXhhvn7W+80b9AT/JgC2xjbTB4KLSVBhY1xJr0IIKOjkREoJvXReGik3ND5XyJmVkrKVmCWJQijLhUTZZzVmxiM53s3jHiyWQ+9+zVOMJtDWkQ5RVHv/3kO/Wdadi+ONuX6dUo/JgkuD2ibPqpCbPI/Y2mvN7k7mCV1V/4y5v7WvJ8YNj9QatsR+ij/b4FJJwLAD/xQiS5W/zqFR7iDaClm+NKvDmnjYkwHl9EkNjw7ylYoOSdGCZO3R9NbcxGKK8ozIokV7fwD90hDtLI+7ji2RE8iH4IFYnc+greE/FgzRwGlxOgasGb5PAYs83V/riEim89TyG3FcwO8kQ7GQ961juWzMzpnPr35IGcGDUcBtatPmvl6o8/cFIfH3IDlPeKKbk/6P8XrVWk/NebLn+8Zf13A1HjjVH1QOR42okbI0kGJpDgz9KorRfBIIz6kqCow5E4ZkvXmLg7pl/5OC6R34Nqga4P/olRBYCmEHChA2A8bWvkB/0rLgfPGLgej0XZLYDgXBF1lYZtJZEVGsMQUBqy+scI/Z3zfjc8ky9gzV9j5jQc0/QMInydhn1iUQXMUmiPT5k/1p3S6lVFaQx+LzoWMOHvniMiKepmPjDQQYcQM/CBTc6HhkcXBPTzXTpO+s5TpRiveYB1UKwzO26XUBKu1WrVDr2jhBYJtpSBnnDb9IVxEUEiyYlI465K8ENokwsgZhofWp27p0l+Bjr3e1DG55e6a9jVExVJ0r0ApgTWUG7iDDsXwS4xZwk1iNYtuf9F7PkYUYV10HwXzi+3x+1mQJWIKQ8lOZyuSPHg4AnAoKEdQkSeuYJ/laU6GcS4UecQzLpJmNeefc0K+CXtuTNwMzMMnaJLHZ03WoPEz469E+QwTMg2jNvWCrDyUjiQrlvONhU/sEPV7ZYdPrtTxREgYP1c1TGPrQ5zeqy2YgbqRYX7CEoVPnX/dP3Oh2Jh/iKelG75zlbK2Uj+bdlnMUjNdI8BF2Cx5M9IcXiWTpL3VQykXrTYknSb3yWknI4l8lwS7nn4Ig74wANk0t4ODmHv3n6K1Am/n9qL6cucX6PTWMB2RFGA5w78wQ+ktye9tC10cIMfQLKwBO+P7uCaPP8B6KELM/d3fx28x6Ihs5TXprh/6iGeSHIweNPAmTk/Em2xuSlMSHuny8/qZHQPvJ9xJ8kMFpyHBgctBS8bjxeXq80U2h7Oxy3VPM65v7HIxigFpv9UrpnuVdQM2szlDTiQbFvGZj6cjxc/U44TSC9ekf2eJoSnNUCt+ltNxJb9rcSy/+Kjgkyg5/ial4sLESrw297/Jk4hZWaIg7piw0ITEeXD9Xh81+aT+tcdnvIXXWilz6BQtRJ3/kHATe9rdx6hFzA7umrXKx6ILaflMFZrc2yqEC6QAlZYZl/8+ShPGAmJ9cvE1LHmuNEdcgz5xmtd6thlnwifep4QqxfO1JzJvYOh1VGfUm6p5y3QQw7B77eHGzO9CiACXfw5oujy//BH3OCDlg3YJ2Wp/QDcCDIujb7vEadifOTOYls0F5d/4F+o6nytC7dXMXD8R3Qo7mr0F/tuTLVjVyPwAenhHbnoNondQXW94hoxJuUzypHYjzhvgJjeE14vABOgLZEUJxKZtZmw5EZE7bXNcuNxE9dnKSSExDqtpNUVudWfUZZ6z9SiC4sSc/GECR9/P80tM0tPXz1ugeIqsd096twW/3ieZTtyGheGj+q+CgHdrZYbNztCBBwL70mvCtdRM6DVYls/qcsOooXbJLFsQrU3mKO+YcQgaz1zlCWTCJ2ge+VokavywcJpesE7Nl0FFU8VXxPLaUFeUdbJfA7+5VbugnF+WTaUmv7FMaUJfMxfsZrqRZu02XC20CGlxmy+ozjR4RN3RSecPu6Jdcyb71bpe2rscEOoPc9RNlwU1a8L4OLdd47+cTts7S4oyCh3fLPpphMqX+sY/f59MgcHZ22xod4WtO7vOnSGOFCJveObVvRTc4nh37YIKSt6nw1m9iAegFkV7C39UEAdUJhL7IHIQktd8aBSYGGPLwBUra95Fy4048YK+RahecKv5PL7jtyhMvER/uGU1bWAb+1B709EOJ/ZDnVQXkh6bj9k//xnHnugJ3BkFU1vKwGZnS5TAhLS+ur91XPqqglee9YHVkpIrCVof0lK85AURowlgLVu0Bg5DovDGj6obrprml5o+ck5Yc0MK5Tb49Us27lpnCY5XkQFCzR2GZNOBX4HSnvfuChhYipq7PSVZ9l9qb5dm6J45lqo8iFAJLbJ/VfZJhibGgTfxfqLSTEz0gT+lzdrKDNomXHGn/bnmoEwuheZG+HHjUZyhOjM027FcRx+eU9sCIhuZUkMDmT4j0cyMq+VGoW03JpnlukG8KNtXX0Ch6p1lbAIJmASxweZpYtQ0+Ab71bbGiEo3TaUG+Ndx5bI0esBse6J7StrLTO0hny2ZCuttoQplTIqIrBfF9VC1v8loYV8ttbxT+2HHTNmBm9kWepV1vHo3jYWv53hMGw8loC6LDH+vds/Om/rqB3Dygqlnyxx6tyXm/sQ3wZBD2W97NZP3JyPLSY+NRr3cOw1MZK5CK/TlVr9uO1L9QgFkex75vIUa5Rlgkm/4u75DSA4yVMWIl6XRxB2y3oQw9Mq8xWZkZPlFyrG6ZPFflbvnpvhjv9AJj/gYN5uA2zKqS9/iJpeYuhpyyVzif36yLlcjU25jcjy4P99ucL8EGNQz+zsyaK0Qeq7Ftrxn/V6XbRyzgEyqK560/tziKNLdNCoAdvgggkygPrUN1wB5tOu7MtfNvt6mkYAUts6/L9JX53q+gzS1tA8xAPxQbH6YlStgUCVvvh7ti5KhhYxNlZsfU8/G+3NeSP3iF9zLTGiMpvjUFCM91VzhCEpg0m6hj8U0O3TaN4YSzy+tyMXRMsNxUTpxBq6ZDeCEvNAAKi8BVTej1qmdyVRuPgvnSSaqGn9Pl+R3U6Vj0+ASBrq34RuWZvnoeJlAxpDThIoYylvb8LtdUXIazL5iCUByC5+IGTUVFfICVSdvc4LT8+diDhd4ThFyOQgZYMCnM32xKbSEnR4H2wngUOcPMbqIGFZzcra/8Xv/NeGFlDQ+pjOOmsGgM+77d0lQwBguEFpxFP2Oooo+oSmZmnCtzmL9p5Oo46QSrZ66/KRvVOk8IY6HcwtstRWqafyXHJYf9QWYLTqWMNXPVLknS/8YIEBtmODdScF0eGrr5IR3PWfPjx+Ik9t6scybqaEfRaiL9101HxDCOJJlBZ4tviAvVNAzMuaKjWJlznnh6bu2f1yh8YQsrlw4O7WUW7rcY6I7efHMg1NU+ANRn/am9zrJHcBQgM5KeH0PeJq7AsjGP09Ah67jpD7niMEb/9JEnNLO1VACJqjBoCMjk2tqH8uFYOdku4DSuH+ouALb9smJMzXJUkKYIJlQyyV4oBK6+pxg5xAQEljy4e3ebn4XvkgFytug2zCZ+2QroXEptUIEYZ0S2D7xty5qy4puzkGy0HPo/S/KrgkaGUYBAL1y4mCsXEuAts2mbtMU+R842kJ+l1nVyjR6umzrRahQrdm1U0rgOXjqhbwHCtWuLC1OkjklRZGnGo0v9kkN/Z2SHW9TV/TN0XAyZrMAz40QL3PBGbtC4o/4oQinEc2Y2gbksY3rTJ+Q5F30NlIDYX7hxQy1IiagPS3gCH9S9YzqoTNT6qzU4R+SmWUjFQqFopgmSM5ztySd4/FLzgGo69Z1xgc26UQlBWEDyQ59upN2yzHJFmrQcOscNJacyvuVWfXE+ujPZKzpiMnoRyvwBONnriUDX+QcBlxFcJem82NG8gknJmFK5XP0k7wjy8tiFm9k6yHwyVek5JClfNidbd3iLmvwKjf9+mw1Z1XmipgffQOOXzRak7xkg32rIYvXvf5Mrz0fYYXjvftrJjQ1N08lBWploIPTip4owY+KN+LJKiZkT4W+b6inLdo07sVNcidoc//OPyJEhNJyhiINs5p8bDLb3OekJcQMoPo32FCmsLRVOvqCED3vHh9jbf5+EwPBF/bmOwEILMceskhE2CMJygGUiu/zuKLw8nZ9bcpxeNEbEH7DVCLLpEdwuhB2KSttfareX2i2fa8w3146dGddc66+Iii636Pum3WUfdFb7mg+F9IkNl7VQ7puv/CmrARbD4pFYNtgFbbaLaXDiV7GibccaMHrYgFHDKDb8yUl/yoCY7zAUUfQ1PL1S7zjR58zGIV6GtTQwJCQ+PPoQbkuda/HFxivua5VWF/rTt1Kt8vo+rKaFrWGuRuuVTaSPZ3zZjM9g9swpwod5FdTXJPuZ1cJvK7jsDwh3Wd/pAMCDLHlUWLTtIPvuLadpnhZP2k1jeTxQmEEy2g0ZDwteii8kAkJywN38WopXox9jpI3atVMKxR7Pcoxi1KZB3KlyB7xNBrnK4DWha4p0slaPl34WJquRuFor8rI+UZFphTbPrSyNPRjKT54OBNLGeV3lWa36pFk0g1W461ybb4zbqyQ2MT6Eagd/aWS0DDcGahOcg2vkaIdX/I9zXCAK4NdAvkM4u7PIKUjCadHikdchhqJZfEOfFAfqn/cXb5Sg3O0uBg7zRYjuZ+bNSYwjlJDF6QcNb0phBX4PirialRTWkwDiQd2BqlE0Ht5q+TOJGueHu2Advsgruazoa2sLvXP5pfr1ZiFOvPtGzCT9HEPj9ljWL/9npUhbwytMkljLMuVDN37UcdCgXtqrTcGboJ84WnUXceohrPADTFsPbHhMOh3v8b4eaACYdgY69XYVG8/EYx46F88NQVFzy09jEZ/E+wPWJYEz5Pl1YZIs3kpWxIuGXTR7mv/IS7bJXp/GOqyko9aHbV8xM7yNJ89/tvV3XSCgaO22Cya96tjyB7RYXPrzO1YqcJI4s4S6rcSKEPyQaTR/6BsAsCW0h1BmaKTj9lUvWOCo9nvRaN59Q7xszQMSQPpL7CFJ3IoaimdRmObRHDX52mBY+EFekCaSP4XBCcjAXL0G5xRbzIJzr0unOcO+3qkXEYtKFKtN9MUKSkuLB9uBPDct1XEIkY3eadp1nrAIJWVOwaI8T6BV33vk6Y7dJan9oNd0bNx0Z/KPZm2M7O4dMiYjWgpIC4QQdKaWeBOvaZi8TVTivGzQKLXGUAsYVQiXhLF0pXyuVCJUK6QLWEmsBGb9voudFmYI5xZfQ2ObBiwvKMs1kMCc6gYfxmmRXvTxuuASC0z8mA7i8IfT9cRjlT9MhPJ14pVYSoG85Cguca8GdVORRWU6N7nyembTzpBV7QmjvPMxrmvItUhPAnzrUtCE7bCEmKfiwMGiXCVxTj3sPlBG464HYIdJxCTdwAtlXpC9+UrN4y3V0jmElUY0CEE7wHQSq+z1tjXEP0Hk+NPsknJgymWOzGarLNf4RdBLnKTLXoxmEHSrnny7RWWb5GS6xj1LFD58nivAu6SKuzMZa6MW3JyenoM0DqWgrsKAfu8WO7FiSTNmO7fab6+zvpG2T6KqVEu8xmWx18PiKv52g1vCj3KsDFfu5qqBIHXkFAbAQHLNz3BOrCMK+h8FJeJ8ihowORjsEcilUEoD5aAf1A8eWd1A62cIiM0c6u8XylsiCLPAEg8jkZAPu/RUqUmBxudptLZmC7ZyjESLhFOrFln9TqZxlRX9n2fWtQwwRXjX5Cg5z8GhQw/ewE+x/gOpWXpaFsQkWwlkz9buwJ3+8kD9h5YpbKGPq1ENoIc5Cbs9+nB2xIh0ttF7PWEGip7kAgZEr2HVL8lxbw6yScrYp+mPMmT9lQpp2+omdyiGeQq5scGBYOeykesgVOaJoF4sR9qwJVEG62pZ9PEWA1/sDMcoG4JTMeCCDi7ydw38v67DZNaWTv97jHfcYJ9u+RbRA9X+shMhRCm0Ij7+bmF//dw66ahqUTFSJ2pbRAt0MHV8WRWNipZbeNbEe7MFHeWjwGJQb6yk0PYr+suz/HeG/veZiVCEKTC8al/CjcTU1gxFDyhM2BUShFtbJ/Md/EWRxQjtJdIbvLQMbajmnnW1H0IB5ShgoghO20XWbI4tKrtgddFmphlGkFV57mD3nHAx4zPtKQ+M6DetngQZs3fOEKJqi7EFgKGeGH7jdcALBmOcQnZqIIqIz5LR/yYYKUmB0toWAFAoe2RwvX326/0t2c0feHMUkH+FGG435wLu+itU9Ea8FyvE1Gd/ZftXTTcEhzYQkhIVO22dt1nQM8kRKLKRRegm7Ck0rY2TsVQ6f+vLT39G9alL85EBJMe+Qqbf9qCwMkc4vHEbmi3krXPiaW734mPmIy0kcP0sma8BWjw3PIAndxOPVot/1FmbLePCt2mtriKwnaIWqn4ncfZ0Opf9twchPa+8CJuRHeBZ0kZo64N1qv4qgG3YvslLPn5NhL4VaEF2dduDM9YYUj40JdfWOcL4fjTvmcq60drmdm1SXr+6EaAXpe7HY8ra/Peb0+gscpaisJPobSrW8eZwwgAV/xjFwM+t5thrF6P71XROnSgxhZfksIWE71Yy+wDgTmFxbrHhAoMKERkFVINVN3Qt5x6CpqB31IQ6ynInAqpsc2ylmkPa5sdsuaUGgOxILSZesrdPlo0uyZw+Q8RGgRSVnPlTfwFhqYeFH+i/DU2zOdDrFzAw9AxF+E3co4qgyuv5WGvDT4IJ2I0A0Hm8kgOtsMcJ63Jr9Ji7+Rj6eJc75Jq2Q+ofmrkx6Xxy4j6b7uGPJPBGnvrNnMKJeKBsOD9kDC1la+CGBjKQAcvuzRd3sHiuF8vJim4dEsNktLfcJff1NFPo5bv3bBKx5OqfmHiV+Vv0Kejidamfg390l4tj1b/7SfEaU418933H/AZJK1pHsSrc0YQ6Optp5qwqHmA2eDAUkeq6KaHu1Rln+9X/udAKhtnfG76JzCQywrSDdev339J7SfyrFqjTt030A1RFmJMq7sgRiB3oeX0Wuq0z7D0TES9utZfoquxClz3oeXx0w1eWGIa2mbv1GQlnOb7lL2L/dQEtTkC9x8uUgkpm86zKejalT7LPF1P+HUEi3bNIhf7v1Cw7NwyI45FEGap0pMByX9Nti3l2mjZYIUpJ7F9LU8Ep4f1TAU5yWUCX2mq/kex7NWH3bXhqYEpwDCQL4Y0rQVIXi29MWFuPtjLmED4APyaq9YFDOBfS9pzbrPsbAdRNudF5Qw3cLfDb9vN33nnOmMiyOh00bxIlo+uOdoO4xJ+06XseXoyfaOc3V9EcaFsk5exbDoEmEInjOs8SlMoxNLHRdXHavyrTpHfKHiBiGsXhl77Hqd2qgjx/mqUg6s3zzYTrqICZm8XYp0RQMfbpVqmsoEQhAoq7vR+9s1dUIXrN+yL1vITaxhCemS5tDuGX4xEgk0Q+AQ0C5qnP7QxZ+95xszJscV+jlzUhx0QtlQnDZXi+RCE8O3NdSGq6hr6kq181x1hysO3LH6M6c0WsdpFInIEPA58vEAcTm5sFr+gMsNDNFfTxRW6v3OXSEy9D2gFiklqDYohhvFW5EGM/oV7lSNslliIB/px9kTTCakH7Gn76gFCeke1HSLK2v8NoCvbYM/xJg/4TYqdQm5VirQwzrDNCPLyipgyLVu21txMt4RvPS+3gUpyxjFAk0zDxqEI9CQMKG5+ergtSHkviYMrWxETv5xW+aHjrMyEUb6+a1wI5J5D86n/0UHvz0WZzwqoQwotQloE1vHfzvs0Y5uhnc60EdTc/+dGwLzpnj3IIgr7RRdwoiUaK1h6qlrLzUkP62jnzb/RuNCXPeEYxEgahZDFNHp6hBGIb/KBrrMAkIE/KyA3/AU9jwm18OxweydcngQER5sydyHJQki4gC6+m1UybBP4xFjyrzo3WdnrLGDVAoeqjlUTJm9PRTcaM4G0CbvSrGuytJd1V/EhQD22i9yu0JBw9KbIqBkIdXeBPCAE90jNpVbI3VwWt9rBJ4nXA9JOVZkOqAnwCjSaHTOZERGmq4VtNAs6IwEsXCpD+MGcGBNl7TCqITRoYM60/3QTHfGFHTugPCawuVdo/NwVnad9qdr7he61VEa2d/1+lIMifgvfCbKBbVUAwXr3yh2ARi3OAMk9MwnGCkzERm6DTGytV26d/JD1xOVlhj4QlWnuZCD+C36GE7XOFSAQij4vAGe1feYLcQAI/ZQsj5iquUctArv3X3jQkb0TXw+xjvVsuARucqZShI83Sh077Dt3hjDrE+/eu3DrWGzl8NP9+ttld93mu8qrYp24Tr9d4cgeg+pcBW/A/dXXZDSlCWkfemg3eY/lxDYivOcLxcnXLDy6+DpQspdQhRkZW46nAPg6hGnAPJ3W3BJnPZaQldwr2/PZuM9sl3oavsrHVQKsamujVftjt3dGsTDCZT/g7tDwNySzAO0yHVsADMSnS+0wQxNkmObLKXlNnPn5140zmYaiu8+XBwOlfX+L8g0ZZlgtzCmWf4asuuKEiS3N4ypXkxFGuNDeHLTKbelN6OvhRt15tbE8WH3uD3KAJI4XaImB8dY09r+/1688e1RRQASaaYGyLF5Rq62HusvXUVHS6kMXIPj4+qcMIEBAOFFv42fUT/HF3dKUbGYwbgMqXEBA/yC8kMcFoihAcjMhoTIcgXzacb3FgJgOlxnbqw6KSbumkWFyifSRRJyEl4/dKwqfD9CybSUM+Vn49fO0Ph4ae0JzqvGQmeMXMUyb78dnncbqKV3/Ej45QBiq5BEOSzFkcYFylh2gBRu9V1nTqOaJ7m1w3yzrFTFj7L+d8AaU9eDFwxdrHNKm1pSWcbG3pILJBaqyeMoxqcfas/tPAN5CeDVva5ZHmy/rpAF2wMRmqWgBOwZOfRcN5NQs+m5Dq76sjmHgly4oR68fok9FiIJ2GpAmWyCvm+nR1Ai7zs1ciooAyalE0zuQZjnbMHVmFoZOxuwmGF2qWC0+l0BoAQj4hKMEW5+VHfphxf2DYP094bJqlCIG7GmINu0utkHvNQfkRGCjkAOX5VFWt/nuHWF6TbZbEGw2+o9zm0g5yaTpTqDcpoaVq4yCIkhP59/iU4HmxTnraXxIKHbgMCUkXF3FWVyW8SDo2VfKPjv/mFgxcS030h9ZIlzddGGhLxJkaQmFoU4P0rL4b57OYHrEbNuh8a9QrJDVMPPxDCXzAAjIJwdTfgblos9UYrK+e/VcnogNy7wki2jFicoBYUq1hIp89+9YOfPBIkA8eTzSmQjUCDfKxrkWnP73KJobd1pc4+OJYzXsMiHOh9KjdpreEGdUnI5H4wGuClFSDfJt3jsSHIPAU1uM3uc2A1oXSBWuvfwIzFI/fxYhxvczA8FTC+MeFetUwk9dG1ELC0FJb7em3W9o4guzFi+YH8p64WEFkax/xrwMhy22zbH+M3hC2zVDN1OJI/lhxWNj1uKSOgFdeqatHelhPH9cQAWbOQyHywnyQ+LSOYJ9gyy8wO98Sgovla19VxRHyiAHbsRyRMWtb76KHo5UO38wZm7Uukhwkxf9RdujHPpNnBML+qRNz/pdWbdujh4IDqpZWfP76fEzRie4K8mAWyoTl+dMXxjsPPG+gMK2u1Yn7/p0Qa1OctMPIYWUreWimyVd7ZV0bsZMXDw5xzKJncwpOmPNKj5eR5n/Gvoc1VWfXsxkmzCt8STWaWVSV0Jq7PAfjKEg/V6kWoBk8/T2m3Vd+cLvMTCKhLSB80Q/w8ivtsc47s+pOmXaIOkeMmn7+bR3m3n/ta1dE266dIGCcRRrcXOHlHAmzuBRx3oIH2LPj4ac20jfC75BzkFCgMpCR2f2lZ6idIbWLt7Mm+eZ90IvDwiEdh1nT5CQqv0OV/H1lWjOCcTOE+YAq8sdM76jggh/8Akl/zpDN5SrJOlfRlx6GjTB6X4UWkmX6TYxUKN1UgYul+PMYVf02aDSnhMCMxFO+YkiiuEUpIhQPNOTu73lB2HtmiHfgVLBaWRHeImOrH44kUUdu0Jc9EYP0ARgsJJ9ukJLzb4ebmTD9A+u45uV8GWKuGzEVvR4bM28q+p72b2PUOYHsuLiBe62vzYg01Gt1Uj+8z1krCyt38Mh5vr7iqQ2WiFGr6UcAvnNUFbjM2m9+62DXjGz1cJF1k2LoFvisxArDA/kypRexRSLB4TxuWS9LfxIVaW4ckdsItR3w8ZJVzjdxUWguBL6lv4bjaeY0T50cZnK8s/LlW3d4TbX3dG5KtKRFcu3fWP7TbACH2RArk69RbfGA+vOf8fVOHJdlqB6sVigYvYzPG8A5VbpoIgv5CEUFTQQ6Jg3169tD8t5nU42qNdgvDpWb2ItBndxQ1b5j21DE3eE0dLx0KqWmf0qdCa6ubwxEPsKJ7WOKHR0uI1yHSw38QQgUIzpzkZDyCNCDTB8ZCFyfp4IY23olO8t7ghExFaWJtdB0X99ALPfmoJJygXydWxfCdOW3oM/adZbk0wfPVZXZ6wdYCIeZ1TvcUOB9b1RiaSCQFzgdcngwno6nR4bFSlEVnmfC1bvm9rT8DH6Nd3NubXPB8081fdnm6Pi/kKjKdYq9851nzfA16Q6IctPrryyBJY8/AzMGqWQZ3ZXAt/NzAd5EsAxegEBzZeKRfNl362hD1qpbFznt0boJRrAiOyPxGzNA3pWBgg+C1pgbhXoSHZHHqCiQUdoKsvcs5pMLaFN4+4DTGJmMoD2wfuB/WTKm9MG6N572pvzoHuQxZMpc2261N9qUcywkQPKkpFS6REO+VUBhlfI/NN53+F/vvrv2fo/l3dUqIjgUOzPzpC2ijCZicv0tFYTblxs0Nuie2YPT7A36OjpUex2EgKCzNJpH0Py2tIZ7tFUj53s0BE9sj3+dO/0yhLSo8geEzW/KGmGdBLoDH+wAdnHlu1wmqcD/ISqfafJ/FwtQqVOaJDS3NLPKrl/KUZOsqYtWVfAeJTJwv/x++cYEodJlJXxv/G+PpnppSTMPdU2GQa9nZHrPX2207kMJtD3ZhmKnGwypq0Y7oiNAw/mEeTlpYTjCA7Ns/mHPWSju4PTQe+VuPE5WsIh6XgexvWJ7MgRLB10bsa3ZYXVfFgJgg4WbP6yFIGxlKX2RBMGOR99xD3bkgcSFKG8Ey1O+5xpeavP3rzPpUdsVh07HWv1u5BL6qPczdbWkwOFZppS4262r+G5fPBh5PjfSDHqyIKOASsf0D/2sMQSraaVlx3Um18yEz1+W3opxgdE1pBNS8cEN/j7+VfPAQ0pHTDP51KWrgBVYGSebhbnqYQIpOgcDf0OkPd7QuHHTmM83ffUVZ7vn9tG76Aa/YZfAdU7r5HGfuYNrh03t9nN2K7BAgVQiLe3qUrdNDFVdD1WCLpKQEa+lGH3C1EgalHDGtu8p77N92QmE4z4MPbdg4UeHJWpKr7gGuBuxtxK0mNcmrtKhOzLYPwrD/CL6De3UC4lhep2sMVVMHKqDKG9nSjWt/s9dB97FuJYUpzLEvFAwDeDmBIFm8X7rKtd7IZ+WaAptn1QoMXZhtNBs3HsRzZu/iDj1Tow3FJ5TpcicA3mad49RFZqe+36pJr942J/CkicqK1UysOXgJvTudvdadjC6jtzU9vkpPOa4scrkoYgPVG1RE6UjW2CH8TYdr8YRZC9t/MPKE4FdFJ0w8cjVIqGFpgjmUDDB1QKU/wNcCldGCNZV7AXyfI5yZJgdygjj48bFGAZTR65RkYJ3BW7YDdmXSqr4rESQNeEtX5CX9Iz7zl9WAZS80YwL/QO70F3mH98DOrejVkZxpr32QVoG5kVvT94FFO2aQfmuQANeugpMAqmTCvHAiSe2E24/7A6pKbkSHtN6rb9JWUxjMZOlrFtaMeU3e5Nno1P11VwVHAIjsu+lq9nYm7NVCCOPHtPdlKrWTzd2FhUWi0exeFNuLAS+ukZjpNqPbQqYOVo70f8/3to7PvY3PXxzeaWuW75OR5g2eQ3L51N+NmH+wG3Th8SDu+AkXr61FjQQ0nFL8T8QbYBcxcJwGLxS2QY6+tGkaEwUAm3TldbTx78g/G8rlbrDhtgLEuOvqRTqCb/jopBbO3n5FC6EyDhGC9wpzED97xJ4g7QhJIBy64AJojBya2+zqrpeVMXGqSGW04o+qs4FMYHG1zHDbHe6tNQDduUMquTynqmCDBysjipIM/7PSWb1LAJsEU5Jv9hP52gnzmI7EXkSm3c4JvL7quxn/U/Xat9W9HXRRUmDgsfOYBFnMct1mL6hFsXWsewY34qtWyVkgiwq0pgtD2BU7DUhJZj2aoykSreiYkT93f/jsbTSup16H4N8K7V96/E6iyzJCvPFrAM6XGrpcI4ZfIv8AnJeG85rGxfpOpU3Sy5Dsf7hqkcPAdOisu+p9c3AXBwqONUh5gYWInymvQEd/Zb7VQBF24WqtI56yqvKQs9uOanPMZVhkR48DQH9a4fcflWrSipflVcaQ5zfLOWFIb1TZ7HdY86q9VMfJWPEemBGD8KOvo4wfszAWFjW5VhPn2q/W3geuRdfb6J0eRrkrfSU7vdp3CEe+qlRe4O3JjPRXEhjPiUf7/HbKUvoJN2CMLyowLX4SNBi2gmo/cgpoVmnp4Ui2z5p/Ffj9IflNyrkUnWgOjgy1nBtGYGqaQoGfnIX7D5qZnXb4nWiYABDWn0oAO7sFaBEBSC8Y/ugMPFcE8qdCf7tu3tw8wVdfjFk5j9DNDZRxUnYsCiah5S35gEPNLdMgl4A56FFyhO/rqlqdMdIAtjL7rZRNNDaZ9QKlIAwQ23oVP/LDubmnvae9F096m70A1LUmIDmSyErQWt/WhcoLuVvUBUjKRQ4EqXg0DviE6dCmb84omIbtVwg6wXubf+lGrjXj/D/kJYCHDlAxJCs3btmVHc6H0wRFLuGgMMRqf5qHNaoOqzFhoqFu/PHwQBE/fZFnQeQ/Eh3gX21LNP32v8p1UGuG2aHEQMA101BaXx6H0LAqB+Td3npvkmeDRo1COGPpN7HEa0I04veJZSPdggE3ODaPTyrXDXruNMb61Ei5xdTuy+qhSXaOdtVxME9zatUZCuA1x4lEF0QsydiAsiWOhscKJRDlP0+g/Tn07xn5Bug0ljqwe+BI3QB1jwkGORihKVuBXaV3DidotaGY6/WjxCuOsgEBARbdAdsis5Yv1ytOcq335spQcHB+RDZ1xLX50gzdEMkDaQvGs5YniMy7EZ/dWlKpeGYMUo1BVKwQUCCJDSP01hopncKVxTRT62iAKpZhi5UlKa6e84p0pp5V0s8Wlleuhev9a00PL3MXeYB7wxKGXG9WdNUAtO21YGh80RmHIZqytArseD8PliGZhXJK972aVTIeC/owMeCS0TuIvfFhaftgw3IX0/b89tY21QtCzENydl+DgeZsfrBztojAqrJ8/be5i2UDKpVdduTMqUrnPZ1dtRkO3vIIpO+yQYvFwOYBnwJZe9cRa2OqoV8WkTpPj/ptrm75qOOJYVECFTb+g+06pts7GggT0s2ufX+s8+eEecgE7aG7vtmLEDpMvjh6Vt9agOKDKP4mLAb8pMyQAdYOMBm95cm4SHkhVbTcc3maGnD/D+1FXchuYwst3uSC+O/EW3Vo4fR2LfkhIlcGUGOpxbHfnJy7DCq0+U1akRjEwOB81lSakxnVnjMg7Mtyz1/0h3B1BhIQmgqSv0BVp6yjgUfHR+MFssx+DXlRMy9EbKADNswnSHvJCSDcU2CzpfoXxETYiAwcwxw789bku3CI9Od3LZRx1pK8XsGnjzhZoe04jCeeOqmoUOPgGXEVKwdzmi6vJX7HBPYYTk/BulpKWUaU8ODiKlwTBz9K5iplPn2erIspIFWjLl39P93/zeFIG+E6pGMFDAV3U5YzgncjUoW9vUm31GcK4Px6nXeTyN+MtCVB2CuLVXyKeQ6ws6XEroar7ky30I8tNKJps9wvUoR5LUAvbtevGTv5SP3N4tDUR08hVDaUJqDRrRgVfJ8gtVecuXdR47FcOVC0kS4uA3DXe3ogF0qWgZ/fIUmzTVtC4oVi6DNdCb+H8rlcg/7fATDhjbZ3ip8aX5l5uSYxk7pm+2Mh6t179miTaEIrN4vOUeUdCpTsW7YC7IMwqZBr+l6/XnWqDOLIqPtx+YqCe30RhBL5Hx8PrCNqlrtW9/YDXRr4RE23CEPLv7mKbMds4WD4J8E4sk+4d/iX23fXk26GJeal4FoYw7rCvoiWN+Ue9iFAUfTypNKgsgpMPwJq1jUMfhIe9Ywa7WRLMwdSSU+9eX03KcTOKXR0nMP/LMzveu0mEoFt41mYuX9hnw9jGT54koHQOYTVHvRiE+cmkGgt8Hr+WZcc+tmjrhRBeaJGHMx+R2PLgbHUooB3urGQCtQT4n06fNeOWF/xu1kxZixNa7opQPKOvZOhC0AWlHVSBd4v7GxRNHQgVJhmsbsLhHNE9DsX8chRnFlUEc2tNFu4SX2UMhjIvpA9EgwZt2t30bl7RH8JIosG90vQIA1txzpqoRf0gKzFsC4PHQlnKRvoHxFNFk9pYCE1RoHTG5KE39joXeDKTQk4ggKaxehThCw7rWYmzrlW7u5pM+YaD0mmyX2lhLZx6I8Y10CwwqQOA0819+IyUjf26Vq+kqKJTXO6UaeqsxjN742cKqUghH02yT8MSe16AP/NXDXRJJF/LpJe4MS7qbAjYC/Ivd20a+BNBDLHSHtmSiLB1zQvCATuXiRJg5QBa8Whbc+2CQxlHKuXDIFzbnJ3KeBJXTlZZ0OhNc6zlIGs7DxvWnpCHCowgN9CtnQBAFi0p5/1TerS7wK9Kceh5FvjLihkMy9VqDoU2GbwKTwb6RNTsQnRBpBerKxD92iB4EtCDZENdHaDi9U8KgTdJhqyaOLogy1KXwJZTc8XfTuNQ8b213sTMvG2gPZHiEe+MyBZ7oVTdNHm+1pYvvT2IVcSeZONMwML7j0nI9n+cXfOhFTUG4zAt7kf6grjcTC1aRA1ZA9qHaHbgZrd+ho0peX2GjPqRsGdwDpcluGuK8WDQWkcZo+nMCrORW6bm2Z5XH9qjASj5TLMOllIBdRzHaX+DXzhUGrkQpl18DxlTYjhoal9nuxDVF5nt6opCCTfOTSM3eYPLhU5cn1SaAFHOuzg995AWREp9FSVuUW/yuGPTm1prc0xTfGFFw7qcrcCJVtV/s/8SU7sWX28tlShYszoiU59wUd6TJpvlf/ytJVTzSVQKEXQlPqg1008x2cTSGrM6PXTpfHzbhMRgAA80nBLBNx70ZRHuFakIDsE96RIu3wjKyfVy+G3yb9KR4Zq1GvOQ6ElfrUNfpX31k5lgotqLASwKlkwYpl1ZPnTJ39RwaHSdxiWQQ8synS1ByrQXKDOCDdV1f6TTzP3Y9ETtbFZZC8Am1hiqLnl+WHYfZ43V4+Oj1zulNpiAwb9mB5fLnVlLyYqabnYHna2TbUaJniagemwZl2bzDIlBfVYFGapKLONh7O4Lf/oHlZB6Mv+pqYTlR/E75epvFGgdSdfEp/OZktD7vvL4uGveEJELChVVcw2B3NjSLKJVC00sLlDj4MHlffzqFTO1PpMFLtf2JOHRp3xanV34IiRlrza3fEzKk0URUulmizSL53SrQl8rU1WfgnvH9rRdMEx0REIIydrMR6s/GBtzZaao2msfd2XUKQNLsiX6bJ1MfbB+m/txFh1brFNzPnFuJ8DfhJX0812I7MLUlpXyExUhgInz9UB+RyZRdGcnYnwFuzJho0s+3AedbLvCnSh0Hg+IHjyvq17h48yM4x/wscbXQls5IFrS09Bo5Di1Tw8aXQPkrwfvI5pz4bP8+Ea4DugJ3rP8PbgDWpXfF8xwXYR/F3xsX0tp5ceIs9k56Qg1c4bT6iJXkS38L9gx+MZOmmn/4574l74MiVOTg5vAImOarDEWq9uD+aux4Fywx+rKpstB1JV+VYWfMe9w+VHSG9fNKq/HZ+yGgVRINt3qC3wcnjlypG9/RXux4cX7UXp+hELxULEHdLOINlDGJN0/q1UtX/lGFikGcBUknqKfOY/c5CnSj67PoFiEaddCmvio6tgDot1vy/lfzZ6YEgPvM0dp8fr6BfljsfOTSLcbGrfE9vZqPVo/hLrJ6BVsIOZ3/z9BNLI1IqlyJhLJrQCvxiyL/2zlihuJ0YJKXd2idFxi93yPTXj7x3+hQmmu1grEUdyY/GU4I/5m3y2e+vaV/qXGXbAodu5WU8Sqqunayhe2XTobE9+4k6LeoUtN6Jbs1za5WvnlL/Kvc04yW1f6ui4LWZZiLpzSofC/CC494tR5ad3rNTaq3RpuZt+obhfr9ijPxcqWmsueb1AHmEDMNUyD7doJt+AkzJGwAZ1TQETl0wEHxYVpxqZBwInwkWdP3ckrPguZXxiu92XhX2AURsE/ulxRQWmBQ/lsjFYVRGRDVp9p2g5xLRFDOnXbkj8wTRAxm/pG4coRUm2+4lIdASxHdsS0UZ+ynQNGVReP3JDU92Y6PDv2iiwtmQZAo/oaNuWgA0nudH5GrgFVLjWx1ZsCTgZ8aL+I5tBxgEYAufWXftAHc0KSoiPYbqjVb+v5Urj3prD8ATP/AvSlwWw+YYxt3t0o67M8nOfDgsKDq7Td1xa5UGpFOlcXz285bceipi5l2Q5HnTwXC3naaiaEa5j3eS6QxH38Aypy1MbQP67RdNe7EgWzae+0w6CKaMCtHlJcAnm+IQuEmeAIsgpY0rUoOVVYwxdfW/N9ZoLE0z0DWac8VTy5z/8EiNcXmMZK2VdOO4nfohJwAFI3Zn/rphqYEsDZQXQhgMoZJk2yETLKhrVYPoYpdjQKajLa2DS8alwtLLxaqsNeqxre86CWJYbSDfEWWP8kUS5C/crKcZ4M3tmihKPSpk6bkaP8t7ZZHrDzZJ+Wt2vtJeTtZToHYLExCUfL21/Ki725tbmMfwLaJb6FAlA2Q5cWFTaNMO/EVIeHu/j9GoorZrQSWt/CUr2B1qRaLs6i+1pekDaD5ozAJS8C5lWJYPISOWJpHcExvhjZrC/cAR3ZBvqlsqQp9IpLyIOMt/PcSQ84bVbIZHLs8c7bIQ1swW04caDPiDcqjnPg3sXteImBW6kwijgWQ8G30yB5R4wu7Qs+fB5HI8ZLkrlY6E8YBVORlb0NpAczMMgpRTGt4HU0fM+aZbDlxsjV61LSi5IfHDuAFgWD9YfjCQdSkzT14AfOiDw1NyVKaiyfkDnwqQkt8K9c4OL4vg0nzcGVWDtJzVsa220AYEnzmo5c6qzU+FGFWE3Ndrt43dG0/3L5G7vpxLZsSFMy66OmF/PFkA7ePnO3xzJi2lQiGWXowJXdPPxr9aW5pzWpCj5Dpvxasw7IC7RGAX95Xn2adWbZoDthAIcbxn8VvEHIvODJa4HwnGPyyk3Bwb2tc4ts0hutk4kVOlkJToWwLhanEjbmCJnIQm10GUG3ZmiWoasiCigQzgSoqxN8S7W3M7jsps0Oi3a9wSlwIgNl061qH6TlzxcLvDGck83tXsbVzh/x9LR7xa9GJvbpfDfnZdXPKUu+GRRp7/y6TXGUgrLt9RRKn/Yk9CTY47J622+ZD0aPARp4bO0bB549igO8ltt6cRPmLLnyPLKhm8eAhp+IJujHjnFnwFLTWqMF6OndK/8JjEx2iDJGuQKG7PBZSbrKPQc5LMmBaDlQ4KTLcbZ163Jp0ip4GtgFCDES/bS4Fwe9RBVQzxuTBwhM6gutUFssPZI1PY0KAgX6d2gx1WJF2cX3lHc8ed2UIX/bsqb9Jt9l4qPW8uqelPAikbbpHeP9fxeY4aWhg57JOP3cru9g3+A5omsDHM2+C1+4nAt43qsHpYPcUscwDD6BN+5KUJ8fZVeifbELYk8J3HgAWfo2Ww7h0AgqOtTv9C00AIPfWbD2cBMSdqAop+t+5l/CFZd9hrvaXSfeHJC2rqpKLibTI2o8xtq/89lF78KtNqiPCtrRJ1OyKz2qocEqBsNS0eyXGUUYFIvoc9/K1zbye3l6/kWbwy9r67WlsSf85R8ypZPDYwi03BM/26p9WVjkiBWEN/25FZMvQRc2N7jSQg3UezvAg+73ZeTOFzgqOKFJ7LnoaYWWiLgjqZR0IEBR/7LLXUg8uge2FacQX8CFsJQ7EG3j1+fjkmwJtVKKFrSI2Z9wAWvyzq7nZfmBKg199ksVDuMjCggalPljFD4GrMNp3XTbOCi3PgryIMyxyVPp0t7kBdY4Yq8Bz9rIOjhe9ui+xTjke56s81xDincrGD44mcg8/fm3/+N6pSikdkdvcqaZ+LocfGqe4CprVqEIoXa9aTeskRvq1MqcFM2452XBxzLomebRR4af8dEjBqmzBtb/VnT1eDPe6aXwiHUEpaD5BqyIxYrUH8/gFcuSHLiSxGYC/gqT/z6fVdJ+UzNh7JWiYsuH8KfQoufsBah6ehn5RZdJ6bCoSOO2lUUrXnbrcEpF7fgzT0fDSwXwjAaTuJ2oSvHRr6fVUW82zUw0WrDrAcoUbxM7TzXtRHh0OgGGIq/5kJkW1eHCcM10TH3ap6Usocmudwwefbznfi7M31d2Smh2wHzF6cjsyb5E7a56zZCGb6z7kTsTkc4ICb8AZgvJUBSPqwsJXBIJvN83O54Lr8xqcFwRPTzH4Swlj94flOQyW/xu7rK5ECgXTCYsuD9IhfVT5tc0ILCLcnQWT01TLKVDfgjiiRSC+A7TpVpr/DJWiPdR1taz9thDxrej51CTNsraomSy/UKJo3gU3CpL7LPDt2OSdNVM9waSWp40bJBO9Re1bi+XFiadvhavQYgCPujYdlUXzz3gEpx6iCZoLJl/F/g6VvPs+2YnYNGOG7qJK3ek+ICC5BnU+oREG6oEFbjw+gglk43kRnAy2THfrc69XaWxj/bccLy9g9Bi298I1zBYmSU91nowc0YxwMe/gMLqjFwJ0oVfaGL1f9eciIQnL8yq560N8vAHca//X7UasPdRHOUrtwyXd6zm/L/GhNJa1uv0sKi8GzCtwiaQAX2WPBji7iO1dQMlblSZmLCVhbNWk/+1k7pzuEtuhBhlljf2L6KxtjCL98enTeeflJMWfbMuqfJb9O4skNMwh23LfIl140WXn/TuZ9ISf4JR2sqHxnQ39jfQ81N2+SFKOJYuufwxmaUGwVxBupwLazEvWCdiaLi9ydvxF2LRui8cggph8PZ2iWac5i7hFijNnpdyLr+qsXtZFQT2cj8edLlVj1j86XnU2JxcBPeWrTGHVCeVabcFc5G4bjPFBxDEHk7a37niU8Yae1yL70CWmAVF/eNc5JMJRFS5DhSPM1PZVAf/elEUjOhkHYzTRh79i+yYX6e/OimzbayIE2wJiAx3WZ/ulC1J9fyFybyXpufx1ybJlJC/sIMsOmvHmLaVJp/o2onOfcop+Kpb889xj9buaiGupuKVdOtJsBX6j/hajeWJi0gec07GM4NrksGa7jt27s7/Yqxd8oW2MLe4z9lM7l2g9sWz6yxdzLA2x0PDL2f1q5snNrGvJUfripk77xC8OtDHvGHppgEANK3W4c7C7a/d045uzQ0Wu1Hba91+hL7abitkLUNUspUoibJuvQEUEILOLMstvB+VtwA1vGHOsFS6sq5YhDIUONKTe8yyV/mBtG1bplj+eBSVFqcnL282/WeyboNIUHi9paPIhkCI833kLW3LM1iwUlgt4+jRF09zOYxIIXPiYVReNNQQpypGDHeYZ6JRNYLweU14Hs59xhkFntvQfIwLIM+gAqjNEwd+vkemXdBEYMaDW1CzHpm+kfXypLUBDNwSChZQLbkfX9W+2U5xs4nDNuyvWs19FBklhF9VhAKm/dPZ/QS1x914n6VUPQl9dw4M+5n7Oh4X6Mxq3d10n+9w5rsL17YIrGfFiQ8u1XCxgmt0dWHLahETRXq5tN5WbxJMb9qLr3xPMuY9XHylo518mtbfb42HwgD/uFRw8VZXd8akKffYMRsaFSwt2NfYAdaCBvvTxprVHbZkHDFfDh9aCbu4nwhXdud+ZTAmGG5/cdhtHAVpctrDkuqrDqvQ6dB1jWs/MVEMK+j7wA4JMe6VkOn0VjCXivDbRYlGhlVWFBYjuRUqp7Gs/Enp7jxtC2Zl+hvsyOelFmj0RxlLbrWXL/i9u8ByaipUbBxWGIjrmnOY7LSQ4IjRwXT5tpU5DtfzCbisLo5bAEDaImz6B2tYcFfWBTLCAc5KoY8wx1nAwQKSlyemVxRB/tt6q/WgBo5MmXE6j5y76wC96i7s5vdhN/LBiGtD5cj5KvfaffITBDwlbN1K8DNYHY+wlsrI3VLaBGPHuMTRTzJJOAyMG0c0fQ6DzysjTcQ852FUkhcpM4xQlWPvEn25c4AP4iUy/eybatAemX3+eFKy4SFPjfEdo7VC4xQtGe0isGDJVuezzRkq4Q/sM+fHBpbUnocNJQV11DTiR7qJWCpH/AouAFC7MEqRxPCEQCUsApflDQzfHlFvLThwmXTWaPUEgNzWsWRfhRaYg18QHA/zj8tbDdLp0vS8NA87Ubzr0xxn7pnnpFHuRT1dkuYTmy4DUYvzVqMCpWLg3qNFx0iE8qHJjZyZCklNy6gyJ0lvzs5XjJ34iT6UhzzeqB2lxL9f8fETzdAOsisq9pSqr12GhPmPDVWlDkMDk0WMsDDnbc7ApgjBfMejTyIaqD+1WNvIfW8ehtrAqz3NcIqRP7f9ynF/6RYk+WstqgmQAO105RTzlZUinrny/kWIC4fLTP+eA6SndddlAnBEY0BC2TtP8qV7TFPHrjVR2Qomi0uZjDtrsMgqBW2kjG/4quaYSA/cmaWM7obMEfPJewcR4M0kkECUdIbAw/kOz3+Trx4eRvWJcZuV2I1bR9xbiO4XZ6dBcEbOfVHIynACFUztjrM5gJPwjCI/Lrs5UQR/PaOIBKEPBR2vcLhd2IVNWM+35D3Pa6P66QeovTsB52F1CFCwFeWajDO6/CrSLQxvkgUN6Oz0j5Jsdhsuoo1/AK4Xoxg5KuAGA08SXroiw4Z0fORc6MZkn7l0FbdnK08/mx6MKHLJUZwlJMo1M1r97SfgA6K5W7Rn2Ty5bI3EmBlxfSZnu/ZklWr5eT6BQf+ij9vsaxrMJn64vJIUjcdPpfnhMpUiJKHd70jPSqEFpS9c6f+uVY4Li+VyabYoOQ9YCuirnelgNo4rg0p2q7EU+NdFdZR8C/o5Pe0EdKDG0AbM1U0Q90z3xBfQlm1vFCwRh+n54XCNPnrn0rIPfFQR5i5sJMhGVyjvRFYovx8PRuVsofanRDn/zVyG0DLZN1CcioMGtd7OQfJGRHxxcpVkiID42sR7SSe1gdjyZYeH/fMulHY9b049QXB6lxKdIMUeXlvRmVKJNAYRB2/EBIV1azXqoZaxE8Of3/eRAKoC5cic8nYT7IrD2kcoBwRWElI6L0JEH46SU5bTUi8WMxTxG5dghTXfap6c3X57rKa4xn2HP6eVkJHHnib880pQVaSO+spAMhN8xv1G6BQHYxEqGsETNHC1vengrys38SL9wWQyf1xx08I0LL1L43GZmERuaeSS9rjepoXLZIsxsvlNdbw6yu8VeiIhAqlnbrYNREKRD/AUJjuazC+1wzXzRB0RJFcSocUxmw0JkDGlCKphG4s50LWmb3FZmYUKwkoYMH9XlStTDk1P9MdHPHzIlhqrsG8x+6v1nH7mQjXHSTGyOf1PMux2pjiKpm9BZvQIyQ7+O7gwKk727A+3ROWT7u1NrOVcnbMv6Y2b/rQThGX19Avv9Xv3JzBFXmBlSQv9zjB8hozYDz6HXOIMcC/9fskC+vGY2q9RycioRLsFvXt8Z4sQbTlLb6k+GIMs1wE7fNVUyLxUwThg4WDCmBpOMWvXSTUCfaxIWKmOIWfPtqq7Uhgha8mKxea0cNU0Dv31rQVBeXKW4A22utHyDCn3CO8ebXpLO9ADclKuhn6yScg86vHaky0k3S6jiM2V/jV7gD/a2y2S0OMsmn1WewjEtrF7PXC0HA9gC0pE7FoDgRa4vX28MkimZGizn+EoJmZbQggE09gQ+IpeoufUlTCKX8hiRIg4w79dFJ4fVoxpHQsDfftmwFNEt8ZGGEnZ9ZohSVGdWL+c23BBvYYkVoU/IQii28gXL6NyuzyQ/Lxi0O326uHlfWxylGkMcfAgMjkxJEYAdQl7/lKBfOxAZH3oizNCdYxKhvhsHWSOZRldw4lvchY8cZH0P56/40IrzopeoXtdwDcwwHlwU0YcZK/4WDQCYqtI17gRtq/GEn2OXMAUUixPAgMn29/py7bHxbxvfo0sFhnuG2sDq0x+Ovsrduck9P7Pb7MPh/hGPxK3At64F7ZupDqAruRiQC37OSxuVBZ8DOml1ZwEdnrhwRRWk1piCUS9dAK4st5RjKzLhDJSGLTGmLqnoKd0TAfTAW2dTkEckq1BTHj5JfuVy4CqEbtmcsYuK3u6CNaDT3xXX13KwWyMuQdBGAwkmlNgvW1YYUSTgqrIpM9yMjMZ4NFBMyGjAzz9HiFsN4XZOv++99iEHBo1rX3dOaDsT7K3RZvI9fWRgRe4HVDHO+WfYNuo/p05TSduQHFp+OROwi6T9vdSjAqbkITxF5Nv0BPAxCJrDfsNWfydj6iwGtv+Z/dQaPvFey8sTCyVzZ56/EcGh6kuNItnq4i1su+F+OMhkQuAkfDnEosmTpTxiNR2VgvvzNGNISgKzS4n9T/PD1rpVCCKNgG1k1BXaUBdTkyF7j8Xatwqpa6W635SNGaAAWgL5LUpkrWwGz3hmivLt1quLe3PpNXB20uLkeaVFgO0/NMBBH/z4Td9gdDodPZ75JUXaX+akx2HVRJZmFhDi7lzpU4ofuugGpA8NZbydvoWUNoZCAq8Vzh24QVQGGepGooEUYXX8Y96NdBgjA9xTBJb6tcI5ncXkjyJWkWFnXxXC5+DU+9Aturr1i/IntQBYJmSmBSzR35VRempvzPY8qg+3B4IDvtue4xEzQCoV1t4RY+Dufiw4XTrv8FdBP2NCywRSjBbIcuryuCQmsu/ExK7aEy2dyAZTr1wtWD+YZqRO2aA4F6eHM2xFyMKTnU6PAsrIQO6DOFaqcDXdjzCG4nfYFvjrJvYFdOsyRSrKl0BgPEssmeZZWvESzzLfDwR8cAJoKrUSoe5xA2pshMQgS+m2y6/hYju5NSMH53wSrN99rGSrc8BZYJbZlOL2xwEtmvGnLlRxgqoGGJ3YFnvXIjL+xlIQiTZrbYyHXNYpO20fO/JY3vVwSZOtQFcbClZ6L7uWW3pg9G71Gp/WQrufTHoBkchGGT9bcChWMEoxPlKohpmCuVWYCPXF3FvxayP6UpPULU0YxnQrkMplOPznumeLsemrrwMicQu7T2wggQ1zsCklLAIryIx8uEJ00StSeAnU20KGnfJ2RlhlQ5ldIli9j1pNGE4wIoksr14+XxBhWMWFRrYQRqzeQOCt7819uqOSI1NzcwjVaDKvAiiC2RKhREj7cWP9oAeLLCMHAVoe3jk2qrkr9F4SCOwy3i6BAhARTSbTe6gq2QLvW4t2hwmdanrI5ZbLV56nCV6yknhkyIseAl3Fx4JjltreZuVFyFajKJBYDL4EQn8o7D5+388n2k1oTJbDBp2dp2YxuI49P91y6IRc9SUoZ2bt+9i3EwOCCIBRNwnangQDbV5NIq9qDE8fH/5FXig38E8Q9YZ6AuEL23G3YKLDMd/oMLmF3EmFjHB7xXpwySBCXDM624oDELbi/p86xovYYl3Nw0nEellftRAJiDj7AfexmLvyMZziV1gX8xQwVVEwWcHN1pYnvfDn6v+Fw01ywNDh4mCXlVPvwqJw1kFNlR9RAAFBxIUHtjWkbQK5p0j3623YuGTwjbEUWf8JhnzXgXT9Z0vSICTZ96trE4ExVnIlRgTRRzUU3Bz33MTp5ladV7Cdbz7jWrcOpMDDgDZaqrQuJpJO6a2ml8VM9SQr7Nmqklsl37cBtddPp+iOMkCHCTXfxWV5VligzKuY1J14e5wuB8XcvqaU89um8pPpCVQvL2jToANz5quwLSU3dC5FUWflD7oWbOfYMlMpRuBtTwDeu6Iq7c3ONeOZik3yJg/ewBikAw30D9SbriX7Q2SD/ZaGsjpr0y3cpHLUpsMAq3DMyMI2ezkaOWCxkQdoXhBh8aNYjvxaDSjK5QNy1X50Huf1wBCHBOwh6DYZpmVXUJIdcEaIXB/hmSrJGvm9t5g4G9wIKNcuiPvlZHUr+z4Xw2iP1fpXRHxd4nLcOS8I4LFXj7frkHWKzddJNrWV2Fk1c2wLtKzKc1BiwB8E3Leq4hteNNs3glsiydy475OwuzrKiC1CXakfgiIpZ775EPRpkfwtWjEzP/jf2/vE4p48FwSMGz+w7m7prYjQkv2m5KZXTvMlOxkD+Gm1udCDF5sKFLKSUFNu7l4SDEGbzoTJNjtocf5CooZF54GdSjRaY+1AnFg+EodQmkpYUJj+bwheDDDrX7kRjyszmeaWNFwI/GJLAAlNDjblFzYu31KuxChd5ti2uSknr7kadJ7bG/f+b5gt/j1kTM5UaDsWpLcEGLcHgGLQnkl7hgCJn9ymHeakVpi+5wLNlzf5uQ1kcVxztMjhOv2hBSXs661OHJPYKqQXlr0uUodSuqPuJTWjuNy0lomtHp+R4cKKi1LmbE1yjGVQEVVO83nR3bmTZ7xFZKjqBfSDIl2zbUk7MUKlgM91GGzyh78LL0T4zkNSMw97MQEN4OYT8cSD6alO0pxXCdgUKmGSbMc+3LACCL/QM4W8wQtXAQiA+eSsHLOt90xYmLQpJxn+DK5DSvIjUPKvO1Kjdp8B79RBy5xpEJJ9QXUtvpqd5hjDNw/EWluJ3f4FjtZ3z2Pj1tyEfD1nnOO6gKcSOQB9/Bs9tUb/ZRYUfRYU7gUG5WseDiAidMmR7NnhfpIawjwU00uOHRNwpRcHbARXfA+Mzuq4axgKaW2ngyMU0SwDcnDnx0342GQKPYz4fqdm3WCW7gRgDJEEUaFPGdgcKCJ/CVlFMAQ40USmxAa8DOhqySL9347PhAMbaVMBbg7SmDzDwxE7cBayBTiFgIScGVSMaU+vPF6p3ZD1eCE7pg1/Ro55l+NhtbEBTjJIyI/cJBK1ldFP1z86soD7dmUM8zT8unWpEvHyJHwEV9PMPd/40W6uLgV2nqdiJWd18afNPfcck2aGm7m9icTkWTMiFDTBWPBrq44dG3JWBLY5LH+IBcnYrVa/0SF2R2Yz16JAvmzoIA8CTG45OxzA40Qe61cUr0dKcrI18JN3H6fTEyp/+MpI4z1DlLHUYZ9Gf7FA9fLdce6vwaPpxXCazjLfehxLdKjv2Xu4KrPm2htoSo1KoeMM2z2O1S7B04l+/mmTnZVJPpm++t891dyXAEWU+kp1ngN6QGM7YPyzJLXD+fRNwIlSziOG1gyW09m15QVnAHzncRr01me+h6h5v+cJxL2fqdQzthbVwNY+3EcCdolp7IAxRc5RH/uUNkociWe/nocbPtXD0y8wVWRTfnwl26FlxdgWua/y6E1oQyDk/DTgK2QcGbk6XggbSm/yQNsfHB3Z2r9LB+Umx1alwgz1WzDggUDGQPEt+h7HehLWBsW4rEK8bcNFU+21pgxdwHDv+/vBBxBE3XHwnj0cWXlEgfdxnhXFX1DCV5N88YKeYZZz0gUuoZCXTtygx0XvILCeZp5NX3ODAQgMOJkNgQU/udu43gcN/pdmOLewQiHm8vQerUoievciB3Cc2m1LqUtTjo/BgbfnY9g8//m8mvbxhvc5ZV2zrKxwR/zaIQbrCcNxAI3x6s+RuMICSs0QI5kOhWHPvqYe+G5b1xxZ/gay94nM/D+qxQn0Ui2zlfwOTyCLdAUM8FF46d+sHqV2vqv/kJudD5jjlRqJY+gE9Y50fJ7/Ciz1Nt2jTRNQhFqPdOs2c9BrUjEsKYBhSc8F5XLIb2/1mebdroGybyBc7ewvbF7L6640HGX6CLpxETZlxmBeqfuicIFJE50nFIgSfgI5x0JzFcKlx/FyymO7HKNjykbBRltGu1uTmpE2dZZ10dPhCmCzNRGaJC1NT/CTvWtfYnl82SqdKHuvyxTP28t2m8zhTy/qbY3vbe+A0ExziYS9dKVbmt1sQJsLI2lwqyDXBmqBZHNktxOruz1V3PHf8q1dW9MyTPPqFy6tGbJ6kFC8O0EehYPYMamvW0hGh0luTyaxHJAjseZKiigf0460AHITgJ57fTHT5AXCAX7BqUPhkF5qWeeyPAvXBbjjy3kbZ0cvjO8BIroOTbIVQp1lPs+dpKw8nRC9MluDALOgUfGswHOE/SFvR6dgwS6k+ZzT87MbT+EFCVsBsslW+qZVspLufVeFmuBjoI45q6j9nySX02rImy+fXu9ZhxIA3NWwjlmVbOT8Bmtacz3j5MDN+jeoJrxC5VvtuEdeIu+fr8YminOquPDm+GLVTU9tOU12/lVVdnWNT6qAEmjIbtd56swrvytCSw3DGI462rsct8+ASnAYqvlBaVpJr+4R6QFu2hkJZrZ2kGs7U5pov5qWNDVlSkRGxnp6UqwbQ00wwCKQRi7TDQ5osQJhxY/TH70pUGNPQngbyGPQyFzLgRWi7chutaFIMZJcmFRGS0SqCHpt//KqsX1//kh+MPJE9NLERHjEdQD++EvsI3a+1HFvgMofDDCwm87ROLvofKACYPoOSv+CYn2+cm/biTjiPcgJcN+tABtS8eE8f96tdQhUDYMYsEHIOQl2e2zNd+ZCw81wtaRF7PEuYDvZn0XvmK//DlH1DCIvZNCNGzi470ArkHkOiPomGwhedcgyOWIr0eGG8GspBroabRq38mym6M222BvxsGs7BqX7U+yFr9DkebM7R4SKiLPH0P7U83GesHcmc2NSJXyNI73DXOrLwQEkCThwSVkMbLH5nGetVLtILNOEXYwMK2xTC7fcRs8t98hdsgfrwtsmHvORVRreCSzCF8i3wvJIX0Ygd62vyjjtLvfGSOtAAEdG3m9Vc2s4pJLBSIPjAn/q+X3hVIHePXoFPFMIKdHL+Mj3+aelgZIkWZ3qYNnAUghPj2SAREB4dqnyKCY8Ocb/sU6sAac+SH4kov1Pxdhesd++Upi5x37yZVXZ24LtG+jh+5LxdZPzu64cvU1oTH1Y2W8aGF12oCKXm4Csfrk2vCj8PgVdyFmgcf4ueCtZu7LkSRl+MXhnFMSihq7hGfPrit+56fiG9YYpBazPf7JVnPG2GNHswS+LUY969Sw6ydRJZX4mCOhACCImqf+xK3oFK4pon1Za5bycOMDqI5JXzP0lTiEIcqtKLenMKRU6x9CAOMjKA+RPP87GqfNItqFZsSkbvvs8gagulqltuhJbu1SmeOlefmW8cvoa3OE33NIOK8U8jMrdODJl/FSvj5S+/z6FJM7QYF0vnZndMB46Z4kHH6u+oq8hV9+3gzhnpg/8qHSsCJQ16tK4S1iKQpkx+4tg1Q3+fArIDTixtwv+mQiSEcVvAItjmSRyaEWor7nP/jOn1IIMLrKU9tv0U0wCvuwCcrtSOgeTQ06X99rPwFMnPsBxiKI7/sChyWJ4QIlDEtFiXMVg2ndozKHikEw1va14pcgAA3OlztpCiwmn3Cif1qIZJ8VrvqpOydch5kI9qtSt38PrwNqBvGzNMwfQKj3UESmSkBP3/0llawmWvCYBFU+Be1lmhSQkkoXYB29LkHyyJX6RTBic0RVJRNWs7GG2ETNH2BZ1NZ2BKlJxIGFPkH1MtpU94EM+JTfyC3zNOB6X7c8ByH5F5Sd7R1Z5MaYzoSp08kWBlCpwmOFo7tbVbyJyXOB0fmQWqxHMyhXFQUOe/7Dr7tMUJhFREkjw7ihA+lu6PddRfcCWH07ALpFe8MKMcrL9YDIQNnAg8+P9SVRWNrQ5blHa884Dvfhm0Em8ECPbPvNAzLWrYRiFf6z6vvHKmR/tV1B21Dv+p1VCFyDuSe2Imr3w9Zod1ZsiTWDGJwtF5pDikO11lGEN0DDjk1Gk1hH56/4t7j50dWyof3vaLCDtXhBIo8pgJl1G/R2UkwdC5YK94Dg/FlS45LF0YCw7LD/6KytDiGNw7r0lUNlIqfFhvgtcCy4crg9ASrjcoRrM9bXRVn71TWoZOdq8p8qe4GJ4K8BZWg1ArkLjG8JnxCQxSSNJE8/V+EaQZFFfXpfOFP2vTJ71xfocJIkxT+UqMSEh30YJKVo3R8GLKlTHfQ4KEh+FmCWvx+gb7d1tfNQw4EWO0XXHbjVS/ZZ9UB2uXTthI9EdGI8Hp3bw4BN2Ukh7CqBEpZzKHoei3TDnBraY2zf0n86vxV6MOmF/G8exVvcdI9JDix91Ia8b16Vip68KNPFPC7BOw5LDRbUgaoF5/UeGc4RAROkN3jRbaY4GaPRfndVS10CNVcd98jbc5qTwrvE7JGK6vk8n1jxaX6Zdc34X+Po5HyNWTEifSAjuItACLQ5RVaF3l9X05MB4QmqztUB7BEkUP8atQhLvVco1KqpZBAQf7WdbXfeG4jhw15SyUXnKWCttWbl6hpSAcY3tVgb5fsVGpr8Nd5RUEiX0LvlS9uA9GGr+pYDevsg/TVrK3K/s1VfXiO1eVXf9+uFvo6EEbpf5pHN9s7n5m5nLkiBuGYS8Af5kZK8pIFnM/r0qn3wn3Ci1eOkCm173EMhxZ3DAwOjvo70jgTAy97KUroU0CFjSEIp28Q5znjIqYmVjD1ABYjRBZCzOl7oHyrPmk18L4ZbAokqmwaLtutGU/cixmr1rJUm8z+j6SRAS1UTfXHFerqb6AdpJ0Ez84f3XQ0Wn18+C7Vs7ApkzV8qDOV3sXRYN+URzQp/av+KvExo0wmt5PLIVzbbBpvpSCAaqHwO0blMdWWi8vcT8XjEWEmkutb7CC6+eQCBXS7Lzch82n2ueaZhXXyW39aRYaMZ0dEynTXB5vS6nxFayFulbFCxRIExtnuhF4RHSxfQf97AoBL9zaHrdD8LeEJR7HBLK1g1OuHes1Hs3N2v+rg6tOV3qvAs8RCqKwAXI2nGWDeTrwrhUMEWygoPqTiS/zbx6Ks1QKHTEl/zxgouqd0SRxe2yNTGV6ig51O38xYUu4uBVjzr1oL/7G2HmL9byVF7QnRdAnBYakzy4pRu0nSCt0eOAXxmhzbHW3VZ8b7IABgiLPBpY5yfjeAXh8CUWgP3vIyc7A7b1O3lhWLKz9z/gIEygS8ZDF5/w6Sx7pk8YrA8tAau2+o8MktcR3vT9T51y7xLi8czuVW0OVbkAjs+rhhhp2Y6ZwUm8NHb35mYe2h9WY8IxBjxWSLBbXxQ2mzCU+62B727m7WT/SMmNZpy4pEblMBv/OOwaXgBXmQclsImMXMVn5yYkDyfZczCDceJvHfQXES7tE7YIGpaO0327g7wfJrX68kg5GHVadzCB27Do1eqA2VZmYSu0hu/VbrScctmiYqclHdv6oXO2caD8SaBLR+k7aplT2/PBdvRDTu6ZJejSCljMQG5fwBad1JnK41PAmUmGTebLg+5m/+aCEWrRO7KgbJX2hmNa3D2QC5VZawVw+Q29xBoxdr7MJTDeM76nC9xPbS9/1pQoCP7sKvvPvUa1CTnGQQyzpcOxislADgjSGug77klgBvgX/bum5YmjqNQLR6DVNBUr95NumhhxWadZoiY94DzoZ7VnZ4NG1ZJQnAID/hGlckwVFQGPiA9ucDa94rLnMrOQiprbSaA3aU740t3f6+l2O4y4b9EXZue/nPO8TJocRNJKSwBHL6dcMuFASOJWj/k4wi3Q65nclkLO1ZHxNPFPMlUjr1KHrf4kbhedqp7VxdxDv5zBL0WEVrk6LYHYf0KU56wIWcFNAV+WlU/JwbR0+tHeF19qcMdFwh/+l4FSIetTCbplCfPrkiGF1Gx9IvnFTxop0KlCaTAPwG5Zqoj+z2AHFGsEzBeUYGBNN+ukZzg65GvX3DzazrohZAHGKu5Tn5LWXX+5/SHnMXa1DkJZPrkKFWDw8CnYUbdTZTnmGAnrWitCDNd+8Tzg/KXay1nBClSJUXDI0gcZhO/Bf7ijs9AraIaqljIB7ngboQeunqESBnPa3tS7zwhrytJvIBpzwZ3He9Xb5O8jcdhdBxPCU6OQ8SQ65SuWsZqp96rW+1HHhRjMEKV3HhcILw1DVIrJ1q3P0rRDF1KJZ9fYN49GtiPLmvYQBm18LNHyEOTWdDvqJaFzOBcrIz6QRgAEVvY+VAArqO8W1tFL9Dl5N1Zp7n3h0apT2p08yH6dRsx4wkb0wR1Fu03jt1bcba/xnAJoPdYSymXBuh3n3RNwIG+lGsPqJBIVIvCRfde/9z0iynf2OiYzdfFj2xUslLbbdRi0wGl5xrwk8TkBVwlGq+AUhU+t359mHY251SISo010Yml1uEsoetbzegYT/psK2KroufdefxM5zDTDyWC4I3wXdezdR981Ku/cvaxFF4kw7iRXPMwxKRV1eMyBkDOnRTxLGX9TcnhivEB6mVVH7CdDknVKZm4WWKyzQolK8iETudmFprpqOty6mhC5V3ToFSMMnOIqqlsHVDBhpi5kO9chHVbh/EB82/58YICDHVcEAaC97QXBCGNZbm/pHSqqPY6Goqh2H+2CbBi+MJf1cdBGElMM8eaVFFkUPConC5HgfKpWuL0XdC7ZjvZb9+eVTI4nRHYDEUXvs8caQr2Fb8ggl6aarMdDG6+vXio6fqeacYYr2w1z6BUC8QjZY9Hrqg22CxIgLJfkgj4SAPjdB3PUsR+1o+d8EKDC3S4X3+Qx4dpaUJqSgKBwTiQtudKFKobWUhfEp1BnwLtlBfY1wCml4Wn6dXdASae3gI6e1ozqaNEKK5jRCdaYLvGPKjiwlz4IWVR5MdHGFLCNTHtBhpqVfYr3iql2EyXBNJEWZG92qNeTx1t5IiMrPd4M3kpSWmxLYCTDqVLMsSHT91E0fpzuEPKLEttp0KWmS4IcSoW5Q2PM/7XQUtMRIV/nB1S6WtW7aZn20iJQhIiUGQPMhRvfDrtHygiCQg7HSwYCcrbhVq2Rwl04grO+FWW/vnEIah9ujcqzxXNEFerK/U8KLOhF0s6ILznlI+7KnaUvP9DjfG+t3tgA7Ks/rkKI4cUk1mjHpP/GE3UnOyQdrd7Qf5QMEE++GE1q6piBg94eNEnKGpIvsEXhrrpeAzx+IEmofTdrGqcuZodi6DAGJ/3hqQImvMXfAGoF+yCdfW9cLmFlcWmBnNJAu0imyKgiec7oGAFgEyiFOU8m1vvxjzrtoZh4wNfsRjQ10dsN0E2v15RYCgeh3NsUxa8bbURITwgZ/pQUqBIxQlGAMqUik8ZWXHIzJQcxJgGulYfXd88JuG+ocK+UlCYzQrNKd3E88dXjXNdWJWNaV9i18xoNrMyB4hG1f81CTIYjPTyob/dWXTzG/h+mp6dVRyyITjiMnxgvDox/I4WztC5xuNoGounazm3yRguzUGjw6JUUaNxJdFSDnKOr4pnfEyYA4YTA1SCR3teG3tND9ITuyLhOE+qICJSP8qcotbY7xo+Qu3NhMfuTnEls8jtUpSVXbmo0lLf2eITXNMMSX/ZOwCXeo+dgdoA7I4z1H2nCA41nxCd4Dw5dmd/skpN58hhAGcBo/SEq8ULNEC/hbniApqtR/SOOGSLIK5vVBvJOEeUArmo2RSOHkbLnf25YKl4pobA8vi3FgsKP6Qol0t5HCbXiX7dZLTWznhlKIVOvLsGMb2P4ypimPjuYTxSBBpnbbo6kRVHd+NAtBljlJI3ADQknYdRtpyxIhVwTHIUR0UfC6I25BEC8WlmGZ63hsJKSAajQQsMeEhkKV6Ax1Uh9L5O5D9Vqd5Sv90GBvLDpKc/YcxGA7ylkysJymwOZ9kA7vitDj9UIt6xVpmJqj6zkH5IBRTX897o51qUKokueitSN2PSiayD2KEuAYzB5twRzoUzvsLfE5/yv5Giqfl7yrRYswYZ+8myciuxYWKIoR4NkCoRNv95sGFs4l+b+ZGFrqmCpPXHxktZ07Nhfo5B0/2sPV4n0aO6KmamwUfsTBq8t6l1ZrOPsP5SGKVbiu2uFBfnW7y4tn36RUGx8LEqcStFbx0kLJs2rLOuSTh4QYKzHhDKmRgEGdwKeVE9MtG1fJzGGDXfvh3f2ORcDvOtK2APJ7f1ENPFfIy2jaVdYkSmKpsvbAqX4Fhx91xMZ7hW4LoHTtO/fJi/QEoxOcDFwbVYiOdDzJ7l9NctzqswQkgETb0+sANrJYVGlpEkP0DqkAFEbEHGfbYpWjRRH27L1aHECc5UQi9geolVtROp0wpaKgLGCxI8jRMgbA79IJTGeEqygDMkzroUys9CSlqtiEbB6EYfVWH/qUgsqF42pbiOmBlOhj57foAb6aI/A5ZBgYlgS7tEMcKAnd+Cp2/TgCCjLMnA7F8pwogqVs/6cl03QxB7RuVIAitfaLFaXVeGHMS8eK8XR+cZWA9c9j5IxsT/FncYvtM/olkoyqyFSmso2ebQG17voMElSapYWmsYl9xjpftynXiuTXttgOWVu71MsNkAg6MYkmHFRet+94vdXC7tgxUy32nrXRBKwRqU7lkJZJpxzEYfXlyucAYkhymcUf0IRWj6IGpkFiPgzWOmNbnjNLOLRXgko8iq5WPxKg88dXopkIpoHJFuyRmddT7DFEmkKcUuSs3m8F1/2B8kS5BHwsxAhxYAwSDikM2ZWVdEacVSMFkMqLYwGy7iHvYHpScmxWfs1vpkiEWgHu39sWdrdecbT7MujVp5mhmPEgS1a0zfolr58PacEdwllwKgCytpJbza2hzu3A6LNcuLwEfP6M0Ks0ASddvSe6m2m7n787RluEa+p0N9ZPkmgVaPfXK+xSHrRr/QSuNH/pC3T69bNfTTliz0ti4TkSxxidhiqX8ugS70DiyM908F+/TdHOeyDMd0BcV78iOWNzXpNcbCWiR0KmQqY21H5hJLqkeWYO+65GXF67rKKvQ4AA0RaPd7QVXuJHd4+gTRYu1dkLYxGPhztKZOi5xqAPBNSaAc9bWVCMNakurbT+M8f9x7/uEKg88slRDr3FhH+OH4eGFgPd1CeAPTE27c9nHzv5HAejiTsnNBLC0b1HJ3WXbt35IqiD0fHYBnysTkwJAUPZZsX+ezFnQ50K5PpcGiKm6Mt/7VRHMT9GEaK/bbu5MwXEKQNjk1+60N//LDX9UXVAhLWJA1E9ELskOXWr5QVzyYPBM91uKZjZe9uGbMCZo2ycyAi268YM6du1l19oTfzvKKqqbYjhuv9870afqhEurRmUgBWz+0WcmS5hAJgNbSe0kaGncR9izrugQVgUwxpgEiHB4SZal763fZ/X85CFLmhkhJPtrAPN9gROn009mBhv12N/2hy5sCNQ+yepTEI2l0bE2nQM7o0CXzn8iqLjjbGkvzj7wMtCi+iN1ShsQk2X6Lt1oVypjILSu81nPVJrbuHuezeMm368iaO80sZ5UAPE5ptOzlrnMntkiinfnJ4YSa/UMHauNSPKpUfyMnW3ufhTlZWoLL688SMNu4R/JJ2EbxjU+iq9dhyq4NFjaDQA+bSRI94n9jh/Yf1Gliig5Kn8MVymQNoOQWZXI/lES0/phJu/3AtE7L/ib2NQWrNmoXUa3oFsT6+3f17WxR6Dcq8j1iGwJrm2kTPOE++O5DYLFcBiO7wOn7PW4Qhdw37IVHAuhlqpFd3DPNZTG+ElfO++gQzZson+BNCHdkvj+KLGZnOHj0ptml7/P0iZrno97TsAqC8m7dg9NHkkp6h3KgYplIvFuRepxJXelR9JkPZydWRg/cXF6826QfRTPbUVTQ693qmf00VlHkvol60HoMbQ97UUa5sWk0EpmrRwzfp5el9PxAVxWFj9LvTD5TUWIYvnveHJnSsOd8+XrPgmh5Hy8x/97u42G1r2YlyhEsl9X5LwYdCaptmV5fJ+1UtKYtsPfu+xPVs3M7wRC4hjkEUj/k0H3Q8om0MWirXZ4LVllrTayE2j07ud2y/LFXSde3cPgYs1XpcWNpveZVpJT9Dgilx2BCIzysYJPsQgHUAGL4MgmrhoosXxIpSbZXJH5rprROSSy0oRVvlWXml5N2D8q+G7Y8oSsF/J2tGH3NEBdWxATBT6cysQJGOPTQjFGtRnGFSVFjMdqJU/cXWJGCN8xO5xTn3dPXB/YY6iVbdRpxBqa7on67Op6+BQ8TnC5KhutNDE57DzwNGfl/EyzeV/gi9DgTJc0kWlNTit19TL1XO5GcErHM4kLZUpN95p+3bpGSOjTb2CInlI7CsGNe2EGzqFUksoAIENz5benzPrKt5kzmoUwDLcL4Qd9EoxJ+E7s7W1favABSNQ4hqZ5vyFqr87dIyMD5NphcqpvjGiMGiotJGGkwDI3o4vsN+7XsTR7nBdivK9uL1CenjEN0gQleMbc/D00JiL5/eCZBJBKE7FwoRk1fbbrBslf56Ag03kB81zM2+6Uh6Pe5IfQJzTzMWk7VCy+c2ZxHKt9jpiFpxJybtdo6yggcsmN1bnx3gfx10SUep3XjunbS1WP62oQiCZRmTKx+s+HBlJlyGTBVtH5j8amOkecqox8mSGEp727dzJNgmycbLN2uc74yYqMOumqbK5FN2N9oG4YaF5OJADkecdJl2cwAcO+8Ar8dSWdVgH34Hdnh+0Qsxw7DALCtsBD3WGyUor2nBlej66K8ZI8JUlK/bCwQgdYnQxeH735T0sQXzSbwSnS78gxX+qzzu5K1u+vfyEGvV/BcBeTJSLS35Zw0UJK+WN9ct4suLK7ESGIIoua/M9H3G0i9Y5at6kqdB/Q9SOjveZi5EfNUVSd6SmfJu2zUtkhl0D3cnQVRxzW262phOxkEHwspdTSi+Ov2LY5ABgL1BSL7z0adpibkDzQkWWvvJQSaEXa3JNXcuYfw40Ge8ywwk1ElMFRq+4mreyj6u5rUQizYST5pMrfbGHGkz3SSU5KoRKS+MkbulMKABx9s64jinzDcJulPhc7lzTY8vkPpGlrlWgOU9le5jHjEXopR9H91NnQF/j83VLiqhxWq/1bu2pSH0blWwyVHMA3ijulsZahiMx13e4k8KOFRErdHZ5okmvPTFdZVFCxUOkoVfGVzV3vS4aPHC6dWzq7PM3Ar6+errqBUpFrazU5DcjJ+IbDXC6DVDN1c9yLIzKMVmt8VEDsl9G76yg7E1NQeLauqp5J1WtjU+ypiQLVzM/I1Rhiy/0VRvCtJi+TC6BqDNxJAaK+/7ZQRFNmyEMrccBeOlAeCrvv2BhM26AnRjdgWyeqK0fARAL55T1oNpTbxlT6AEj90Jpvj4ctQ4U7ZTrRH7zfW4iY2eYiR9hWqNo88th2mvd74zys7mZNtLg9TkFFoR1QhyQofFWugLdXSBF9wXjKbnQe3ot297y0WXze9MS2cCMEFhrDrn2KAwuBzaqmzpJDgz31GhOMPsWK9AJ2V2izmlcMMJWagA7EQDJpBWaHk7vOIr1R/3030kHyRPWci1M66VId5zrNNumG+Ct0+8SH2bS0gwENOq9joZNBqjNzw7uj9a02ab0HDzL+SwlCIE/e2pUYvuxHwgAMCh1Dv3q9uLNKRxTVLXHd7Eb+v+4VKdLUupSCwJBBSkIbiqFiFkdaEuzgmX2Qd2CEMeA41/xwC6QtCC46I78WpdhTECwuiBYT5YWfrwURVUw6lKRxt1znseNg6MkcGTQoSNahzTBBYKkCjgn+u/Q/8VLT8X0EPONSa+wVWu5wqBrf22Ako1mhkRVWbYqNNGQW4v3VpGjBB3wBzqo2KhWjIapkb11gcKLADNm/HWYCZf8r8D3IdG3k05DADebLJjYn0fNyl958li8I36vUOIjC+1ccq8QtgCgg9fdS/Xkt+yyI8a4ce8FAnPkNyWN2GkBFbz8Zc7K3ytEgXqszrSJcJ6a1ai/uWgB98zGAAP1Sr9gKKD9ujGWhBXHYszRMjYQrm193gQeIXv65afe2qVIJK0sb+NXudPjD4LbXrxDFP8C8tstzrIhbU5yNMClLcsoeDpO6itYoHkJ1iJ8POV64OpCF5s2OzAWL6iP6fz6zlhXKbL7s2qNgbYTXfd+WikQJK8+zFUp345QnF5KenDWxgqZ6Yjhy/lw+JVg/MNL6G7dOplk6efKMujkPAS4ITSzBDiwhP+j30juAxrgcoJ56dGjIMlNGI7p/wfap5ieI/gPY8lpF6iwsSY9x0/n+06iDDDYU6XX8q9BXBPJ79chXwnkHHhiuDWwSr6fJF3tGDXhc8eDYtu3JKuF/iMrrpIjHyRCbXFdnzYAAfKH3GooH5Xt2AvRN8SHRjfcn41o2R4DVXDatlfAl+K25ov7HCopZmBAAKrBLc0Innl1LPP6cOiQsP4Aj1yQjaCtvmB3W7arAhiiONFygOWqKT0V6aTpQnZ8UzVGblPjVoKus93VE2mr5EOhATViqZlFkU0fiQyZYCf9IuiGhmsjtvDZtB6zNQ0q0zAE2jZo49DSill2vGuwJ01i4pqw2IMNKuOCsAahPElkhlRZz+R8tBRfKCO1PRvNhVbf1/0TKE+9oN1n0PkFbwImNMZsu+S41+xwgOAKmJc3sMnIe38qLID6TbMNABOEZLEIiyo1BBBdWwUyqPu5+umWAlzTgEXhrQyXRfHpprQHzqLuzwxgIMJdnMnuQ8MRHIlkr+CFQfS+KmnTkd9J6jYpb3ILofkjxbixTNX/W4zQ1+lzBS3eV9EHxcFQX+yKMS+U2HOMPbQeHFTfFtzBNFqMbtggsbIbQxzLkNXLzKGJLpiKzIms4ODueFLduE3f3tp4SoHhpqvteGtHkq4BffMfN1jLHSn6LOGob4+jdx9qIjsKGBTU/GV+v7QecG0pNdJsbGPLmEOSAjLRhadw0BwSBeyWjWXoXYSJEpuiWvNSHCNywsIJZ+MwpcHN1jH3qpvnaV3gfYd5F/EnqqaxJLD2wlgOgzzPILP953cNjxBO4DBIHaamBqufjkU8BJ+nbb8eYokujtQEF2yA7alnz3fQhvDFcoFvuKafEJmeTFMijdIHRliOZlY7D4fOD8yzcbNwLqHiXTru3DgfxGV87ZRkHaSaVcGF3OXy7pbWH2m/XnbPFsE8FBOSq46vqhKkvSzJOXIYUOTQKTSYzLOfVEjsfnfdkNSdnpxyJri8WSjj4QeIcGUJjrqxSMvxzuZyRbgk6RgiKRzEDDTiM8pqg0qMXRB4SRdBYYas5CHeL3W1Oec2B24iLxyOBK4L1VWzagVdzQ8ec3SCxmP2vsCu6wWeNFbrBDEfP6GSIUk6/e+4auqKB/7lc9APzr2ZGoNY3u7sSyZMsdqzUdS8G1a/kiBlpukAXrX2gLl4eHgixhlfj6GYWmrtYdX0Ovf3Kgfew9ICLEor+V0AVQzwvbfFG63YbIPykpN4XWroAk4UHkk+PLxsBdHankhLfKq8DctlfSswdHFe9gnMH6SPjQQCYJZ2Ce3u5cq3HwT2RE+ZetdF0E4fD6/87lnc7MM9FXXFUY/s3jh8jq3/oAfsnXOJcyxUC0WujJFYdIY0ILnksUPFEXcLyGdqD3DPLcn60gGQS/YvRPtNyH/v+V3t77ABkZwpQVfEpj3HeTyScZi2Mt2RfkjfEjG3Q6TrTOkb9qNT8j2pvP4mOH2pF02D5jGhAJ0oxFhBXC7ok+6AWuJsg5PWEHFg+F0cYfLYZyAAq746YJWuZY/DuuilVTz6bXV2ua2Af2IXFRT7oT0zVtMkkyQ1CWGFGF+BRJiwJFXMy3K+7IhBGVq6cP+S0+0DG3SCDA3cZ1U13vApdRagDsZxr+kM0Y1+kjPw0rAbp9SUkmY6MxbuDwmLkHz75UNgyQY9hJiKTc+RGGYEwuzQ6G7v5YXg57hwjR9YEO8Dctr+gyBRiLs7sOdwEKP+528omAiCl72K87xt9akDXfOHd8YFe1xTE6DwYqgn9PuIL+5SaEFBsdRMWydP4BcHM24U7F4bJaM4bayHUvXfYhMxAsfka0GtshkYTJx69Oo5jkK6nWcDZMEZ9igrcpryCQjlaAyYjGzjEP+6w6IjCCDamfhhNIDlq6ma266hskdeqRdQn7ye/a7igWT1ag8Z5XtxCjtIZPiAXg9RnzdxoTc+gURTeTBkVrp4eCCREcD8j1yfdF4MSzCFGiU24SUbJmnAJ2IQufaZnPLi9bIOF+d040WIyIe4gpvkY3TRqeYuJm88fBr1KC9nExjAzKP0DWQmlTQgKyt/qFQQGeu8mIJLfdj/rlNE97CSoqQXuD3HBFIm/7rj/btEkOwJlmjlD+60NtdVMPkfawwCzl5SqElKDSgVZzhvN8UIfQNa5tSiKcI89udI6M6T8TjNIa23f/t9yOHeGG/9kgjObf85ltC3lxnWMCDvGsFe8N14DRHLTgrwM4jOhIwXFXlV43uB4ZtAPwktlFQxGJsGVSmGmKVhkjuEFv/awEP8oCpG44ZMVwa7pebJoQxEEWuXgwLTbZvw1bPbPw/37Wy9b723AwpC2VrETKioHr4GaqRgN6g/wuufNPgCuK6oChqeJiCgKYt5zJxG0Iql5ht/PzOL1Y3sVW/pHK0/nASt+KWCjqNx+a14Bx9x6NEdUi3HKWIMaSS+avbetESaVUFs+zEFhFibrldSQEa44zU0frYUx+VCOvbPKBaq+2hJcBCcS0Q5oS5+QRP3WHgXjOaymaoD/HPNhHnVGzzW1LlauNE2TAgqNll12eKGa3pj0S3ISNcp9ZD7AkwLhMiF7G0o4nZ+IGbHUg9nlMTxbqgi4ZoAVqU3INaTwDPai/WapXwcJnmQf30MRjAOpmKU7oeszZvvjvoT3BJkr5huw2HKa3NN1sb09XHft4nSeoixtrPyWi13N4yOocm68HpXD+GLrpEK4GsYRKLHbQRDk522vCL4Mh3aw3iGsrK9/5S+pZCcCGOELXed/0DnS2g0TIE7GEZTveQRyvEG08wO4hs+VsnlxJAmItIEx8GHxTjFhtW6zSWtyAVYn97SsCEw+Syw7JhtXv2puBEr1pP3xsFd5riVqD3b43lyJnNlOuG1iekw9iL8eQKWA5GxJuXvXo/y16d8K1W2PDN5Vv++epFicaMwcg01mDWVd6R9MEeMC9JM8a4kyOD2j8iMTz5NERT0VkALUpbpsHs4rzZzdQGeeLWHrpHCHQajBA0/XE9Or2MugzzFlWhz0fvY7WDqUC7ZwxZ2/add2HfQr6/7mDtEz6N6x8/7AQ1+xv79qDHfyl5gQLle7f6D7cpHnkfFeQFyGu7UNQapD4955LXd2+UWFDGvDt+4rWa0UlWOBgrdoHwEC2JNy6ogDJJcfqVUucXl1nuIouabh7SIlTg1fK+y7QSNaavwWmhujD+rIdJaUMSDlSZDKkBBQz3VzCdkLWPkzZuDSU4PMYi9VW5boSTB5YlHKdPd8VYXkCMKlxIXPmobJNENjWwB80bgnefbufQvar9dq29TFMTsm8UsuKNdDVNjmRgS47MVzTwEqy4fx9yTeGb6dqmwcvAEgfXzRd6ueA42trMo+Lz4QPneAwSxe2BXNkp3ay487hCJLulQyzNzH1Rbd7PurhVfkwZj20XVqN+N3n1uOmkPXPTxQlBj/nuk/gRuUpyt4FLoV1HjBjMWDKJOXezq5JhSA3nfrAmuiC0jfv2aPHn6lkq+83Vn9nBphmh9dshY0YaH2YE2dtUge7fBG3TYujXWBgmr6gIXithnECqBDM/GwiaaU3oybWx0DgvMw3f2OmZQQelu0ALPy5iFL7GAO0RaEKfZSfwpSQXHhXROoro7tPJ00HEYtmIMiW8A6WexCFIIVFtbbGxl6jt9oP3E5mBuF3xYK+6iOjDQEnmFG03FWp5J6Hy5nDmkhUDXkY8ra+8xqCs4L7ttRjdUb67Jk3Q1T2iAkN4Hd0+t+1GuUpe2lqBEU7mw5R32glQXXNHpSAcdXvHjEhMa7y+Nd1/e3yBKhk5kVHzjW6GAwx/d7mJUQJLviWKeLGhL2j7NXWdxbV0E7iuyrTduC4jzfDjA8KmJl0zz+WjVq2J7+muOCuvDTHrt462TB5hrDEuOxEg7COiH4rJDNTVVVY/xzjACtWpZuW2IWvbLZ3XKFcuOKYmh5KkFG81/7L3nFHqRjss+ZmSFb2k30AAkeOuWd80nfzX4cbj6SyJBG5ELJP6ExSdhQxoWbUF1bneBxwzXRFOrFVKXs8WqmUo2cIetWDE8oewRWfy+N4r3lmRD1YOO38rVBNjjyt1Tq+8embI66HLqF8YMuTAO7Tba6lDfg4NSjVRuZAd8A5XoAuvFwD3dQ6uPh7HQ9pdG31fZdyCI1OnC11KCCNwge7YOfzPBjgtcLzb6tkNeL57Q9zQ9zdabV0+5rDfohvVjC1R7O0coICz4ZqngfMhtL9zftWPg3RfUKPJwoNvb6bBU878SM3vvO5ldsY0fekZzAqyNhd7WxyuU/baa+8XrWvFc+dpoLckKFwZ4w2D4tMv3iPeK3QrdqDuYVhqYR0fClyGOSaj5qCcM36r5GnOeXISGkmTuIFVIQYqZl92oHlW1h27dA/9I6vR+HwNyhWZqVsylua3FqCJlBFP+kLiUI6mXfGRD5Yt0OS13g8SMm7sFVlHu14OSOuBO6RwFTG/AuJZSiZC2nkFKp9nd8JxlU42g+evjU8fY2b+h3kFRxyTtgcjvTXh5GxaKaQOJR9haQgvGUFZgib0+kfsIbB0iyAXl/DSxIqfugYMoS5fhlF8EbLNz69YzbkogRadu5CJ4b4ki+wBp9nVcdIQerzuinDDLiBJjwquxrlQj1enS4fprZXOsp8KBn5BioMJtlJXvEx3o0igy/iQl4uL/JxCSnm3l05CIEIJAN7m8QWxINX9wviWUQFkLBE2sacrvd4hCOvkKa7BiFcX9xlvPEQO7oA6SqT1qExECZSIUuPQwi0QGO+01XU0MHc/d/+QwMQVxQmPi0uEUo3BAtG5ZVP+Wviu2hHNVvxRKaCpQr+gXY8Hyby3iSiMr3qgLTLY6UcaQUs6sFYHKdtz6YTs5STenZIk5UWEk1YJ5RQtWov/2BWGLXcuqLs56/WwUSiN/Vxt54a4LvaoNUwMz5p7xyDxqps4tq7Qk29q6KzS7Xv/0mkMORdq/RG+XM9EXNhXMVcVkT2WgUxf0byZPR12zSmpZiKZOrKgKGgtnzzphHYedOBCSTptOrDdu+FWsXskoSEgTNR/5yEridNEwVVKEsjNUeRSuhxvGmGvCIR0GFypV23nHI6IotuFmTIHXXDM5BzqzsJpu+rmBrsCygDhMcZ1gRX7atXKhv3ljHPau+dNkygkqOm35eFg3O5PpzsUr+3ZjjHSVNZXqAVYx6+RtKyrDKdzqvLt3Fqo2w9sZzKr1G7psT9DBGi/iMeMeo+Gc53pz5q5yo1Uax/JEp0J4E3ZPCgPwKCUB/n/2P49sq4suCJomdNbhWkpE1GTWxZv2TB3sT2IIvhC13YdBRm8Ted+CcB0dTqqmi1kAqd7d8lQjoJ5J1IXjEcIE/6RaAVSpQXKN9a6qC2s9Y2+kurJMRciOyQenpjFQ/Arb9kXRPqDWUyKGHqXi4fgL03LBAsdN+UEUx/ggBkPstY5X+DdiHLMcBeNfVs66kGaVvkLfFgl6brfzDiYs61iGyyLg9aGk3isoise1fb0CBAwd4QMV3fVxW73AGdjZKyLmygxXTMbIZU7O4NWlcW8UBQs0hIenW1PYI/ge7gw6Oh5ygBv4xoB3q+AGtyUFB2rdcL39SxqlEHFSDTQ2WF6uCKSV8ogOzrkolP/5E/+IZLmWGoj9ySZ0N/1fTI0tinzA8BhW8F+IkzN4oB+pdHmhl97CMI4psM1ER4eqf0ZEYaWxNh13MyCIXwgzufSZVMsndW+oBJ/koY/0Z9Oac7uPP8Ysr/4RQEDtOBkYhXbCgAfj2bLhIvtx/+DBXQBUfB3q6cTVQoFAPYfl+SPjbazEqWq85DECrNXnS8KFODcUlndX1Mxj36G5j0n9kb62x5nM5csNDqYlCUC5M2fpQRsw3kFDz7wMZRyjwwwLvCPsDnXB2AHd7sxKzPRToLK+SdPVay3d4CkUeM7jSrN/RPvz2/lBwcRdMWEyxi+13GxXN5un8TEY2iWPloOMqRTeh3elOZum3hMjpKEsxNSLGSCAi7sT/+SzhRooWXLDBoRde/s2MN5Kdkej0+JcQ+AhZEVzPchXkKG0u8rnHuVjW8mnAQ8W2Y9ZxbBYc9+CIJZG1dIeXiZ1lH0m4PjiXI6pteoXYid+A/b+6MeA4s2b360p6vs09rbMNwtkveSIVhyfHS78LFJzO4SQF6WuBHHyWPjR1j6VuPdKj7Jesi+goRbjaqP2yXnKReFYq9Hbx2B0AQy06nsmCTdptIYjlHnxIMy34sN6Xh1vzklbIPEgO17AkAJsbDeGlXpw9tYYH3rZWXYGdLKOSfmIdOIOtoMdylQq7q978gdMGKSJNJwC78fQioGqUp1c9I/GHIOUEep+QqMPNNe9WnhFNcJkZXCVc8tWsXNrqLBoOGq+F9gmnX0B/gMESJSm0J9nyy85Gcpe0mDb+/yx7KwudYNL4Bp+yUs9LQw2SoBwuLI3Iwkq/DjOHlMUP0mTk8MRK2q3TmZW+E7nuWdA8NexYm1WJXjQ3RMU77Wi2q6s1sgyjHXp7woRtQAG4VhBFacgOh1m2ZO7MOAPzavDm/0YbxtgTjHYcqZwFfB8ebP+ljURJwAjzJNbXK/tM3RFCr3p7+11pSpUe48MRcpXM3ZzukGzrIkK4VbKSTE/urrNijDsdmfrhJFHUg+Tm/mD4LRAMWu8NGd1ploRzgtrb0uMij14iiFTD6GSzPgcn1f9lJ6uFHoR1gOsh0mP15TAoc68gNVxG/JZhFCtBaO8+47FKmgLBBOOyDqdF5hqtlt7gjGO0hroZsyPFdoHC15IoP0L2IJx/EQAY3YDRwFw6HKJY0GU4a6KqFdu9JXy2y0sMSKvQsS4E8VSR3syjC9bt1X6yYiTwGFny/i2qyk7T3kp1HY7fVUr7DIz1VrBWSKbSOHX0HA3K9QddG9im5o4sBPTyg1xpxbnWqeSYBHUcPUVFLHGAWeebiF4NdP5PiU4pvgMUHpugeeOhFe0ZeyQTukR6IHNJxlcEwa696L8oJf4Ts2SMxfB+HU4GiR3ZyRJYQxgHrwoay0BMn69mQaHNmag4QJI5ja5Y+9FHHmX7GyRyIURxBAeHDcDT0d9Lxm/GKRlNGGHRp0lglpBkZR0EuY4q7+D+3X4wxarsvvwsNbILTO4PYCAbuA6vVMx6W6b6l9pKvSfTnFBUicwroU92t5KfylcakCinKqlA1faAPmOZNV0Th0uysLxhSE2akOq50WTUi0gZCQDcIBjLA++JEFEYLY9+WQ8abH3rEeMv1AzJMd9m07Pv7XH/YcCsyRvJf/p7zyQXliuFPaDcttXBGTH5vkV8O70y7c0L5AEGsFaENZUrVpdY4mP35p3Rr6x5wjodTBMWVVH9DSKKPqvsTAtb94z3X1NZLq9KKuS5xrgicV4G+/qx3ox4O8DDpSh1c1asTnLTODBvflz38yZrOudkzqSVNzg1kXJInzcC4WQlCZt/JMT4nKZYJ8oMfR8pEPGSzlKU7mWlf2x8+y7kEWzlapWbRXJoOTrSR1onpiqcg6H1Vhfsyqu8zI0/BERhQkPoEo1jt14WO89mcSFlprWkl5ssX1S9eQt8Vs2hlHBSGF10FZgS/JdPUgIyYS6By65IAkPYH1wu9FA9Lp7eSrNvaBxy7Y16pJ2EFZAwjwliV4uz8ip7GQN2cAnDAP1ZEsgnl6RZJVVQLf8y/rlLj7YuReDmIy7o/Ij2rYtlK+SZyvnt+T9siInvdOYN85eDrjpI7zF84awxLp6/YGgXVs+PLrOv01jNmwYZHY1Bp2oeWO2FORKeieNQtP8AoMY3CO0r/QaialgtaVmJ4hDZZZ7FyP0VyQBs9qvk1dFMIit/z6KTYqzvW7qIQDKuJI7qIDOF8eG7nKvlDdh2ucJqeDSzCZ5aUoMIdZXZD75HlJvWE2L9iteQ5jTL1xYyiuLffc0H1PIuAOT5Z5b/L0/xfI18jQIc0q07NRTtjS0T6bHe2Cg+yupc6XiVEH1YYpeEqdnJwV5CqMT7HEuxZVSFUqbH+1g5/MLAsqBxCDdS7ZFfZQtqFL6ll2W+B1vjszdDIAwPYqa+EyrYckbAG7DA4zdsPkexnOfoJxdfdTR8NTT++HnJAdETKUb1SH2JiYviLqKCRUj2EI9X78w+1lFT0nJcivgJvhUeDntpIBb8+SdbSr/Pendbo5jy1hsDoyFG1P0ySTrxyz3ng8fMCCAhfCGhTh8xpXIkgEZNMe6I8OGamg0D2etFzp9BHvtbvaOjqXxAHFUzWL3MCaH/YVOoke0OMJqidFihpo80DXcCLkjO1MgsHqm7xpW1dT5ZCso+TjixZ6N75/CYLiTh9BadUxqz+5p5T0eh11WsNv7Hr1LcMSqaWhrz0cQ8Rq9z430zjHoOY3u2Y0WVzvxb0pgz0M5zcyifSrYPTLklyZp8oAFdaQHltc2Nu6MgVmUACv6ffp7Fbqama+btONggdcSYSomp4S0f0WN/s6qH6DBf0kZbY9vLP0x7O8AzQOhdTcKNPxhTFM1aZG6Bb7sjQgTyH43bZnfELEoQAc6LBU3mNR7Hj+b+XJO1te315HZTPGrwRpFbyWJ8Ef+Zfonn84SP2Nuvxb1VAzj+zF1jEKQLqU2Vfb/x1+PKqLth9L9XjN51uU5L3iBb0cRwVigb6fj0r2RmYd41Nrl4QIDqpd+4uRShd5rHlad5GVLW1Gnc8ruBKsUjc3yv7AWuFSY2rdFg0rlzepIIW2MSCduKdNXc8XX6BLUX7uYamdOJFtDjNPbwlt3yZQTWrG5rUKL0WsuzGbbwifxrB7UO63RjAUYeX2clmPH9eZsVX1ZLLKuKqZfJq/blVbF03MsG9/8OFcZsKsSCoqoJWZQOItqZh2pMLb9l9KlpIByVAKu/rSjvUsKxAhMRrCOTmgLEZd9v1S7TEQbaMMkRhKaGq/980FwMg31Y0Be7ZSmNhk8w1lE39f8Cgl/jZUNTFFMC5Zt4Zqpm3bZalclykhkq3z43rnvJmRFgvK+Oi+BaWkiPfQ2QKkB24Y+loJTSHa5atV2U51Dv9wzaLCv70JGJtaRdmiRTPWA4NpDKAG/3D0IvGMfW4qzAWBsGLrQKk86eQgMpdgk5WqQ8ES+CzYsBjE7SRx61HbSMDyO6MHOiEFPs+1OIMitYn5QKo8ifqSLnTLF8uG9Y/5PxiowRCDrIXYFhbOvxLYEHNr4qJ0Kj+sPmvNHgiPKm8ymn/WcufJkx4jUgQ6Rf6ctnsqTA+l2U8YKhGCDv4Z2mLJZk/RArkqNixwEb1qePqPyHaQV+h4O2Rwr0dFGQeDcuP7BunR+dx9ds5m8s1OPiUBDgeVJe1/h241EsbU24jPf8x2BwQYVy01uSfNXqdSUow4KGH+syF1RE+l3Q/SfyxCxQ9LfzRv3awn8TkJbwV9my4WdxYnT/4QKsFyClsZ0RXWCXkMYYFIeV/rTuCqMPjt1ySiFwvdCQDSmE8Jb899igzgxpDwlYlmqdCdRKJfB1CaSon9KDArkftNj+hCq9fZ1zxBAu871+YzkWIT6nDUVaXvISQEb8GXcECZaujJBtxLjz0CmjDXR9DIq2Uxz59b+5Tj5kNZZbvJ/iaSA2xVMiskDlUT321vMqnL4cKnhBzh1BAPH9ypTmyW+qkr7trycjYrd7htMGNXiau5ztxXI3HcRwG9nsCsT0C9w7pNh+Uc7eojFJQI0+0NVtdfzOxlBuppybqGebR2OcwZAqAGsKVrLI8h10Nb6/OSRt7iLPppXBsWVaoNO41BMU7bbUiZVCZhTlNQwqh+Q7orq+g6Et19286OILdVYxxc56LOOmRoAH0tE8l9TWnZkqU6VYc3siyma/ONEXlETuWh3W5b4Hvz8xGb2vErscm6g4VmAeiikXPCE1fawrAL99Fuf/cYypDO4fBZKRUs30yLYfV6SPXpYjQtJiJaRjazi9ii/P1VZ8GhRsEekPm8BQjuCpyzYrDgS1+bc50vf/Xee+d3kum+/RAaUtXjvbFJPpIOzDPyMRrs/RhosieEixLeoeJ8s7ne06KzBXz2aNaq5Muk0WF1gUG3gPSrqXNA023dOAqoLqVjqWxTSVN04nbgauPSYuOBmKd+qqGJQda0bWn7tLEmmZMA5/cCltCSiJC5yZ4MjNpMh87fbS+2pZaNStQENa9cUSQ496ZFeKWoUREyh4h23qc2vLXpgwVv3nuhIH2QHe5LvOQ4CimXPIiKBkhxnRDlcfwsmRMhlwbi/X7imWpE5fAWrCCZ5krSLjWTIt/cdO8KMZZ5PZArDISA0bicRtTWQuOH8eOq4WbVKoTfHAOfcTKe/HUoD79qTjmJE7S4xBQJiisTsnpnVudErQeA8aLPgh3Y8Ht5Ek7N20Uzfvl2PCNg/co9Pe+Pz4vlJ4QtkdBo3dlxx8jl6GcYqkWXYGxUWLheMl6+hWh/24c629DepCZW226KwmbDxpq91o3lHuJ3bK3jvyTmOzuIQc5fqmsAt3HYwrm79XGbYqu4LGzYgyjLNiOcxYSGIvC02aZ6WvRDeDO7+Bijk9cai9dyhsjt6T203SvO3Eq9NILWHcsrNLFCh22+0w6MJXIdp2TOt3nYUAdxQqs8F2rmsdR+XA1tOYAa7VKvNqWRkt+huC2mSXon+BObQ1NTM3VK01A2Nm8na5iyj8+3BGb6fzAB4rmHxcK42uubSJT6vtpn8kPYtIbCA8EGbxeB8uJCe2s+zNAWdAF/fndOJ8t2zuj12v19CTcjbhylSQ5w+wA1zlh6pyJdXb54dnY+B0pnM8sEfadWABicGqtIqbt3urzW+00ftKnLH/BN/+KHpQXjrZwUjq5PUEOdE430HYT4UuV6alq5Pz7knjS0HrJ7IYBJ394PhegRYssvC70d61ZH2eQqNLk8tAmJ0iEHKCD+MVug+laMvWGgVbE3c+N+kWgEIHMsBTQBh3oROEsomrBy+FRD6B+xKAFL0N1QUE0PlaFVbogGQMbnVh8MIZSTIlZOszXaMw6hGupwILoJ/pv5QhaapUy9X7JEvdtb2faLWQLnBD+jI2NbN+NKxR1eajjZyOn+LlsmOBsiviDvki9HY425ssb93MwcIQvsKM4qmWmjBAcnggjZWJftV22dEyM0Tj1c6b3Z5j7uNlHDwdhv2z5BOP58NIWdmzeB16P/V+lQ9fgYrOrY/Adl3eL1O4c6biBIji2YlHEqSCMPbt1RIvnqfMDzyIEiq/khKC3bf3PTgDLkKWFA3kN+bkTHIfUcs1OqqvpoB6ZLwZHLYak/qjVN2lyWpDAvKNwMdWaI9xvcpUFKozv+rrZ7aTNQrFMDwjGCKNt/l5qLD2u3Ni9TndLaKZLLlxtSnPNh2RijCIBdSLbnY/Mlvsu6SRMYNvk8jbslA02FuR1C3vgJM7vpIEgOvzosFiR7cE0TF1AYOL7wFls311UAXaIA/lWF6vDH3HqDvsqmUY5P3zn9zgL1PB4zpYgvv+dx4sl1mjFh9afmfNnRbNpmSNYEpP4Jr50we09X2lF6+UkPvIhzWfPRHhL1hZyfTZdXLcw/xg1NJQ/T6f2/QB9oADSyx87zIHipv9wl3o2l/Co7AnhlRiEJjCXMx93DWNMf8BRMrPxv4eBbywaTglsHHV8ikCNr9hfZ2o5Z33hcYzsJLn+WSZ0N9NCgwPnU/KYyls8mNLtyp+dgDoYStDUUNwVGhaokJ5MQSiaLh9xFkw73g5QeopdjmGxWhRtiePhqjarA0PCmfu6zzWxlMUrEopOoXFTeaa1d8REkhNajn9nEp5s3DdyPs/smEmaXw5OSsPiJR0/j91zKkL5aI2g95F3UmxfG9yrzGLuNf3ldXomhIQdDTj+BkSg19V5GyeH7/Nl9MQVnaqSh2VHTFtv53pNJprIvUrYS6eeCsedS7jTH7aawmN1ZroXQwQZd1xaAovwBE5rD4xNyUhuN4v34B0D9MKPRewhHMpQLPWlrxntH17qYWgcdq3sq1Tc39J8pD240E9j3ZZqfw1L3qfObDHr5ZM0Ynj1tldqkQp/uzjiY0dJF4nEn6JPSizsnSWXMu/ZIigk9GksA0MuTVnOEG/pkLtdut/EsTP/F4vAXuUrkMyf+ID4/Vq7K27N6pi8slFGECvMMQndzR0Wj6MwY6NEEzF5B5Y+4fuVzr88D32f32GqjZgPBxAhhDmfKxgJuWp43g6smgR7OcgsG3r5ey2RWpOrkdIBLCQcEvq6Rg8aukC7vR2Sq/lMgX7Ko/YsRdIrEOt+Zbj5tifli4Yg2HJE9rPL/7YS5eCyLyhO+UTJdHIrug0gfqp+aecp4xCo43wqucuVQmn7JiQ7cwveuD8vDshroO8lO3oEwCAUh2mQqp/dYyfbTDkRp/Tp7nw8SkOeVQ9F6pNpnUhOd9dLg5pO6v63fk7mRdCRM7a4hQvhkZ+bVjF3t+8jYlS62O7pkPPHqgfGDiu/4vJ0NZOtCQobtDybyiVzQ0m+k1qEdx+Ku4VojRrvbjxgJTkw42282a2YTNIQ4wGsbA41U1smVVWQ7tSkQwqPh1BzUt81I1+wD3gS/SaQg3SPHKAv5fl+8foJfUW1wYfxmDx8g5SmTEXzab9kxmhTOzPdJ7ZPMl+rC5+685YPZ/633KxcnCfOijtf3oJBXyjRtBk1OTRUPprFqD4N9eYyNwUOZYcJyIeecRjKrfwy6vlXRhD4ZBTAkpQ0saFg0mWCgIUUMT6QHgfiCU7Pts8UeOpY4FQKRycODNLVgmA4ONYR7DW97KUVE3V/4AqZct2glQs0AWcaiebqduGFwnHONpecdvJBiefJqY594LC127/zu7JtKb0vKZB15haW3PIeRndynIGtmnm5hd1Z+zaGWaKhbJDVZZ8jOIKl+UNAIM84rr5PP4s+ogB8oimRih2xYxH+MjRcwcwSjjGYoc5zwqk5x/QJXgweGQR9qN0KoglhYVDkPlxLGadYa1tfga0uECm00+SW2ZpIzhnYiH7t02W0QMXgsPSsYc6daFkzFE4i2brkvmqN3aT0FVUyPuew6VlAF8Oxs/PkNe+ExVoiwrT3f1Up45WQhgrmMP0Og/lBT3lS/uw96Gh8MeM2q5Xj2E25dMqPPB6j+742+fQU2aqUwR0jvyN1dpUxAy7UhtOZ+SW8Boza+LyQ28wmsnZenkhh+LuTkPM6291NeoCbcvscRHndUK6uaHVa6X9XZp17N3wRsT9yu5kB4w5uZOevONb6KH7vzTtpcJFRtd5Jt9giTL0wh+pcsJyPAXAS18tgsy7700FKDOrJ2x0iL3qKtZB8PrhRhRvUMQCEbiur4IoCPPzypZaeIhfyWfvTZlbQFHszQhghm7Zr0pua8RhMBebNdrkdDLCfdsWqnddbyZusvdz0A36Dger6THxR2JE6q+KzLUPstuZw+xATTELi5Oic9C9jtPsFPAgg6IlcZYvhV0m19QfCv7o44W1kUGgw1OUj+Qyn/VZqMivx3PHotomG/syRcUCU9L75CAAR3e5EMnb6Z7Os5kKN6RpwxsrDRDf/Kp+LJxr54v3urzRb1ZoZJ1csn/b29BkjCFpc30gIUM5MVMxsf17YHIdUWQQ2mmYAWkskIrSRJ2i+of269LCJQUjWNEJKUCblTzUE7BhHt7TKPTP2DZidJDytlv0VNOkyTGesOgSaarxySoArLRmZkVCooSuFXQJM9hFOcV1NN/ewAn3qca56uyyS2l6w0jTzS5kq0hWk+WU1j3yQfDKHcdi07Kp6qgdGA1c3eaXvft57xJ++zxe7XXxHz8oQ/cCm9bqqWpQWaLXp6MQdaYJ+q1km/GhF3EWkomo3VdCJBYOi4fjyhMgRlfU/Nephl1ErFSpNdndJ+CxcnVtTpWXEpZzoC70kj4VlBDapfIJGGeQGFSM4jm/Z1kzekYuK2TNRid6mHaxc+MhXikhXIo4HF+umzSe97JxgNMSEYd9ghYy4gHg2dPUIhe/ZEXkbArpDoUQ+An+55Vima3djCyR50PUtXtNMmTpJumKnNU7bYuxKmPkrF9ALbUG4c8XV36I5yasyjT5NAG1X2H1V/3JevcQ2FA9sRGJ+Fzf7nAt+vxOaWbSpmCSDp6FA57hMptPSJsyV3hMpHKu8/62nLV18IdcEhmK2v+hDCpwoI+MdsAtu0CjBE0hkmsTqfbmkSB9gTIGE5S/qcNnyGwI+qPzevPPL3C9432nwB8ootqoshjfRzLBqvMuYounCK9cxbbwp73xXFgz5aDDG9Oqc2MkeXYYE2Ylg3TsOB1TdrCUEDP31rc42G0lBvO5Em+pjqjWb2PuTZrg1rRh4Td4xz+/fYMhJeGdqVyDgUxgJ8gRSA0sLUs3xp5G0SUEZ3/eeoGSOkgFoult7rHheChN0T11nHbaqF3ve4GGxa74pgHwgXErXbTMu9ds367T+e09gdKWFmnKJi0/3ka9xTbueHf4Vzi6g8GQNB19o3vR+XWg3Xx0Ssj7PjmjXWDqxxXUFKKqwjXFutYAiTsa7waL7UEILoKQjEWxB7xbBKW0rYO3AmgQ8m2JBC7tGSv1m/Pb5AMrFZnXMn/KnlJLRXFgPO07OjDv+xmUT8I0h6yzsMtbFyDyezrFINt4tZPYz0X0ZrCMjw0ve7djG7CbiFNunPkiatwx+AY0jZtRLaohEvUVjMxWhsP/7Yz29Dy8bEwSp06jRY8epbgdGnTawQjn5f47IKYTpQd/uryV7ySZNxtYvsJymDEg+WUIlqz24ptQKNYzBdctEOJDhiBihocf85CK31SYgAgvGwUBSFQW46SeM/0+k7V20kHfEvM3Oc4WvoZG+YFAiSOT3iR8Dz9FwIxILt0SxbXvKdh8zY7VRjYxmKFNWMPWnGw8BnklByOMfRcJzAyIWu1iXiMx0gg+SYiAw+UUCgbOhG6um3DNKLg5AvV9j29xYl7mcRP1a6dhsohx+6AJs+KDmjXEbzJX48mCQgRCPiVWQ6gqRYFsmUiI+bmiFxBuv+7NzqHdqEDrGJLid5GJl/kxFPemkdityyom9vNicGSrWWgF/uN5DhwWIdGZSQEon/yZxkF818I14qjG1+GtP2VS0pD0b+XOsw1WCnhP9WNq0NqAHtB1nfwljLEfnzmPwZWsjKDxHiE0VBY92TXK9+gOgchiEBHQ7ezA6da9N+Sn3b9PsmzYj4HUS/ow2Yg/WBF6oOtOfrXlkaqz1k4iZJowfso8NgnuF/618LJsyhoy2BjyPNCmugxNLhiKTxoZIPAZITsf2HR1ku4iNL5wvacfwRHbxruaWPin0pRHH7wwUuQC4uLEPFeFNk+mITHHDC8cd2YrxNeipLphx6VZNqzq6843fgRpxRZ3u6b7MvYpgJ5y0dX0+JFA7xIQYHO8GkCcgqKOo7uwkMZsqGqFpOLxc4pjvQpfwu4hqGPaaSreyl6vqWKJkerIhGWy/35GqVuQ1iH99VMc0HmyJ+cEtBcNM1Mmne8bTnIv6G3qwtRfP8kcgzOPyiPzfmKQDQXd/0Y5DrTEiU6CHCm6uwtCcla0kMuBY7lHc0e3A5vumvEXXT7AoY8zMX7luXiYK42Nj1w7DG6lW2Fm2bYC7tbj5qX7ULLy/OZZqM7XdF/Cr55qhA+86RQ9oqcser0z24Mf6DdbLQeKhOdm5mW094hEzR9qWCgxNBUVVNy35DYXWHONbvEOmLZ3ejysqkQHRk+lxMkCLxU0vbII8lfeY/sAiPyqvdzMHb1nxDMA0i6BxrM+U5uEP6PPuyAIiDAicUXeDrEmI0MJbp/eME6huDIanwnnCWXB8X2z1PbgXME9RL5Pm+fngHdV8Q+Cg61/UTFn9cVOBssfb/cbs0OEsSNjshTy6yT9hNTbOn6Rz4A0v/fPzRVxd/8gOxtk7HCyTry6OX810xXYhM8Dwva1s1Svczir5EcEO9dnh38YX2H9kZphvv/bi2hQACzWSGR3xwSE+bjx0r6lLI8t3VNojKgXVd49QQjbMxkyhke1+zpzvm2Tt93O2v9maCjvm+yu2zxtddFGd8ZQn1eysVCkS9NJgIOr0Dr3FfqDZq1GsNt5EAh6AglCix9/CPjUjm3Qi/BEW767CPlwpn2++EwMN28TlXuXELWUibR+YxgeL5oYYCS2jN9jm6OOxtrAkltz+nZmej8PpQhebrYDDIct2HeWR7+sIQqbWNbDCFhqcKhUev/1JwvTzLaR7hFh7jYeZqDbMuJ7UIEjfMmlaxHVD4+84QRjuDS501R8ftcL1wG2wPzU1e9pVDwpkIc2QYv4e0P7ULL5Ipp+jL/vtdtJtiMD74n54oOwGpHgRHTy6Py0qjiHtwyBSPAHQ6K3/ZtqooIVqjXjjPH7K0hV0MMWSaW5u/C/rs4QqM+M7y3m91iRCsVWTlt+PMYdY0BDpRkz8q41IdbbmwOHzkt3C9ucGBiOWyDVPMviUgvGkB5EpLG3N54BswvDe/NlG4kjduOg3vscxpMUzC9h4uxFH8vtfTUkVBn9BOziIBq+N5itjECIApVMRc9d0wf5D35pZIH9Xxb6Ov3W73FoD3hTqUIB2r0U7eaCADjuBTEjLKIkZaxtwh8udPizXAPqZpAC5OPvVI7pkQRMr55/A7KBAmavJzdGl0dyn1bGxx0aIC30Qq2RxpIwbCt+7VWS0FwqBAh0rC3VpnVI8hUzE5b+0DuUQosQmxUgIR9J8kOglsEPbaljkhGHoZOVESJ5iQsrcJh0DEEj/opoN3wTkx3H8Miyq2c6+q2wExkwFrdHdzi/OlmJkOGj8AyicjR/CoDxL+LVNI26wFhuIbAUS1GJLpVmYyFMGP5juMs9sbuGQoIBomUtk3xHvncYT/wvOD6ZJ/hDcwnFbz3lIN0qKRlE0jn6Rf6jI9z9ZO6/OHQWo57Hn39hF288mtIHK2Ahs2yl+l9jQYv8tk9nuj5CrnOFmv7IVyTUxOr3MImnCyUjYZ8rbiteQniMyiK4XPAomCVI46/hNTyYLsYzuFvhgWN79DigfL2Rz5+IGokIAzzdsz5sIwHqMbGbQXpCTh4PTYRf8+7nCFh3v/KaEL/atQnAhwnihn3HFPYPjY4Ra3I6MH+869Jd2UQIx9qRQNHsP5H+DHOtxQb0cLLLr4FM6aA7IU07JiYSqourlsaF23rBpnnTP0XKWIFz29F4kIe02nnpd9zM4ke/q2/nVg9aIerxLEh7PPaPxf2B120dfnxyv73Mh0kofyvuiHmAEiMXlrPvA0r+bjaFXgvR29J8hFnvpgp+fCl0Q9RaKsHzdoE5ftAEKUrNcixQYdhTytbf+hTGKToMlTe5CK/VnjRZ2eta8Lhr+J1nCF2xt0S7m+Cgk0+cfFdBZMSUfx5ITJnDkFhinrvzHb6NFuTTalioR7XK3milMMbvNF9pL9Y3/LEhBZrSUCX5/3WltqUqljpJC9y0QzBVV9bYsi+n3n2QvNmNv8cieHQyuHyA3lJqT4Qyp37plrSuxl+KnTO9b5xkFQ4m6V7GKNYEXDM5JvFNVu8g4GXgSGDyULe9C0dUbrjuoiMHCI/Kc+BG192iABldAoviUDIHa0AMakNb87LIK4EZRELcjyn5YPApY72cuQ8zDr40j8I87Vpr+lM9YflxkNvpv6vNke+ameZ3avhgguhL4sCpKtAw8oqf0vJLah9UU2bY5tLL0G4bcw+4AhOMzMoPi6pXT9J047Pm27Ea53FmZ+5gGPppXJXb+KWJvd9R7qvTBd3mbHcEoajlIRLOmFrpw+nXvq4iHjIfI5SRRyoHVHYcdj0KfDO4GjYoUWvaLRAthiTACzUyd9fq9Lm5QUKAY1zpFtOir6xTHERPf5c1b+XGc0sz1K9Oz3d1CXKJ2GGwKHrW9fWrY4VeK9E41/1gXvHHd5NjeJxCkJW4tMjZVG3qpk6G6vMfbV52Q6DVCmHiMJB1Gya2U0uO1qE/gc7m/X1S13iZzZPxEeERYtMqjdHJTRV0UlDc2755tjNmGQiUSa4MJYUPIs0/a0FBldpH0GkV1qd/4N31mUQgOJqGP56/WKrTCblhhb6R3439JmjFuMP0v+yubtH/IS17pZOSpJU9wZqzaTQPoieL/wdkllwaqLd1WYAYGtqnfW08LkfUYHbrw89/NnqrzGDJJA7hsVElhkMy6DAC8Eo13Jx4bnz4ABufVYXVB5reTI/QZvh0MqdBqmdnayC4HdZJxsa4bcYpIokkqqi7YlnvN7gpaOg7Nmte8wPGwg3IQWijKgrr7TwPAt5Lbt67gpLdvDVOw44Itar3EY47c1uAuzzwGZ2kiVG1cpHxna+pIPUN2YwLIuBe6JnS7CM97yysPEGLOH+tl4RTGmJNNhLkD1W+nWxjK3Q+Y7U9PN1+QbTNxBkEwv2qTdrxTkF2BEOy4tgK1H25tBX9Bmk2Z+SiihQjLVzWNNazBcbbyJ8Qt3Yl67qP72dXjjQGuGvy/sUN6trvjq+TcEODLC3pRY25QrPdbAV9rhk1VMXGLB3SJ+s7a4FFrU4UY9O98L1q8yItrUEJMhPwgcq0xIYXIloxlUIbLKJ8+pk5QHPihmsrQ1C04D779Kjb/S66/zXzUXRXzE9Lh+sv6SoccQWTOHpsjtZByQskldh3NbxJU3oz+IX3eI0neA+GzP2MXfaQB1n746G7z+6q8bsYjH2z0WwsMF67IlCo8HF5w6jH5gLivSlOfpTxF0qfSFXVn3zbAqoDQSx8ta21dJXA6HlmxKwnoVcVIekKVrNg4noyJIbGpDRu653bo3ryRBvrS1UkV3aAQeLQ7rpYwkKxvxnPnEa4u0qn9NnAcgyrCMzHnmrHJOCvJa3ZwghEj3BClgEfVGChqDkviHR+wXmTCcVhPKptMtyUyLYbQ7u6J6Juiw2Uh8ck9EifRF1ZcI0k5/wxAZJyLer6DGsfQhEbp8VsWfgtmD2bHTBFcos2ubUg2Nx7hGJeeSEZmEFS0hUJtd/x0mCikegLTreJi8zGtI8mWyiBxqJ0w3XTparU8eioJTIFPJH0YcbfL4BxfIxW8/DX49D25UXXA03nEv11TOFs5csIdOBNpZSlh/ErnMaaYoUml7PFnaqYNFvbqxcM/Z8qZTflqzDzIyfFbU+d/DaLCqTduk+IRpATdYMQsk8O4qA946pxq/A3tMiqMOc1MqqG5P6HelA2VuQwj1dxyngFtPrTnayFEB7q2C/A0gMDzgSqkcEcs+WKmSG6W2F1C7LcSejhW1uQitrZ4uwwmjeY9YR1dwqR9u7F+vD29D8LjNWSP87OBg1KD7fpCIhCUGoUNhJw+EAYZKdf6yAt9PLWppwGuyWE+7+mjwG5VqRVBe1kikmK6Y6mpYG/TvSuMsWIiklNW3qy/uzTGbM9DBYFSpwQ3yzby/zQcecaX7hidCuidYNpSkR2H/LbmhZkxWB8SzXmA0bzlhFTjNGpDZO/Pb4oe1ZeJnpfQ89mfkgKKulworEjBV/gxcPFdA8ywUbpN/AoHSPu11sMGASh1Hbr1YRjtARRSPLwMl/IW3QhwBiqvkAzoMlQvq+QRw/8E0B5bb4UXKGs/2hdOLWc+W8DRiOfl7JjroYFq+YHfOzrFs1hzR3D0xvCFR09ICEjVdXHsG0wSkJaP1E/y+UvuFthjPXG2AeuSVgng53JvpFqTD4YlFYB/iCRlUE+YGT56UwSUQD5DhCuFJbHkvFqysloBkWSKOIJi2uORvA2NLQ6/q+3ZcwoZ6iQQFZgBqbLRG3waoAg1IwfPGLXwcH1q698TVOw5sXULbH26Cu3MhnslWdtU8q0HaPY39YD81pUdcq9kTC7/HfiNfo2bTeO0e+cC0egWngEfTuE/t9vWdpft+mE7MdFYu78t3+zZGXlohQlrGYPMj5uL/+IALH5BVkMB15o01d/PcSE8o6qGZWbrPXCIXjWpeK2yl5Tg4GoI6YTu/u0006k7DlrpqV21JAeFZONLOf8v9eTl116lcz1iUxbwMt5KTHz4eVYmP1PLQLclobA4DdwV3V96fMPH9q6HBzOsivswBdcdITONMuu4BYZABx/BTZp8cn2jt/rYhe+78/4No+8oiPmsLMA0ynopB3YGP4RVm3StCfkm6gLhT756WDlfWhrTGxo8x2xRgvN/GHxXJbklVky5nEfa8DI0HGQZtna/2WMgNy7RqjuYgvRv8NDvxJKKtAfSPRxcScnhs3QUSohEj0oLHpZKL/TgAikgY5PK4VqALnBSCeiy0nvrSX+Bg/k6Qu4TU2iyHXpPRJKuv+MNTz0hRgl/23mxVgd/t8qbpADlQcFA89tdm8QOzK5V676/T3OBtXLh6ArCLPu2334Tv3n73s2lFD8kV1Etbi9LI0RZsAfxC6d+xxYA18U+hflygRAkho0J4+n6xT1DIWl8+DfwkoKxbsz4LqDrAFzAKTCvtHkmOoHf6FlVT/6ogr9zKswxaw2exelLU1gnLiFZ8+H3S/VRD6BFpP3m8YyDX00pjf/SY/tOj87mVaMWhHPaB2BI3H3n/VVlIZpHKoAqDq5SDAzE0awfJ3gPT+EtJTp0xBGePTdsxxdb6QfmPmbw4pDWI6i7AAplJjvlcPvCl6nVLKIkfrXVbNcFPzIgaHB+Z/0VCQ4S4LCvATLatZx79dIetG8kiBeJP4Da+DqRKeHZpjeZ8RTFmxM3qy72oFqokrChN34LhPuueYbKmvunAmzHQ3KOn+m/11IDn/Nhb7u0GSj4kVtjH02Jr9O6hiM6ww9iVbg3/t8zvc4w6w1Ei0j5YQeu/z8lXG57lhFjtAqDBV8HDszCBDZQDEKmsD4OUYP0bsgh2/DDTsqAiPFOXEPfLbNUi5Cc3HM1ISNNLk+CA3yI98yPtzROAD/d6OttpxnzQu1kqEWbvTgu1TZMlZHnv6Q84jfOeA30G2b0kW2AbIJb0y6oj28diYCc6bCiwGfqNCY/yqVRFpOtWru/A1NEpTx12DGAgFBA93k2xsyTOVtIDKM3AQoTA5IN8ajFOrS1cp2OwWj1iagfLxYOvzLd3oM5Fja5keBPBCzQ7PdwyVeujVLziM/AsqEeO+rWl87QMtuWGA5AF1yVp7JodMT0WW3edSf9ijvnfQTz90LYim8CKxbASRnugZqznTGHfL5nBz5x/gDg6aMBv1uCJtR24Zcqao2v7gFU0ewaVE6Bk8D4eqo9qdcd/QDSFI9ckWFcNo6z0hvNQh5ywlRq/BF5PHBFt/Ooft7t2zxhnN8IyZ8NM8tBEJiLxOsKM/KXwA6PMncOZOICzMID7TFwXpC32f9l1gDHskdLu1a52Hhw2qWXbLB9AJmJcyi8ysUdPBZpYil3BJwMk9tC6WLu/GJApyU1CFfIftLDijm8Yiv7EDGjxfbS4Mki0WIKNzZ8yLMRFnbu5lvnUTicqrxYwJ2eGiSaXkNW+eiJJ0UDKM/VdXNznOHOUnaq3OQgy9/ep1fTARjBSzB2rjIUpi+FDO86wWp9HsU5V4ZGe3RSFYR8jJ3NnS9jVUsxULysQNaDEmiYLjxjzoxS71TlGJzFwTvGFPTAvGVeI7ExPKvwDD7e6LGf3wMcWsu8p/N3i1QhTfoBLhLxFtUAruqLsu68TEq65l5mFy93/oiQErya1yVxyZvYy/ft7tJeIlNosGqBoQWkk0ZrJp/ON0VSQVE3fdCJ8cjN6mfAwtTvjXkDvtOws3TImw6UcqdH4ATzoIXcQjn2+pKw/keQUDQfy9IandxF/eUFyN01xMl71rEoJKKCxU1i3tI8yjiaCVziBLKXN3gzE5zFVxztuR1J0wCLrCycZBB/BkinvtaTwhRRsZpZaXrmnR+wzYOnxJRhj/u/pqQlcTwDvYiNzy2MeCtSo3cAx8QbKspBk214+WC9MOeISKocC2CaIKDpWF+zjnnHG7xsHGiegy+qNBgNngyLjEQeOcotTksHmA2phGM1/zGYlBaYB6hQbZ5b24sWYEBi8gj128HFp23tRC5OGWr4ephoX1t5ZVLRsZJMpu20zNLLgI8i++zVyTv9gieIinTm3uUhAAe/NSwyzziKYPDqcdmRBVtzdiYECK1E/6ygaKn/dqHvxu7BbOVvGSDZIfdkdZ68b1jD2Zxc++B5vXZBR0lAbNjKrlcA9zrEyOXo1ufpCJKfVU5195oZpsBVAvjF/NqOn57vxs78DhsIwK+Co8eBSKsZlhdxiL+0Qxu2iN54GB9S/u5VwrG9hcG6hIuJ2+taVZqE72CrcQlMAXT24FtSNQqISCbo9j2hQZMzQZBQgg7LbkDVert222LBeXVNDvPg1qQ3tpDZDf4YticlIcWRl8oSYxb6LKMuGWSUW6VSLX/HQwfbnkjLzPzy+dnTVuNyi7+6cfvSCigL0xV/ryFQiQwXLO5U0LMB8ofTt4SNHmthIiadKMI7uAf7rbSx7srluN/orZsuDa2AAYs2rpDdUZhEzl5tkDlSLXVRkjbJnDatC9lWS8QJsDv0Nm7t4pq4Q7DVrr34SNPBbu/KEMLL/4hqf96G0nD1vXSgQgxNXMyl6FqEYJX57KlWiD3FQXpk4RIpA1vPsO6aSz35GAc8HEHbFd/b9dhpq4XDVr7J+7EjBdiplBwWRzByyq/YkYPJ0aaVZ6xPAnXYE2aDfMglrkRKZeYuoqExMQ2bgjOn87wQuTeL8eLyIlCMz12faPBWQiF+vOwu3kaM+RZQS8ZwB0CnXOxNHz83+slMLmjLV3TEPCp1Rhm8yna4HONqT1vrr1T7w4qppYD8CrV91vIMTPpSEEp1j208LKNhant2sqG1uj5//M9dS6Vr31iw1UxJVgupmCboVVtqpNlgT51E/YqZ2pNZLDBZCjqxl1M5vdYyqND6+aNK5/pKx2TKFuTVPiUrhFUSQ4/lwiX8UMMdiVPx5OyC3PsgU70lyb+SdlDhw0kcK1vXYahN9oCi9n4XNXmXkJjFybbNrjSCys0SZP9mkc9h/NDfJ30PpaLoLMqPd5zhrPqZXSN8c9ZC/uMcZgKxQHskLaD9XS8Rf9nYqE0GKKo0Zm87VnBJvQIfudxHM6vaDCPhpEWf/vK2NwQJKz0zlspGMxV0XH9uwdmAAFSL0dwnZsBjeexAAbl6OIkBgVMHN5qhVTSP9925nelTrdDbsd7GwcqVpahWK0TZ++Bg886jI0PnjMB00iTT9zt492wC+SP06QtBEJ429WbtDs2vl+7Cyyam6d14lpWVGi2nR3kR4oSJgsbWyyYem1I8r67LOk2UnIOOC0y0BSUoaSItJUsN/0RsiS0A+BTXllCMGPYOZsdsQ61JmdyqoVzzwFFaEH6hSw00cr7eeF1ULQOQylIpiUFVszGj7VSHrZP7mMo2L06WvchQWYbl0MAjrXabpX3CUSYQXnEheS5t3ff/ngoAmCEmX+bCBbjb2nQdSnnN6ZS4qhhwRlBO/a67+euaZ83OocgpCxF6H0UmpQjIydGhRkJdb5mkoMPIt2nRCIjJ3l9BVBNu4GQReiNyzH8e92MqUoDJ78vAAaIrH1aVdeFNsHgjqH1MNucRvRE7gl7kvZ5mvdBNqlLEK4/rmJaDp6OeoHkbkclOfVHrtyerZPMCglvDloabXkZtgPYDC9++pXcG3R7q5w3rvpYAeWQr+XxYCuicysY6ObfTbCkmDXBtPus8y9OmpsTZkvra8ATTxb/7I59oyvf+7oFjd18PF+afg+DYLLY5g3FPECsDMS7rVS71yNj9YR1vMp/iSxOyqI/p5GsMZnblDklJWRBeqTOXLHYfO1qiSPK7ZM3PjcY9mM2UvNtkLLqCAOZ6n6rORfPunGBtfR+GKpjhFVbETCGxhgWhxNfQZ+U5c0bajHnfYMNwlkGwlkYYqr+lnhelExrll3blHQU2Tu3N8+0QnYJPj0bWa66sNvpnf4bJ8PYkWlG1Ij4JJ5Si3Gs0a6rHYY2ttoziZC0r6HSgxnVjnj5HPeFfnwMGdnxQMkp8USS3y+fFdHROmMif/yq6Hr/kK9jyeX+lPjMcnEZelS9z0Ciea4p3vPhL/iArgSLfQZvd5j6SEZbi4KLcUBRUno+WAO6yO1SO/6etjKLJMehz0xeOyLXuz8OFcrkbHTjM4a30niwIai6mgYmeY2qkzLj2gOpPt40rwKpVOdp5ImnHOCRZBjHhF7jA4CpFs+oTww383aWlIUiEAIKZgAuSksBveQoC0/RsJw5dcVLMYFO5Bd8KH793iQu/g3uhJ0vBV9OCrILn1f+mVFtEfIpHO0PswKdwCyyA299zOxI/JgFw7VHjM7JI5kHY5atyCjW4fXfSFENe5t9tQ/JPfE3/S9j2EnL/8fxHgedSAtkWwemuqL1FgHA5WV+bvjSw7hLiqmH4q6TnSlXS6sinxUNUCW+KG3FYFBDgqibwaCEOWcdXiTqqfsbEUcQJxW1hpMLnh4izcjTF+jwE6+JPHOCc2bKBYp1IaO5ifmiDbNFG0BKqWfp8jy9Qmg7a3fhcT/eIGJ09gnGvq5hj0DbgCtvst0Fk+K6Y/VI9d44gMdVc9xoMaAD3opk5cNRAQGYM3hLe2kt+EpSiOMff0q0qo7m+4iwG427bx/rLFznzAaY4whrjiVtgC+vRcUAZCEfxuoSESWke6Gm4GZxVvWD+lgA1RUZ4/6yWEwaTl+L8xq9XRFCm3vIZmYOIQzF7QQWdhNDBfeXZ6Eqqp8RUnNU++n4xOIgPIyV+ud0rm1jTWHyTNRUqaKIfbVEN3vtoGMjXxLUiZO8e2mk64qjHoPiqFRFsLtavkg52efUNFKo9cHiAfB2HGx3kkrd01wYf3NeT4Y4YcdjQ7JhzJcrPGpVLsvHy/gaehosiT94gUxmBK8I4a4NWB+osetYHKdvs8JvmImbsCEpwbfjx51qH7dbvha97xHXHVvG46SaCS65j4PrN5a5Ugk3dh0v5hWHYjVXybE68GsdUBYe9GJMO8vss2zvtqXDHxsxAM0WAFbRT2eeKlo0i9rKq40i6cBiJBuFvZTOKOzHessghCd0lqLGkyjysYaXvZ30wpMeFl5AGEDcFmE6ZkVBouZeFDx5+odWCJBklE7fB9LhrjMbP2QR21BaVWPpEyXbwQcK3HAvdaDF4bfZAGS/xYIQ4NamUQaOwnp000A7nWexRdtQwKiqpF1VbHRXlYEP+eWrWsBKX4ZpJheVLFvatVZnOPUuP6pgqnI2bkUB1fLRyE1WS9+rB+Fo8kXy7SSUjvsDAXfjpSJ7IJMUYnYrUSIOlJbM6NkK7kHmfLUDpCOpNxZOAhrc03Sy8KV2jIuOXVFqwfCTykiml88TD9kcoVz1fhpGAqBBnq7l82HSohnAzVD3UG06iExyR0s5a9g/J2yRvfrtXOtl5DTPoEgcovNOG4JYJMX9eMgKsgiSeKGHTYaIQWyU/cY75YGJyz/sqdigGv+pgJaRwenb0ODPtA/lrR1/xae0J/DvYiyzpj9yWNZjyRtN7/KcSpvTjT/rKpZa4akv6kGkLlzs4vXVG9duyGx1k1xvaPAEBuIk9YjKmjXFY/9q8O1dhVsI6of4XadgCfSpCmlOZQry2vvlkHr5k0qhCwtBAL8hpIews0/vSjUzYJ92QPdNWRyNaQnPXri0ZWY3OJURKX++mzQvgZXwMmj/+qoMhoJGiTYNXFwMMLR68niGpGgChoxg8yDDGxaOqfIGWy/z6jjxE+HTwfsLoGI4oIGhfrQ612Lw6CFRtjUqDz7p2QUlqegOsdUg4+E6SE6AwgyPpU66KEwKc25EbmEoO7Q6EvaCbY7u9NDd3Rr1ThSfPehvSrP0/z/AtrHbjLTLeWeRqnLMeo4b++GTbJo4ZrUUGLd7YILxyT2T1XUCnuWxE/ftXTU+HFh538/qQgn9wTo02QYOsXtF2jnoQXrV8DGbbJxZ5dfLi6s5Ot1olwuxI+N/zXJYaFuFfix6N9BXefrIGBVfrt97DZ9lFCn5jkXh9j53WFQE+S3KH7ywv7d+qYU3hTgdvTUQVxpISGK+099taxedBJic+TlQk6x3JyC1rfgR+s/GWjDSSCNtOcLx27xtayR7pFwXtfQNmlgYiA4TQS/u7+d/JhRisG1cc+VELJCSdnx8fRo1EBs/yRFHcJJCq2y8E1/jwzSNkO4Ow6U8nGHaeql8QmC/ZoWKdC0U7agDie1NxhYJu+d/wpg9mnY5SHXwtN+gWQP+xqaaGKMm/vvDf2c/XxBwgjA6Ww2g9msYIGPkjsEpH4+2wWzFp+Uo2FLqpPPa+7jNACxDLL1YIjxye5FmSgHF0ch4YmaMgYxUGiLX8FzEYqblsNjVOWDrV21g3ty78XyoTTX7KiRG73d7I5p0EaPHa2DNXDil+7/3doaenrMij2/V7gcRlJ+STxxqu74Mgo2cVplTXXohrYY6sy+UW/YZP8L/QDodRSVCgqQLNz3m+5/q3LRT0gShy790ECt8plDGbE3C9aPdr5xai1p5rGE5Jakn3jgbj/2phHfHcH6XI+9FgWXmS/HvhagnFIz6QJz2OFhOdbGUBtoecORxjxQ70ot9rIkqPhiZEwJg6qRcRTgwrQS6S+rgybW0ogXIHXDT8z3wT9AkhWqXSrU1UIhwDdPOyySIdBX6HHUDIaMhXyfpm06/rVpH473JkR3wgNiCjAO1VzBUJKQuXZkm0v51btm0lqgtikOKh4Yxlu80kysYlGwxl/j4k+ccaJ6FBCqvh2V5gzisCuMpHalzkCk8RVzg8rAXYbIC9hP0+RKeMT7BTEurCRHRd35rhZRVyrkL7jnFrZYqNZdbkymb4vGOcziT9scgaLCzw6Reava2++PpviSWWNdsUYOfyriOJYh0nqyz+La8oZi6xzQbNTQEZp4JL3T0Zk1S3+l1mPuhWat0MfzRyBOFv028Syk25CKyZvjNge+0mykVrZ6bPVZE5wuLg7MZV7VpAz8z28Rg6MTWYRnrofxp5Nq6jy2EGqRLGHYQirK5s4QBQs4Mf4xlcpmFxL/DJXJJVtczvU20/41At4FEmPGA3oRJ4dqKM4jTXtNOoqBjHRoNZoWHMmOOWr05YYirR1/ZtEdkF+SKxLJIEqH9576pTK9Ws3LNfDRCr/509w0hcRYCn5M7jo3xGBpzJbtGi+ckx01/7P0yQ6oyYWpxu2xFCMxUyNHnMyg4AQVOmwSKnCYrbXjHPZm+U7S0ZIfx5xFYxKfBW/D927aM3UO0SRdZ3go64gPKLndPACbJA71ZQqxC/WvsCrGNgLjobUIG9Qp+A3vujx6ZnmNUbwQWIacfEFOUhiR6PhM8j+nyvN414tUBkpb2olvoZowdPMmGlFAcn1cvrrGD2XvO5TfeVGT+xFtqqni1EPj/w6PmGnfkAEkA1jix/qCOCRH3s0ESTgv5WbWy8zI/GUM8lOh52YuDuqGBsA/lDuRASpAL0UqZpXsPK/S8yUtNlDtzv6tun8UJdAYYF3QFWYQHEKx0xZKydNGJjVg/fZsz8xnbp604QILJurbGDMEsMygb4JxCDzKdd0Z6snsEyRgrq3CRdfVGg+yA2lhr+D+1KeFkLTXUL9LfftMqHzLc6n/0Pc0aYgI3m1hsTxdgz5Ro91DcXwsVBucmFfB5FlWHbztxh1rHFmGV/YAC+BfUEybhBc9YZJ2HhVzzDLspmlOCQBFSubyR6mjtGdrg7aDFpJjsH2KAHSPWedeft2hRAGAyPou3d+SlqvS53Gm7bgjdcCOULlQeWDfOcbDk8Xgg7y1rsfZWN7MrIVj2w3zT7s9cX1DajlvTsOCxDZKrCNBw14iFTKEzuRT7OADr1itdlc/RL35rGDt0ajHo8V7neTW6geV01PRB348fFsx1+REeoj8Ke2dyFc81zaTt0YK87aDZQk2F0Q+WRvtLBQWx41PyLiLexS/i1OPWV/VNx/g8aePlpYPc2hkWyvUJZMgN+2jTiecR1WC0Hn/ACv3tcndaFqVc+kgmbBzRBEqJO6a1jEZROCrSgWI1Bd9mMQVjsHBNbCNPfNIBVMp0bT4yPJMRMFtU6z9DrvIl9V/0l0940cKY5gUgiM4W6C3mIxSmZU1KocQoQXCTNKyK0Dqu6CBBlDZ0QYy4bWL1zMpqDqElbXGGXfdSjDweHZAlBhFAcD94BDyXtI13n2EFh7Mh3JrjEb1Lo+XKm3CSud9HOUQt8v+qaEh1YLL5SW9qCMhC8jmp7xoQnQolNcX/Qa51Urp8Mx3uzu1XupfjpcckfewJXlNwC2hcGrDroxYJD71V0WPnk4CuVkXqFQpd1JsVNcbKGmQypRk0GBxm/XhA+0BQipDUfTSpRi80fykWPqDY6FRVQqOFWVSo38MooeSoJzFYYEfSuHchlWiPINwwgBQGxvcZRj36jT3eZFZR6AOCv3HB+j85R63+wI+XmW/3sNP8xFHCiFTA+T8SxqOMGvPgGnHjA9bdmZk9YkMnkiWTAlje6r/aJF4zKbrAXP7gByTZ67bEGSesr+xSbtP057Ck7J1NRUkq7+ZgPs5HvfOkft26eS3ujav7TFHQ+Dhe/6Vh7+MDcoaBIQI4p55YcNXNBVpS2g6ceNn0W9wmEp6Cn0X5bxEPy8NU8OtdglTM1FxWc6sZlTzODEkWIHaDBXyLriKkWvDpEsmZrLmWBB7/Lpu8FU5kPehzxcL+rDKH+xLXzN1+y7HPoKi9MeaDy8q6UyCckngNTDu8yzFNFpkYE08HkD2iHMezCluVG9Cdvm4URLdd1+bxWy9J89crsW4RSn7MJzF4CLYP6vHNv22cv0F9QNusDpe4OUTTei6TIswVX1tnp5ErsiI9igLKO3tzm8Kbdwq2Bx5HAFkZyEadcqLiyWa3bLP4R3YMbfMb8g8AbuEeFqhgxBmCzNx1EGevmc8Uz1Bgfh01IXLFL6GY4USt+6u3jbG31ja9QhW7PWKKrZBAH0P6ucckx6Hvls8BUPqEzPETsS31MWZHu73yz/sMLA2Tdp1Yn2NKz9ngry9VCggeeVLrk2ymNVhn1X2mrEDNgXP5qnOxO0Jz+6GQimuXnB8sY6sVU4pDKuPYkQ+/Uq3HXO4n3MyiMv9V3YUnvWTNJCYtY3zO/cvhmApQrz/JCqaQn4gW2FzyrO2+2t3mxcR98Viyn0lBMYRashYWZwLfKcUhibHVDM4U2Vpt3rUtr3MPEeL2ynjvD/a51EH+z4+1NnfwS/m/iPxHMnknHJCK0yvpGFf7ai5RP1JD4f3cTdAmvOtzUd/2feVbklnrDqA8vx0gq2npxeDvdPv2nPclcnjq/CXcsGkvc2YyugF8zvbG/9s88uzgGOa7bpG3KDgMEZH9VG2krN6lMU1a44oeNE9cb82100WDjOHJBqJ0JFe4l80Go2MyCdcrYrVrV1f93cvy3SCY60fr3cZv/8mG0vuxym4HOcWWHadBHO2OIyK/aatb5hzoB1WakrUiId1uUd2BbY28BQkpMsvEiZ6Y6wK5UyJMfNjNbAQSNzri8eI44eW+ANFaGiKEr2AAc8unevZgtCU75KQzfDnoucVsz68YqtTMaMrYCB3HQpYVKnSfgwMGQj2WiixKKuKyDqPzF23K/0yy1aTpGEpQ1Q2kb77ZjtpSR8KiiC/U/X8RYgEqqsO1tAVI/DCOPGrP6lEAutDwgzWIGGjMYvByzdoQiE+Mu6xoFtNYiQT0vxgPh//zg1ud79UBeLLFcnrvPx+rEwiN5tL+Vt18eiTcA9gyGuUuzeCSegGD4hRCaJ/z3MYXAlmvmq9V4x0Qhz9qhaSUwlN1l8cjcHqtYJR7XIzPSJpJHqT3SHt7wRyy5NA2ue5BwIAnKWGy9In2G2QgFpY7BcEGH1euqDBlZUAzHr4FDj3S13Qe7f8zuaPH5kWpHPVkrYLOgRKB1SYy+XpL8R1uQwhjmgaq3cB94hb9vxslV1ZtWp+63gkQA9pubZE9/YMFGJqliISBLMcVozjoll91kRgBoAHE6MzmvJUpBZHSsb6JM6XVsVKJqYeXJweNl/asm3HfHUA7+Mdq6bBytH3Fk9J0csqM3Q94JADwnELCXKE3MBJtYZJWW6+jEeC6VLMjUrppRfLxp12DJkUBEuMi6kDWgK2wbg7uZStJz5QYGnCOMlAIzGm6SDLOfbFPBquEz/9CwaGguUnz80gqoKsZ3ysyrcV4apihQG6miR4dB6spuuwNiQj9a9OzTxJ+WlDCrDP0+pdmm3/KfzCTHfaaR3f4DYYTv1FR+2Dhfj6MbIRSAjRvmy30cMNwMBTz+Is5Xrtf8goXLkEtz5TSio/7gcXjH1HE1DbwOj4caiG9DD8J8KKqfvsI0BlC/4heHmqdTDbdq3YOB6ZdpJUqY4OeT0b78ACTpzsq7wqOg8j42l1g4gY0M7HWBrh8vqmz3Q7Yfa5Rz14q6jw+p8IkPJBXQ1A+kV1EahH/6z9vQQztzbx5NRUQ4I8TMFnF+Hiv6umiK3rrHa/p2oD4LbVVtjH9q6ZVmdXboa5tBjnWA4FNCvsjFgrLoqeEMS3BNh+7Ywmr8qlIC89gwmRE3PfoaLjdXyf0H7bmKHq0YcSyP3a/XeEugxgVZ76VM7WXki8dtZTDCYjcrCdrsjwORf0f6XV4FzV2RmUMP/93yawDp+mRI54AeHpDe2keQKDyPd8eUNsNFVEcyC+oF+HSiGdNYqBRMJM0XdPuSJzOs5qFwBZ17dyou1xGEBtjxNEbAub3BBqoRelybVsANN/p2qheHfYwtyIh6+vus2y0DCHOiqFYgBYUzOWdfd9LIEd0CdgSerOXSgsjwg4eAl3+Q0ym4kL0GhvsShnH8Mad3p6DH8LPKesssWGxu/Ycr0OJIUfD+1ir8BuojRw48KlOiWQ6/n7om4wQLpJM8X6j88tY+TuYZS9RqwvGcOT8REtFD4DUHlbKi1d13NiL9PcHmwhlqdxoSLllE0WDRmJfp8B2w+ry4FFf75HyQfYzS9n8JpBpEUAHPCDIAjw9oQudoHvKAeIIQy2lhN0aWumEExsyuXgfzyMmjVMTWyg8vMuRCeHXXrypuk4o/pFHDpuIdY6J6g8gV4cNDofRX3fSXqSovDG1VB1+kDE90KDU8jPtUyPtfPXbV87Vta++qa3ExPOyHDCSishkgwpxiXzZE08KLaA6DVY9bntRx/CrNlFgEpzTOicq0sQpCY9R/4T6B6aTq/pcVRIMWXU/0rXolzDhu03mE+TeBFRpiZkddsoFNum3EDYNe5RSJltfSNxpU661dMwUmk/3Kq6FClI7yDM3+uSAIvHhIpPvQI7M3pAqgnwidPxuG/5zQVjzRXNggYPOJ03Kdd2RPU358cwZGRY+FfDrGPe6iEz25cs3tFa+EzrLy/Y+m8+l+AN3U3FUU3WZsr3azel5+Dg1u3GPI2XCvcA3eV2g/Zyl0WcGKncWaZ7k5g39jbnvKpmd9QJbN6Gfjh5d5/ptUz5B9hIHhwS4tNhQC0Qjb+p+PYx8pbPd+EWp7YzqpiZVy98GOUNtKkGnivCAA6uBEznHumgeq4+cyOR6EYjiEzywz6BaGBHkmZ4p3INaXGcc/JVcSQruX8idwT7ZSZI2KJ6o5B0I7fHG1Vj/Sa45Tf07LK1KWLWgxtTdq4LlX2AboV5H9oLQI+8sR4bLFVUDes8WTpOhnk9eREcq+saZ2FxvKMXy0EhNljqfPSXWdiBgNsg+V8LuYJTC/6QBnaWTK65IoGk6wYPkitUZTcWM9MI4hRmFU8QbqJqSYegbIhBBE4OPlaHOqGjleIax7zgyZeyZU0qdmjiYHwa5W0PgQNRV5BQzPnAnVM2f8t2S94tT1Ux2q+KiR+0QEXCgGD/SyyP/Pg03sQfcZ61pnrzGq7+EknXnfgWN5ZyWqA3ENoEs0yxLIq1RyEI64t3gQONtmyUa87Zn5tXlAfGKx0sxE5o5SyDm4QGFeM8sqE+MtYCCHu+33ulV6J2r6cQRO6qWjT1j6iBucDEBzNtHUBKvNr6PWQe3/HTFH1abZjRABICajhwrYc2Onbyi22pDIOHC6I2ZiIk1Yd9uvdv77rA94IPOwucAjcLTtJ6kK+ByKgQe6LKMxdazuye3B3JpTqjjJgvoK8oBe99DAh+4IdOXJQoMPX9+B+1Ydjj6qUDAwRsUlqLGiHUsl7G0WEgIY4r7Ipma1MVg1w2+6GybyPMU7qEPRFBS6u7XKDiZkUxzQ205uN0Gh1tSGYN+KDTsjP8Ic3lqLdm0dbnsqzn+5E96+iOfn3WC1gRIGPJV6k+gsMd1q8HLlq+vAZgqFhUI/DsWjQgxAes3dK+UFeuY/XRsr4NJvfnqfaR3Pw6i+Pmnyl7Pfl00EBSPtZiS0icUh6MK2K7cFS2pslTtCKuVNdnPDHBhMwFVznwhLS7Sgzyy4S7YpIy42dZtRkTAMnfak3hKfztndXfiqF+u0ejttjGJizKbUxTBzsxNy82BXkCXpSimCzrT58FW/6Ehuxm25OmjDfMBaSPemh7Iht4KXWUIf0mDdnNAlmoVGC822qzUlimzEjAPhpc7SyfPKVUGpCQ18ePcu9KtC8gG2ruU6D7lsvxny4K5HMaN+/nUALX+nKKvg19xchQgNkxxbkeMAxdmtSW1XuvBjFveSXp6C9Ki0fsNbXDGsLUX9yg9PRc2jwSN88jT13TGRlzeB603Th5eoM9uXmZk4xyJjjh/GnQMSRxzUq72GBcxJQ4HO7Hl/JZfsig9DA+2IQFEJSKYbidti08ZC69sWbyq9dC7wookuSWq/cl/Gd6Thg88N0rdcfByXepWYfL/KmGEOeVr123Wxa2+x7fzHk6qOFJ0bfZu8BHwKU2RHEFpjyzz3dfS0GbC/eK7GicX5kFRD98ug+rY9FCLgRfGEKlLBB36PgAYX1iMb48F/awr6Y3P+cewN/YaQmMB62r3ETaMtO6Wbs3+kbw5IqdV5liuqjA839/CGh4bHJxeMMXWtk+yyQFDhBabLt/Pj8tOAh+ROIvo+kfqrusaYoweCVU0aUHskBGcayqNHOcESSlK4Fxavzt1n5UFWv22BBOLUppAYgdTMz44evBF0NEJ30NzwtDXm0Mbp1o4BHSYvFtppqDwAAWTGmHlubOrLMhuYDwFro2pgWmkuu52mMwavl9QYjgdrYPfMvB6cjfpnzISdzRKT/+gEPWEsjTXtQwVAV1oZzIkvQoKi5d182t9CzgUoqPGOp7HIx1QJb6DpjLlqNnsvlFk+qjM92Lq4WbD33EEyrFodXvCJzHIVpd5dPlLS9zpDbxfO8eNBKtIfsnLjIpNyyf5zndatgda8a79OWV68VGeVuuWxU0fOGMVdfMCj53OUyRhGIIVe+5CQXV8ZlXt69BwMHDSeh1+y4bCBaB5gMyYGgnOLKAkY7BErDVVrTjLCfioPVrl/dD40AqrNuT6VYKiGM4xVLy2D6gpOHB/1jxESZoO+fQoCaK6KT+wutShTbvQojI7Zw0lxdqbd14kcMu40IA4S9DsnWystgG69MyJKyjMqkUZhcHEEeG+sdZfpucilNnJ24uuIjgZBEYmMRt+qULYbvRcX4/u06m+WjuftdmcjtZYu+MSBAw2HGNQYqwuGdQkdgm/uUKM5yks/I+c/HNJ2frBVlqnOnKfUIX05Vwk1p12MWbvCVvbWy47D9KT+7vnvUioZJ1LLAGz0ulKozOv6TS15xZuyjPretqyNJ8lWzgdLWWDZitWmzyKsfDZmj/+GrlrCZJAQLnqMB6uAuJNAy3dOKq4LTr2MlJxrZHC1x+OY/8/+NMunq+hzJufa917SSGeOOpdO6bL4SAE3LcDAQ6yz6uTE/4xhOR+JebW2pNPqq9mdc9VK1yrdcRB0ETdF5bAfwkrcsL1g2WkSvRD/OC/psH3iVh0NFSr3/LC6rQid7VA/Pyyw+Kv7EPNvDznh0t66gTtktZoKH3pRHEqgmpaOV4owZx8qpVL1daCxBQaERDqK5iTpwZ/SwxN9o9DhajuqD7u3uAN27vaik3RYJoSp71fPmdJCrL223YVuoFDacOnmJrx4t64qe9NxQhHKrgw8EK8nOU2lk5b1nPyLZVrWoOzV1C4er2NouH3oynBMQNRvq3xMWzGEeb15y8e4xjaR2ZRYue1KxHefDMyGfxKJeg/xVX+RtgMVv0wTXqygBze8ftSvp+5gbJUPilfA52Uhr6p1Yh/hp/hNMka+M9jKS6jhrWHkwIO07NESLPkJ3124PJwojBRirSpOQX8isamYwq8r653UOJPzOPHyEjDlrubk++96+y6qdzmy69CE9t2ZDqGSWjtXrLV7uZXBhgZssm9WbQHqqn9d4sxI0sWRUKSHNehFybd71aobhr5IN+ZkB1h/DtgpcLbdk969WrmGQE73QMOmYyrq7uKaP+OFwY/jAd385usQUQNgUhILJywGpbRyk4Yd+sOWWM/cjndvHQI0RBi0igOcIgqAnwPAsz4EHAhP1hcjaycac0fCz9v/ZUmZ6laZyXcHYELmd4xz+qzK3AJqFT9OXtmA1h03DGw/TCiEmf4N3PazkaM9HUi9BCGHeGk/0G38teSdMyDHMwymj4QhnFPyFhCEOdZTUUcYIUzlkZ+tcEk3zAXzVCDnqBTqZFS3bohQeGKKWpshDiP7yjQT9lVsafRbR/SyNHUke1qyRKd8t2yHWv2NaWOAQ6oij3UyHvEinFKmxvS48fNMLj8FI/xtdcq8M1a8+hlDoKHDDaeAF1+mEo+UlroTEGiiR7z5H/lzEPpSCEfRQ1otTmCtTbZuLDoWyE/BVrqucMNxtRFJgqaXW0Z8VfJee0llTxedIeQyFSg8NlyrvAfXon2jv+qSrz1WSDXSYms24mI0VxXZz7YFgxXdyp0w9/8E31WJzRrQVicJUJlFy8vwXIO8gmC2izVmGwyCyDMN8t8jmnIL0q2pLkXnstyhc5ra5+0dH7UUUL9B/zbaQG5xvEEqqiB0ZO4ZZPPzRKwFTJnKJH6YdwfQiZbaGWvpUxk3Hz6+Ob73tZJ209J1Fg4CJVQGEcfw5iigLW1Ncx+uLcwRMEYidHq5Wa7eCTezy3y5xtnWZgwrgGRRoRiLVoez8Yrn8K7mgftkUxv/juEE6RotineU6Dpl4OF4HsWCAtEuW7fQTCg2BGVswRIxP7Cx85Cbm6IZEsoqMRYmTBm6VpDfTa9fPO/DcxAoADxz4rXxNrIDo7WGlG81LhLZ11yh/csEdJ4G6xE63/qo7X4xJP0HgcI1oWtf45n54GUzDPPPAE9yuOa3TV1iWcnZnL2p4nejDWC3xkYULzmjq1ERyg6gavGTZR38bJ2G7GuAYlgAtDM2p4RlpxUrCl9TbyLOfFaGk2rrdzgpafBpOvQkhRuCPh7xAsr/NPnLA5dkcHiiBeKKyJOjf1wzEUIhphbcn+0Mo39h2SY8+EzGa9ZMk4oESiFOZJVyVMWk9IFsIuWdKPOdusCR1FQlvA0buwx9ZQ47k2hrMugxx+sKlW5YgljBIyReheSSKxEIw6cmx+fB2XIstYTcnXBtda5gWYta8YqIaBj5RbT5c4FiGtX06iap7RfyPUdOcDrStuz/xXdSjDTvq6mQDy+gIin0yb6rmjturNhO9N+tzhpx51LErtIYqCbJZjToCyFoqvnuXmx6E9n0+N4rQ3TcBR+6faWZ15megwpgOlVNdtsWM6nO1XKEofnBBzoFtbWuXDXlgULvmmhkG/gNy/NMG9zzBDc85Y6HAxS6npUtWMAoIxTQ6VQF5363E+kH6+zCkPRKmuyuCXRLNHAkpVA57bMjXkGwjXUJ8Sfk/icJygubNwsBWDEpOsXLghIlljzn/FroQYXulzkdimSDdQ2FFkScrkVfWbgLOAFtAQDwtEo9hs8HK+Tn72eTGFjd/07DUrJ4RU+4XC7Vv55wHvzGacn+aAJ3xDqBnY8PKx1AvsL9OTOnNsScENB8OFpzydx/9QZItpxSkBCR8iGRH0Ls/ZPD4/UhMknjQcgMOUiIvg6+bEDuASN5x1rRInJ8GgJUvfP0ZVCWLITJUihrrcSprVcEXSHJPz7frFlbMEofJRyMBJG6WUT2a+P96uJKTZDdR/Ge82KdxLMhUIWzGfyzMk3EU7fy+P4Ofwfh46d6ooU+TFFgDaTjFo93PSX8Aze8rB35Flz5vlwt7P0WfZgGi22naWzqNZkSuPGKpKS1NAUEwSgyNZtMu65OoIld5IUzzgFKCWKgB4iBFMtxfy46hneywL/+SkrzlMm25V313Z8Qo8xep6ZXOAbFEDjse/LlVCF/K/cq2fuDjHk8m3H/jAR8UgKBi8Bh+xiaRKvmJxDPwcRdJR6622Ntnwh2X4dUzDElcc3QGXzzJlXpAkAf8lANRZN3C/7gF6jJ/7WerBzxBgQ7ZwJau64WVRAg4+EL779MvNSyt+JZqnOTh7ds/0gUsf4EMvgwqwAcIQrUtVktyVPpR0GxHjH2T0Ccofmwf4J4Sms+luuVrSP93qq2HRDt4lgJEAxeaM8FpeiO1+Fp2RxXqJSywz9Sgnf02MkuewfybghNOQWYmAPA8V2wQF0VPF2y/WE+l2iX1IbOh5QSUMCuIpqmayFMuhFEcU5yIriCZhuiMdn9NB5rQSampao+ILngw1EkyhkDhL4mY7v9S4/pk5gkT5CRXV6CymdP/l0J8aimxjQNSUHTV42RZLNa2W+oAO/dx863y/VF2OjoEl5zQSz7OPbWbafCM6XYQ7GqdR+uxaEBSBzRvIyI09lq2EeMusJMezno1lPpcXHeInIJ78laFpKUCpg50hoNJeyfMw6EsPk1L6Pwh0EE57TUIFlK13Onnd0l8CrjY4tYs/FBnaK1tMgnOAItrXYHGIMKhW8Z3t7aTx/EJfv3Y9le2lVGlzL+joDT4kySh2lcaZ2UZrO4Y1PvC9CkRuUZ1ObCngUo8OHbwhR1FnJUC8C5w0WzLaO0K1jkaQb2LdNPCr4T90yUde6yFtI2Hx2OKnUV95n8BwstWSh8XPmcafNzl9/CzBBI+aLKy8iYedRvp4qdtPcGbZrx58X8IqvqpZS9nMoRy/WF2++ymjggkjJ62UpSh4SpwqUncIgyGLZLpXJQJZA17s58YayWlK4tK4/+1vB+/8DDQqKLhA0s6l59JydI6uVGLHY8wP9JGYo3vYptz0vj93HRTwqOGp9uPdjrlrw3+22qKnYCbcKKJd0gehBE29nP7Vl+a4fxIepxExGTXoFU/W5VuxiZFtUWa0FtdkjeSrZgn6ko2Y2UTSqMnVdrWAFw5FRyV1bRZaFWyN65lcSGW4OAH2KqJn6buSHQpmH7vapaGf0qKdY0HKNCgv9AizowLf8Dwc8vbELckwwth9YGL/9ThepbLYCUNJb4/c0yHZkTdBK8bgcFa/OshMYCtnfgBa+6LMhQMT7N2RbBPjmtXOboTRlPpjSlPpi02bQdBHZKHGgd1u53wXRXFQOTACCC60O38XaiEcf2J4lclP3lwQC3MxxlD/KKKtHUMBRwPY5x6gC71V6H3vsf0JaylYqyX5j2qOqWgTkiveXWwcv/p/BpnQyXWNywI6x4T5GZ3pm8R6mcEtyq1hCSmaGnJy5Y5JqnlMIOk8gG4dypCxaSNO8TW4sEkdYeMpFq3VOGDqRNcY4D3gZzjvZUINjVVXI9j2wSNeieofkSi3NDapyF77uExszAD4d8SWC9nBvBKOcXi4y3ftlDdVpQXLmnewSl3rGZ/VpvnQpgsXo1mIQOTvvEZunm8Fj8QSALIIzAipF7q9dmY6o00o184cLuNM4YedNKQ569AYL1eKiGdtAdYNQAdilVaddUHqZcCItkCEl1/fTaNU+7AIPyQ2kfIZ5n+QIsN5RJ0EPWMD3UxdbbZcyzoDJ+wRTk5qfGy/kEjrgncjL5IPjQJzelcGQRn5BEcfwjUqEuMdgkBBbHcd8CQqkUAR12bXMV/F0x6QBf/YLvRKh5thnPm4FxDbFDAIcAR+MSBLrN9/Q7ZhEuIgo/ml8KMtdSvjZv1T67a697cGADs6KYAD/o42FK/SdamhQIJQZjTydNH99mG5yf5s7dE8ygp/TXAXipe3/jYT2TwSh+JpZKf+XunS1fXR24eitgS+XVSPP8DexXYb/qrPbsFLghHteUk5dIEGgkawluloH7cj5ap9LmKyXqELNzk8MZwYRv8iV9GXbo7EmIJddtvZLGakxd7jE5imcg+F7KrSc06BpIQmIorLIT/nkFHE/H21gUe4bA7x7dBEreUSDjSKAOHpoHhabxjwoAFrBpRLnWDIONyou3JzJyUquGgZ3gbOtpWbxhh6+abDx0TlW3vEV7yZl7SwNDBW1JiMMup8K3b+Arujq+LqJNbx4BVu69QrdvOsyhBck46AYnzSrlKNJg1jjtg6/1dP1rGuCybENr7v6nbJaavSnwfrjT4odUgHt4+d90D+hf/afFcFk9kKYUmflA3zOJ/4N3DVjjUNljLuVOiBMr0RXpf4fnoOAgae7LtgBHDUKKLK5tqdRrdIQSLvP3ecfK6T6bAapGeCondMMYLxtxWAL9zQMZ0Vkc7qhrjwjI4fzLf2/+1fZT/pqcG2ce2vNmnvFYGQLvBMBFDxreSSfccEse1S2A5IatnYKkrSKGZALQWjSFyZJltWdhpnRWE4P+hrP5DxaqC5zXtiGQF7VkWYOiqBSCMRiuA6qdUBbmy5QdsoDC/oPnZlyoZXfg4FuM7hPkflx32GGS69ju1NWlD+yZIdgmmhwkEHBK4q1YcsYxIsss1k+rlAGtV7H+LRdtpzWcFU/JKnQhhp/RFrpC4rragE3tlqYObvwggnY5UP1DZFRXWSlFBP4wu1fE6pmZKGmy06V9+1/Phh9zBZZCbxdRavvstgP2vnfIV1PS9MsTXzhI9vr3/AUM1wfPfvsyCJMTXE/oAeERe8khQMD/ilHZfhVorWH09M4ifaHCPFMWNWdL9QD06KZeAGMqYJVRkENABt/iZ2yXZKGH9i3KW5MYaTbsAScWXxY6Y25ndo4zMv4yavoGasI+OMQpxwREpNx4a2SBOmFZmrHW93REyUpvUqdouQYMj7ui66i5nzAvsVsjNAgBTuQrKFEgOBjH6/ZFz5aYm3jl0Kt/7OrjiHasxDL2IKiahd8vYVL0D0n6UwX0qOg/UWOy72SfaMTkBTh3as84DkG7wRf9AepFgIPRxYpLE+UGZ4C5vVKuej0KvoT2N2p9FYp6CEoIAThXazVS3BetBMh4YzMjf+UEN2LXdn78/ht3+Jf6D3ouztSxxFREdRVwbjrQpLPavbBH9IOqmxqx+uOiAbAau5HH41PX/cvmH/g98EJY9afVVcy994sje1hb/soDMeUa5kz9ZBFdEKpx+ef2xDQGSzsdrWIJomPba28MyGy1aVTkqcQN4CECS5/pS71bPX0bSpbgY9BCPHWX5tl9JAVy7Vn99cxiN51KIM12ciAsfvwDhKw8dFMnB/DUr55jPiVj7XUQEq4fHLeisfEKFWKcK3euI97T66IKOhYTBDhP8hy3dxd300gH3n5IuNkliIXfxPicSk3NkydA0t/pXFw4OpOBXmkZGbP2I5l5TxHRUClCoO/r1ZlodrU2E3VdYMVTeonXlzPdRIjjmrViiqoeK/ijRCfYbBYv6TUpdS6IOFYg4tVMx4bf6BHLYZN9vJy1VKUlbRDrExqIRA66CCpHUbDVWg02LxZtCfGepUVh4dsktjgHh1Hp5zHZg8lrVmtaeO3RmEFrdd/lryG8ejKFMEHYXBx2oSS6fY9QQUTTkuFSWLH42WWUzz4kARtlONifYd7bJVdfb4oiDrdpeKyYLOvPPmbPQXxrVYB7M4ivprrf7VL9BaCC4e1Ea/KrsBSfqWOQGcIIKJtiScq5f9szAW+5EBpuON8ZZGRMPZn/W9qLBoQz1mGS1yRKqNNlLLRsUFEPcKqvT8Cb9ODzh8W+sTgc56v3niji4xRijupmahA5smHi+pMU+9o1YqTHHWI9XdK4s4r0vjN3NkvxBWb/RqP2F6D3CvIZvVZqc8c0Fq16gSzGTRKz30TtCAx6y3mf4ytvt7zOUDWYaaNUgjV1TqGd3DRBE7rJrdLxDgwZxYAgMoRrLWhhJ46Sn16LMcZw0m81FcL8qKn94DyiQFLhYLjYB61SP0EI2LobANLQhzCN9XHz8pWo+kSXvBUfmxa8DY0o0SXD+S2GyGFKk2q5/l/e564/zQZ1mrnymsnwqRvWBKu1hAkfthXT8Hn/sG9aIIQkFRT06Qb+JkVp5wMAoAmjm6zI5Ttb+RP8//9mZAWj/FK5FovumKmQ/1MC+AusvYwTNI3Jcc/Eb2WF/FrQ72lqM4hWKRYJT2mddQu25yfWLstJYRfCIddLujceTOtJn/hEDdasHK6uEgM6E9V0uNJZ79Soz6624z/M4TochN3biVVJLAdMQAcgqM9188SSFVuxP1xMBbo4Ovuot8+VCE8bkG6eHONmvbsK6/O307Xp082ZEpoSPbWp8xxzikYN0DcxBmWmvMFA+vPDbkMqgSKdQ5XXVEk37VWfpZ3IMnfFQbQIcPXRMrF46JANvxC5lCL0Jx0Yjh2UEL0l5elkyDHbXfNgI4rhELDHyuThLIUQEsrBGEFHCzQeaEo7ZjxAfd8PoOfMkXEM23cckiC/jyd967yUP0S8a6yf40naGVFYt7RXTlJ7utbrdfARLh7DDOTL7lvF0CxEQOh0DxG2LcWeiA+/wpRC6GGC632ZKF2RuwzhblJ5cTZamSw3uGzXwsFa7sSbMfRTzIBe+epx6Dxkud1EYkDfQ4kahi6mFpz9exSSu00X9VX24P4Atpw7531xXzzOxbokwh7ON+SlHUtXl6ihJ56xmirX0J17/vgIhC4bNmudC26+8FH6kb9juWbSYp9Joownb7DwByCJEH6mJBGbTSVTnsxL3U7D9LIapF9cAmfuNKjxXNqf7Y4cBy2KgD+C5cLQ2xoz9oTrWVWEfm/OfjCy2KpmprMQhQ+c+plvE6nJsjgTy1fv8R7yjl77vIRoM2K2govx5sQqJ+ZesB/nDGGuHzHiP5/ooI5oKjJQ8H4L/NTeaJ51B2i8L8fVpLDyemIp0lGW+Le4ygSMvpap76k9VPUagWbzxrScPIqZSf5thd9dvYSS/xykXhF+ykiKW2AcP8bdGK0MxuailNQ3AiOjWTE0v2nNrkLgvr2Gp2TWzL/nfNmrAABraFVev5Sb66Gqwf2zjPnEWWK82emnDCa1NbY1HKwaiQuJWSnS2Ddz3OWsGeITUXFxpEu0RJ8lFAdTtaVRkyRyoOqhsVWDQLdGXZTUbTE0s1LKUuf3XK6zLbYQEP+DXAyvCGTlI0iUxYaDcl89SPw6I4aPTmNbqiIDtP3fo3maU3uKhbE8jswlcxOO7fsEADYiEmxSI2lnz1/ACj5yPIox1ElwtYh1DAT46iNiFWT+2EpkhJiWakCIZVTy5FCh3MT9LAXJyo8qMQxWMlvBEpSK4YDEfulvBmt4SAxNCypE9lkCu6kp/MMj7QRFTDAsG55+fcFs6bko5HPetkZ72kjHkenE4ziZ9UHnib5t0K14CRObn9vYG4KSN3ATChk9R6uQGcE5vFhXQ62ziX41kLMPkHrCBnKWYzcMZEqQDtFjCBV4qZIq/1rG4cx2sH48FR3GLNMPKFW+Z2epd9qt32XrWhlXq1PZrQBVxBoQvDVPh0gAq8NQVN3i1fV1d5czzVHkXgsBEAkTa88cBMkqM4TYqYnfAMlD/GB09BldsbQlrw7L+8P8loetvPeSu9hiL6CbRqxxRW9Dwrezv6qDOomIr2dNRepOUW6ubG6XuZIh2umB+iXzrm4tuSphW2t3dqdClypK4XF9b/4BLHHHYmpDHHdNBrshJ40iSroBGqpUN+hSszU0VgiLIIZWxAXad14zXjCKSAmybkvVSI690M5Nhs9ce4SEMyS//QyAhTVqXztFEjwfyfRFdwEZLmpY6Wiw5numoYXrWTqBe9got/A2ZhvuuMWsK3dYgDVcg/GARc1863geyZ/r8+9fpwIVI3yw8ZZGffa2unCPRgQpqb79d8Xknnlm4ZuiohYAO38dA6P2mXr1NzvBoRkAzWgBmg6eBs5JCYaLBk/yHtWGYAW0XO+d2rdzTMEJtb/tLW5lXpfu0PFckDK5EigsEvxz/OyldkZwqPlAe8HCUuI0pL2Mtk2cZWW7PDA1M4NZPV7canDo+ZdwTMD0HgThK156EFRyWpjS5bto12KSp8Hr+EcVaWkKLwdVxWg/3oYxk/9xqaLwR0JkVHE5kXWjGav2SgW9wlErOe4DZbl1vi1lK2FYVxPXf8pMhdgi4TVAPcqq6DXbi61B7E/3gO7ryRAh/p8OdvgB39rViOYzcobILg99zt81E27IbgLThc1YzvZCOVJT08BxA7BLjcFERYoTyPt3aQh98UyK+oPecOItnbDzaq4MHd7PxCVYc8u3W5lwW0/Frg9bvYdZcbJ+YTYauf4xUb90D1KBAOX27MpDUD2b4M7CuP7wmI3zofj9xvtBleNLaL3Yn9aD5tWjFrhFFUc4lcRGdg6ueeNlTFnzbr+GrJX/atGJRJ7k4PUameqg7J5Qiy+DDaUeBReYRlgcMvODgj9YncRuM/HfYEgXfmHJLcsNZjO5F9Q7D3CcGshy/WRkiUnkOltynuss+d0Y2owtUXcGTL96OMMAd2VH1D5Eji3IAw6mkP7zfVT+E3uIOnE7qkuDHqw4mYqRlFmWUd2hZXNtG13dcQj3V6sX7/RrP7XCezadT3vY6PafCj75s13FxrFLETefqCho3WbsR12zlFEwuUAgf20YR8MSwtbQB3OYff81Gq3zAjgM8JsUpj0OIZeg6sDrvx6yMOLchR6s1DwbRHK3sr4gckIymn8e1FI4JPMPtwdFcodbI8PyPeccZ5svcro2VzeyVWGoICCo1hH4e8bBfrmztDBYqxCdcesO60/QX6QmvbFNoLk/sDpuX46FULEhMUTBfsc9vsWk7JgWVfLYzHlp3uqLth2+PBxXOXEA+a7Zad+GVhf35sEHW5hMdx4kxdjl89I+P8QUOtLl4hOmR27+sROjmYr25Z60U93POqMbIN5nFKO+8yJImrrpMUOZVhtr8Mywj9Sys6kHCeUaZlg0ayUHHz0/i4MaHqhKuUZwzAAq4IIJv2+l9htNYiU/HjEFEPsOVBr2mQg6XO+bkU/Y3REBFynJR1WofQoXuUtmB+PLz1J5KZBEs4pUW4PFhB3r5go8dFkrWthKY+Nf7AvnkGdUQsMnSkES2KbBKQ9L3+laHIc8aynOSink2HY64zpc3tp76SfSSRmuH7ffXKVse13nnkGiyC1W0Qh73hJvFyjHxvyiGIRAL7sZL9BsFJ9xWVCSgwb/q/3A/Vi4NDXWBmfhKnqgoZtcMBwOPtbZxabMOvHlN+oDIGBTOLdZwx3ykDrQe6BX3QCXU55Qg/4C1m4gKbQevVzA3gZQiMxDfJ77wM70JSQEWS8sgbFnrYbRZBhAEKKTZWGQ+2i2tNvTER9GZCmzcc/JUC/RN1Fmlydc6vTpJCITnfL/4izjpjjATgI0TJnFK0bLUUHfkOm6FArOH/tOhmRpcKgX3X9Kmcd9B5ww2r5Vm2JhxaATJc5E6GeO+tKZjT9RO+8t8lVP1GjiW4ZgKjknxUAC0q+YwWAFGpqVOdwT+44pC588QgclHngE0S462R8OHA1oqrMVcNAmuqN5iMDMMRekO3fuajVmQk2V2cw5xzHMCPTXnHY7ShO7IApfW90wAAnQ3zWJRzZzLy8pDpBe6B8KLaS/A1TRYEvGZhkom3uM6+HqP+SYGuIiVcxNVMQAAWFxLQtf/Le4+/e1z3fCu/1NtFk+ZB5FukrehRMzsA8rRMearBia91VQq4NgTzYklJQuhGErvbJ506rtb/fDSeKqjmeuYBEUC4QWBLiagJSYJXiLRB8dRhO29xlN0TrfEktpnpViBDQo8ii48JK6z4UcvaBXqC6Wk5dbgpAuqdPMSX1/cs4emZOEf6TSx21k8wS6IHdsEnEo19IpVUfRnyw7pAxtiqLFjAtrD37BVYhOzU8GrSTLb5BleGR6zNg+dfF1VGJddN0GiAscc2adfhdvqE4X4PXUcksHWYmnhLFmrXUOTWZbhnLo474eG/5bqckpKxRViZu6gXr4pagMau5Qx+WJYfQSj0AfseUw9DzWJRB0swr1lTsHaiNxjmMZwRjJIOM3tA6yJvzD9bX2Gag5eNoEcSmpd+VfxUdWqWjyAy7DzBC4bF3TB/WAPZX0Ovdi5TvYafQwtFj5JQvKmCLmlpPFx+UcWo8yY99aklwd/5oMmBGrp4RDtcHWRhIPfDeoCdp9qsM+pP6dsEXF64SVGzvwPLfLYQMb7ldbhzGTaRyStGJbbEdxTuP/+mhB995q7fHKknme25HOMW9+rwWlGwcZ1y9/+CMVQR+ShdinRs/vrEPTxoZ4ccxeP4AY0A2vr8TfnEdklKN+LVjvB5I9M/zg5YFQCxJ6OHDk0zeS3kALM1JC90gR09ACSbBNZ1puAW1Uof8ND3wjTCbTHB4v1T3GhRBMgaJyEOZKsAbXCwTgLfwVlvg/eZBttdW6bpDqs4yDV/vfzTq9EdS8PtKvg9W6i1SN9GVWkKct/c3SJdvC8m9lcVuR8DdchljvqvbD6V2b6karhSALyYwlolb0Wbm4elkRJg2EJ3Qseyxffzm2x2yZSlk4paQ3HQuR1KdUy6WrSlH2OKmoNPTXjc4CeXSmk++kbDlSDSiewsxByLq5ftM4WYJZW1vxrSw2FFo5/oVU2VOicwPkc3duDD8JVclI8UYejCq/lIgIQxKXoL1RUMfWpMuHthJleGbBV8lJOHUW9IcAYGk1M+ySUJ7jFhxEEuARVszz+rd63LCg+874hGhdItrPo9CI6vOfd0GSxdGmkaA5gvyNd2nqLl9fBgqSLCsJNoCZ/4zp5yiW32IKBCstaq+rseJ1ODHoQRNW6tUbSL4Z6lzQNsU5PLF19nvpZHiwadfgvjSojOtC3ib+PXHcbAtC+wjHf74uicIolYrhySrxB/3GTrQ3k5TWI5SfDHZimRogbRD7GQVSnRKiP2dt0rJI4L+pCBlqSciqrq0sRzbaX7NavniOWIjKWquVL5n330ejPyvBYzrVYtVfzKd8RIy+E0b5ybtp7SxoXSueA9mjMiTC3GVFJpOPTDbUeclsA+y01IoTpgYy3oN0I76kR9YeCxCmntk78t4/pWk3C7l+9mvgY0z/dS7IcwfjJeoO5bk5tF96hg9oMXkEaJ18Di3K/HxOaTsl2Allpl1A3y3MvR8mOvKxxPyEIP/3m9gIq/h24TEKHG6CmL0CliSfWDukEawHD3k0LoAqNst1s6ebMYMut3k/DjWtf4Ps/BUKV/KAczm754U+E2rAsRSBDqof20Vh+E3cH85n/8NxUsCSdpr7Nd+ItUtMNw0eoGw3QoWrWqk6UMyuWq9fUUvsmsvS1pU9RnfXSHtnxn9v+ge0jaMK/MYyhzvL3KF+v2AUQt3you7GSj4zWG7oXtUoJShFKWCZjcuT66lwfBriC/rvQMaLD2dVZ0D+5GfhlE345w5GfUnRJsR2UWo843cwKiWqYqpko6ejJ+7b8QH566gkA2KZ72F6UJDlSQO08c6tja3VvIhPg0FD1hrfMRvtRxPRyrEAwmGkQQHtEZOf+BX92d4Qq+GhED+MsekUzppWL5Gvxlhnzz8XKSQD1ZwGbE1L/h4EO5iXx6ZEcW7NFP3ewyF2vM533Eyya1V3nXVrwCOE3KMAh1hDA1dEcLYtN4Y7+t5IlMkBi+0SrY/cL8LFRR6GS6T/ZuVSp3DPGT82VReVwsOBiv3rlF/hF6ws9NgHD9E0GrlSR9kpk5Cq1wE7nhKV8Zq6eYSSE51RnBrcdwxkrJ7gvrC7VYZ2kq/fRidM3yj3YAcEocQW6U5Fo9GbsGjRHSWyYaJUbnOjcMzAM4Y/zWLHTDvOMzURInULiLA9wm9eFPAmopDaJpOjD2jbgLS7XISFKSyaPjPQCnR1Uk3HHv7aF4V7nqvPfqIlvlckB1BNTm0pez3Fh9vYWLHm7ipBajRGMfO+fls/TJtwFoM/jzPemY26Xlhx+KpLFWSSBrvAAkjx5UKF4VAAI9//Y9gf13FGWr3Sc/Dkid6p4RmBLdWHZjiTDAPykf4uRmi+tOpxSgM93w4j0hEXwPmY+g4bdmFRS9vDfuY173pg3sbxHulT3cet3A22UQZwQC3/OSCDJF3RoOzVoiwoIYhUi9LmeU/2p40YbYRH+ki1D9ow/1ZF2Wnbq3oDdrkP7QuKCIVz7opNEKgHpUAzafdzLZIBX0IdLOAcuACzkq+P5e+2ioCAumxF/xeBnqb+mJO6qFnZxVTCKsezraO3i3LgBcX1+Z2GIxHnk1y9OC2vfdL0tdnh2gfEqbdWnDReEEKm0Ju7kfSCMnqAItl0tM1PGQKM2nRVH0N+atWNg6rrI/fl8uGeauLTzlnj/SGJ6IJxJRH73AMP3ThEH+SSPORYVFo2njhf9XsRSApFrUCRuSb3Fq/uc7DvHjd5CqYR7+xf4bm7X7IllGXCiI82s6czG3dyCuU4uMY0THr80cBbRLwZ/CiSKJPl78aRcnL/WO/EeCvTfa7THbJMaeV6UDWzPDl3T9smAiYc86P1w6NM47rTJkGWYEHKKKO8V4cRp5lNlFYPbUuPpLHnoPH5WHvvZ/U23Wrqe95apKfvzvTBHeXFuevLfEXJfXdGq42zemVu5bE8H4JVy9BiYquMhtjuOFB83adMo+524I2K4JP1FtQDWngFJFmGMlEnn26QM4lIAsB5rY42g3OuTRqtFA5drCxWJUgl6Ejznen4FM+7DCerEDiRGL1U8Z/ZcLE/uqev1OHagkHEOSPKUJO5RkK6f6H2vuh4pThcxLrsDuZHAHRPIrrlhQ8SqRLCSte2TNY5+aBtQe07qt+6g1LCkPgeULBo5FGZCzIVNa3lBAQESpWnb5qE4UY8Hqm+jX12VDg03/aqtOl4U6Stdci5hAfFuUAN3mzr66ui53jDkP4EOBIlSjeAVWfjjaFMAGWtIr/2sV0kvWx+jK2wF5qm1wmH9sj1UUiy0DbliCjWfvvIniOqG6swBJucl0dcTU/U9EY/1/ztSOU1fAEK0zH1KeTC1ZKG3+U3c56BpOEhXzy1B3eL6cj9OKOVZZBggqIiDvEINraEO1clXkINPQPv8JECBXrrG4yUFNDjdrZFmInnHK5uRJ+4GKa/HmFTDhX261lGL1wY28q1WslcNl7zS9HoFQl/kzUDW7iWfshQgZRbLPFoYvDSKZ+ZrK7ia+OD3w4S7YpMu9f6yCdXa6RwJA+v1ge4YOVQNgWbmQVKExFdFJ/natCXS3XZ7OQdoCpuGHJVyXAMIO3JiefeTS7E6hkCFnj3xrUgE1BINiu0P595f+RUEFozqrWzwJAA3DEMkplAlxjXNqTnPGRxqd2zyQKUz6BRVDuHQq7U20nLyV4UYVbirzQtqdO8zRRj8orteo/+1BqF+ZjZpEJ/hUE4Zj6VdcvioYPTmIWWdkgQpCLMdYxts2+1GFdiT38si/aHfMwTdr1UT8qr2Wzdf4WqVDG3wZY4MxgQ4b8VT3uFoM70s2JoUz5H0IApAa/v8HfBm/6jdpYZ+WmQuPIkrFZ8wzIBBDrFlEYpJs3JtEFv6IRDyrUKJab4Y4iSj0lvFton+lp2J4LRmnTVi1R6fKC665lEJS6NgSI9213tKPqJqrHXBSX1AtOP0KMYNQYSjZUYOSGFKlRxQGjsNBWzRdGZKLo+mlf9UCpODYSRGtyqovwVeMzoy8ygUFLp5jU7jlVMq/mN9+8uXHw6CSL07ClUSXH1/cpWTrVl2f1MYSIzehsQ7kvMqyJcQSSg1rYIiaR20z5fXbgxEZmTA2afQQj5tNzLgB+/WF1np/YBtiEq8muihADhX9dIS3sSX/ZpSM0/kqfKwsOjx9nrxREGzha88RPzrzwyyBq12Odl9+uTKxYwlNNMftJAdVpsWWkAl26rpGuauBONnj3E8XDiS5mso5fMaOY4CCTgkm4LdisCDfqtRdnV+yEfY44p29e/Xj6mOHMbC79zlB4/ZXfzQrMZD1aMPt7RTG8+zRFp3lQtFMIEdsdm8cTYkfZjzC76nISsX+D4hqhlWwDVkXAfleFU5PxvAYphmIn1flk5W6tCjDhFejtb4ru7K1A05jGeME0bB3EIVavbOGSLWpgPePaimmgVKhYceUoUlBQpIhkPuLELlmOKLGZcahV0eoOAqxlUVQ8q+qa8RWFqMtO+rrVMeDlV57xdE6uFwUqKdsQwjBNkrlQNf7WMw95Kz4T1Q8mHEeTb2kgFi1riXfHU13uQCKcdk2OnPnX/38Nq/YfdnQUkCHshCq5JEtBs11kNZSYQmuPXowLemA0gyXBxeDVhTxP9gwWu3uWagJSfWxxL0acMGubAsddbyVOnObZFVQIZROYound5auejTVehtn6hHBNBv1J+EmVbBAzgWQXDDzIts+ZpcwH5W7nemiGU4PKH/LY1dtUKIcnDmyz2Gt1n89u0JxjvXl+IK5t/cjo0LZ0TMUmf9xSegCdCCekUJ8vIzKzbXEu0tjOCRT5c25SDWxQ7WG2dOwvOlEHxFL9BtiLcIN6izPhPU3kuG+v2R7DE7FMvLcZqgk+CiiNU6gDDredIQuJCASQl1Iy1E4LabkSW/jSmXCLGR/VIf5HhKynHHYqrUI0BBWUPXMZhAiOlXfVlpAEJWQOW+UGM9FQFVCyJe7SSuQRl5CBDW86MJYhM2Ta9m0e72bNQ01h4kXoKZshRZuwgKOqMTfrAAHWguukrqxrZtJR1h1WsYh8+L2V6ux27pwYwmNFvRBsqTI6iM1KXCRRYKDaZqNrmy8glZmWS46UQ7C3eEGRaWqXc1y3FsO01hQlNzF5KJWkuhCJkrXi/XZsll/O4nMt+wa2OZJ3Z5I4ioybqIoBIY1SIZDyEJoA28LGgxRH/uPBd0TFQB0QiPjlxueFWIvPLV67mqkj/cga2ABYcnF2VYuJivIKlJU0pkBRmrb9WyHpWlRCcp6xoottj6f74I6IOfZRH17uKKLgJwlygZOBe+nPqJnGUKXsAeEpu1fB45qdGWTt7IMkp1HIBXYsxSMRNQbNyPwMCN4msvvHw50skwGnrzThmhy4B4g/L0HBE0UTb0Lt/hZ9LL/WXTsCi4HVEOunrGT5eOJHqDg4YxaSNI4R8mDVnMNr6D48XX/b5hl330Kb91izO7x2xTIkvIL8z6GM9hgOMxP2OytKNDOWQELCWj4D3yCBxax1GcYEM4GR43YLYmY5fQHJ734Idl2my5+P/fUM89N6aTnq434veVSuUQm2P3jgT4fCsHqDKKENxutqORal2BK1q3r4h7MhudcFL6gSDgyL8/IgAfqlZ5as+SYeIVQA79iu8vG9atfSy10+BeGNEfJskWWjjyYjgGCiqJqKxYNTj3XCmJ5rzJVBaEZu5RlbPhN3oiu835cSiZs3ng8E78uz7Xj6qmsZ49c/AO73BKyv7R3Z5YEwDDBrEOyDfUhrys4h/CZcr+WSfbjMnKwrBFz1FgKnxJDKK8AuyR9sEUBl1aKI1ocjMylYNamiAnoTaB2MNaU/XxBBmuoHDOdglmAS6ul4/UYMUk0t9fZDdcKldlRUjtDZ/aJf/aY5QKVFDFJF5wKug0WvsFZFfpE2eZKC/ZTwhSS7/rL8Q7GAaYTIM6u8PBw/H/qhxSXyLHwtcTQFsTT1cn6XL7uyYVaGx8tOLj+1I9quwHQ4L+GhRUQ8Gxw1USKsigP3tQTgtRq624dmRjaysQO2Yonr4DKiqZ9b+iNpKeyH+oCYGK8fHb94E4vOYrlz5U4fwWEAMEt3QB0TX5poh334dt6hZgnNByEdF8f1yJ821xT4rTuEAjKwPTFtZ0zZtQCa5tbFWwu7VqDU6AnRI/aet+BkbFZHz0JbVMbvP+VPOWnjDV81cEGRAkE9JcWD4hOOr0uAYGZym+YMqGnc8+USOqwf702LJ+ZVZOz6U53YvgTfdPsWw4bAMGPiuXn6iFqcyLBDc22/qdt9dL9V6SK0zjyTebkxH9N1hGH9CDW9AWi1Tn8DtF6SugNQWZVtG/z1kWkQlm4kUPuJkTeQ9+y0LbiY4u6IcH/Ehfg7zGUv03fa58PSY4VjokZGFteI6KPu5V1Pu/HYh5zpfMgOeIuVUTmFF4Hoss6757Od/Ud8Nf2Dd++gzQPEJ19sTX1RwMbT4ZbRR/rAIHhJTIlMSVW+4HnGxLLorPHdr7J7A0xSBb9p0kS6oge22aMbB2Wlz3RRr9uTGGHXMQ5rm5Kf2prLszCaPPUgepSYtsMdeWl2zvyzSshEPX837APEDNupLDBIGuBgro8CiCjIuMLnrn5WM5rOD+vOELZEdvQdfevpHp7BnrXQ+mlGmWyS27GnjdWrgNOAlmCLF+6WYtmObciiBuxRQAciBsAp7JaAfQMZKyJ6gViso7U2c8qqCHyhkzk9Hd2y5vmnBahXwDiEGpMUQcnZSAF+o/yckSgylc8g0pWTGjpibN3gdH720tObxL9zsMMBSpvxLcB2A6+XUVBD/YABUYM1hbELeZ0C8TPSPqCCYfIedyXsl8zWE8gRY8cjoRWfe7Ea4NtQjWcdI1Kh2CO7RQTjoVI9QClyhGTjQ2i6+m7zs+oVdl2a05ICzphroSluibs0mWPSUJYIkyniUPhZWK9pFQRu/+h3Wrwf00/96Js2sQZbEF1Xsc0fPThaQtwD2fefk73Tnm4tQ3tnfGWTIe2tyZ9zk0zJQn0ZZtqHUNRyp7qbnXAYhdzHVJxuUtQpVaDczkKTnYsjcHasCC0rsenARl7IvMoEv6fQz8c1PHuXF1+/GH3fi0OdL5a5VdAFvKKSjs/6DiphIbx8XuBVhxd0HTF0C+n7z4VVtVEPLpb2a6pamEIl3AamzGQ1IH5X8At35fHDOJSzwxat/F5r24qRGCF+fxcMSFCK42LAvLyNSufo3NBblpvADViCbpLiRWvMz8UbJfi+a5RYnZ2l33ZYThUylLDiq0PZz+MG1iJbtfyDUHQj88pNK5MAeVv99tB5xvQdn19IaL0Sodnvt5mcECf/mNLCM693O4+sGDmFcpAtWCQPXWph7Y8BUPrHrpXjTO9m+D1xyic95aFs77yAFJHc+Wh8TKzbQ42I8qmw9tw7Nuf/+1FxVKKRtxm3h8Pk5zcpZhO3ceXMNeisn+uWmDOiBVe7nALipXnkiZZumYxXZNEnyS4FLMNCVMntnKeGuRtbCnXdwiyRqs6IH4PDu96oliRFAn1CDF9kNt/4WF6MUNyOmTml0RgNXuvdeUVfywtAAPQHEBob+p6a1WrpEga0O+uxIrKpG7V+P2yISao6MBtPvh2689OFQpm9WVbDi6vBUoNetoBYl9gmhcvIh/je9GhkG+e8SIguowBG+5ppGSuoFpp0o5Lg1aBp8u0y+29oZ/RSVcpjm0BI5WFZgvyi4FygRFkRNjkSg3p9S1PGfgk0/uGpZmzhjNxcpd21ve6+SD9K6e7LhvbFBqeWhEEdoafLw9qTRXj7VIZLsGWs+IObk3mDxxG5aLqj1zOnbtsNtDNMm+tQ3ZWAn1b2G6b76zxO5mm0siYNWU8kC1xLIOMwj7PsFtHVyu9j2fWKEV/GmuWkMnnsX+awKsjo8BSPpWp60Fj83MN7PDa2OwwWJqjs8WE8I5Ft0FLE2yJe7Hf3Yh8TUSxlt+89dV4C5O5ZhjhPTAEXV3GwRQbUmvpWr4V/wYDgzxbL3LJrxJnf99Yrev+0DPCafhfRHM+IRDy6pkjflwAGDPbepRW0gIGPY6aHjDQDSambMF4FXgLlYWAEkLLv7Fo1bGYSmpun9kj7xRIvS6a2V8sD5ggjya3T+0AWrqRzZbIzoNTe+82Aucef6c4uqTl/8R7LoI+4oqiQ3aUIzHXT1XGvrcj/oFrt/Uh2qDJFaJigCWuU09MeCkALWDpnih/VYPlKEFZS0yhMZYPrImrxZLu+/ESDe7DVGSSIjKXBZ9EVt0fcuB9PL3U3HsdFDzRIge8TXxCAF2W1oW4eeVMRBF61PRNwcM+VKIiYNdh2JQWDFyER/d/AlabmoxGH/tTON9sIMUIzTyuCFrPIG+g6nfropRC4ZWMvmWFPYVoabIo0ERt6son6wZr+8ktL8oTIJIZHELNa1cPVCpvO4u5rPakukhXF9IkD1Qvxp/mwlGo3kOTp3yBgyCd93sWEVhjQahGsQTbhiun5MYVnzrXApZtBoCiTX3JsgDXFk8uZRvxU5TXICSSv8R3+sk4fdhS3orTt+7bMHDAGAbdrry8LOkbUcNE5Wlci+kacnVDEfA2WNJB79f6OWjBK7YrwFLnV2jn4pZtWPSzdbJ+wWAXayOT3r4P4jKK8SmZtUQAC0qSnGwCGsWC5U9MsgAbDImkRz36OmYhGkb8LT42LojTHvOtbAGJ7Cnj921YDCITIdVwDZ6nLSNyBDdh6019uAlhHm+85ucSEwiw4zQ07Lvs4kI+Tesm4zcqFBwI4J4CrTVZYblpumYmRiUl4KipmAa/0tBp4uIOcL0NRapZqQpVIjLqmL0RFDFB+RcmOkZdl5QASQMRcXgkM7NFEAbUskmw4yvJ34QnLY5sjbUIjWXpgPGHwRt49wodeJ44Uj8ERhoEbt8+AYiGb16J0+GhktNhmESRowJcrtfmHzSSb5s+QGa4pS7QppgW4Y4U8s+IlQSmuFXC38/E2h7FfTEPyssOQnSz44vq3ZbTARlbMDxiQ3pLkvBKFgzJJKZ7BigkI02kp4Dl2eGvltS/XpPzRuP8AOy1AZn3/L3gB9OVl42jW1PIhmUOh9woHCTamzeIv7Ll6SWn1zzaIeXigrWDT5vFwV1XGW5KgbciP1/T5d7Cym7E2opzGGhyksPKQUga9dcB0Ws4pJvmzL8yzqZgGZZTWL+++rVZlD2Pfv5z462zSihTdV++yPDCTp1IhaH+8jhWAxXHtHO0o2rjg0o2NLAe9DUnwpw02V1bx5BHAxhd0ONd+nZ2L64efUCwS5ESVimaaoynVzBjxxRCrjk1P0tR+RgTEZlVr8JR0lbHGuQwtz8GCBFk5CPDWtNF98OTYIvS1BKAqUr/Md4ll7ARl3m/NquFk6ILXRYf38cbMFlmOVymeZVB7U+Xi/v/CGOdBGUvNaVSZjnvQ8FcgqtT7oHyvmrlQrZchzikaCckJEUNBShoIvyagtT8ZGwJ+/al1VX16gojnmGjnpxWxyZurtqMA+QzU1ClcOy5diqENsKBs4rJ58tx+cY3T8sBm6ryau6KxqAQ6X5IFVzz3CXEiEFVsypv0aDC7yTusQlRdAlZUFfAQuFV4GKyEkP/uaDNJfHHfHCUcsxJnF3te0vjRi4Fq7uSD3fpoNBNhL5/xu5HJNFkUXOLk4zILvsO30XXM4rNHQ/rFu5YAUuLb+OPI5qj3QD/OECihNtfCJyBNGXTX04RazYsdW7TvKPdEuXg+UpHgb0QVLkVmIS8I5SsHmgsPNDhjlKlp6ZGGfRI8sx+e5YWRGQ4tOyvG/EGZKktMzGPnDGCWgQSFM53UvOsaYYozEOiglu9VxaZdGo42FQVCmg0M80+bMBTBS1B83IVIib/6sIr6DybGIaSpCqpY5Vua5rKnHmtQM4iE7eFlBy8hz0qIYblQ99xM6RZp8+Yr2zDHrmzXPqI1HfcpQlkaCfmHNjCW8WhAPnM+yDOHNQXJ1896+KQBhkdcvfbfcsJACbQ7lGLoZmsj1EutcXcVgVc6ONooWggxxDNzMeRp0LoRZ09B8ylCiCjtYYl61S2cPLHRMToVkBEcGlo+lweTvvM6wIy1m0Q48o73f2RWQNziZYxl4ydzb709Uo+GEcGiBzqPudutQWBhH3yk2dBjasrb9ogVgQvIixmHULXqhcq4jxkiyU23Vo5ShES/ZfpKtF4r2/FkmdwJAjgESgBxlFy7KSjKeejvDXT7ecTuMniQisUOoGVIcTrgfe+JzURq4+CB+irObwRKdu8CL7RREO80/iGGRdTEb4wTQckWT9nABmaS14Mrn6mMkPFfF1QtaTOtwsdFVH+PSg/PzBRDCQ96oQwQKUek3/xrpMaRv0ad/fzNOxV6uwhQFrfV3BdF5k2UgNyp8/rRmiidZExeSnYehAGU88rp2HcBGT+bLatmayuFTbryEiIXd5GUa+xfAQLjdK4Qimrw0fDH+CCPEp3GBKLi7743ICYv8OrngQiIRQ+aWnr3Oo7QQRsixS8P3X70MNfq3De9E5zWv3b0R54L+HKzYx6VtRGw4+z35nxSLm2/Az7h4qm7JwMuS1T2YL1v/ZrifPjFiDxUqjo9TzLyJ40GAPN/+souQHaYAep9sPelb4NdO8gKNw3Xeg4eYCLzL4RuZq8roET5OKIagOOPwYAZujJuO/kNnt4/r0Hbxqci7TXr3erOdiqz+bJXCXa7OPDfSY8+DM5o2+uR4ASIdsb9SwUjrNLWqSomGo8tGo+AFtujDzseEYvpSHx2Wy25rJotbcb24J8UvhPnrIoKp9Viupcp1TDQg7Ys8QevRK7+1GgwsQAtwkufx5T3new9Q9xug+PxRlDuEPeRj+MmwCbXj0vOWcspkmySAjI5jbQOcGQ/E2jeOo96qqOGJLuCbLpOGrTLafcui3PVqGUOgAyTjf4JslnwsnWh15ZHJAQGTVwGouoEXxneVc4RMBQwAYPJRDlH6VCtys4DiuKjfoNv6u83rwx8JhR+52Q6f5+lBXtZeX/ySIrzUf/Rtzx+tTFmsEXehk5aeLBLH9Xwb97iHxC+V0/D7awV7yGjXJwBjIEB7sk5nMchnyMM0K1tf9Q67vB5bEhxXeKAeUHfjndYdglQ4OPZX1JIqtf1Tw4w4dwz4kV+DnkG9qKDSTGtbcZnMfo+UNQDujWAL2+7mG4T7+bDZ3U83RKjai7hzjkrLIhxhb5Z5DUWv1ngvH84XNlos4qBTpPA8H/ra5iX3veG5pqv8JGLN00kPvzjAqWFP3hw4iMW9IK/Hs0RfJuIcZUgl2kGg61TixIcxj/QgRgFg2SnnSj7dmPczvbDWMHfAYMFuUoB1giW+7V9PG8rK6QdEQIIW4k62tqX2XpmOwpTzZWGv8UPN4qQbktmHnCvijkqLo4UJEPR39G1DfViA3gkiW2lTJ5DEB61722BZfZFS/Q5noeJ2G8advuzU8vs2aFpCdF8T+MjVhB3LBUl4U5z+8QwxmCdJZgruYIMM5UcwdVmByRMTMCVTxEApwSc7NEu+WLSAAcHm0rGUfpO2Pmkrx7ox9ciQcpQlHNLnLEQQXcFFx7fPjVt+3zHb78qI0nvDfubul67ffp3EYsGGgfMRj5pIkSrOoUbdwuxghXSaWpfAUKphDLsWJ9G2JhtKxcyyIb4tIIm8pNQHBRymbXvZgV9HeeYnpJzYcrtRc+vJhOzqgKUi3yQ6cfmnjqbKa2iJ/K0fHqcExkntHnpKxVy93JtiT8zbXWDKmvVk957pOgR5BsUGxgz6rGE0t9HdVweHr1t/FqnvCEnQsX1464RjcK5X7roGuAUdFLdxsUHp2/7v1bHJP8fokqdKn6r+XW6z4u0ScmJNZl1j2R45D5qfrj1jD94UiiVMDbKrSf9roNL8vRitf7b5O24ONXP1Ma/Ecx4xDIF3dz3qbOq36mkzzkcx23Ms5pu31JYG0tP2kUXkCYXA0tY/U4bsH7W6KJwkYsgdyfCaXoZOKZt3uBCRzitL/9ki+dNmOUDe9qysJKaSZzuly3P/ylZbQF0xnBHOpwfjkcp1oDKuSLJIfilfGBSFLPpb9dxQ1Sk2heCeJEPAYbN43JLvMnQ87+l0IcEpRUghjaFI/MexIl7toIiBvJ+eeB8KDcEtoGCTOGu/TlLXAiyyMWT7V6LSrBEVZ747wXW/TYJeNgebc4ME8dx5OiIdJ0Eq5MyyzqmSD1HQsNQadCwJ52xQTCOYInOciYrwhu3C9XHaIKCoV7L+sk6Hg0Lp7RUFNj6pp9Jj6rKoRQ/Zbc7tEypomItI/RqQjQ6z+8MR7uBelZZAjsnzMWhzWkZGw3YW2BJZGlmuWYuJmcyHFLIYAyQl9frko9OQBvwZaXPZj4SjggME5HVzFEh3MCfTplCGKoF11/nBi4EcEBpy//aPaGgb++RhaQQuOgBTNcAnLKVlJKHxI/Dn52bO2PZ6wz5Sue0yUHAnmMHDeEHJq4+T/7BiE9zsH5PXR6mKI+IFa+R9nB8abweEaPSyN7vRISBWdf4wXPF1rkXLDFe3uSFSNGRkowA5Rm9lpgjbJLfQ+BHdwj6EV0hY3y1uEqw7Ou9tj6rZsxN+7FKbosoaOmZ9vfBPwTLS4RODEIfarshZfDMFE1IKmm6Qr3E5MCmP3e5p5dPwRba3w1/TgRobCDq0u5yWquaoXYhKL05xE/f9K/aVCjPUvy87CRTCGQCeDDzvxvbUHYmQnemK8nM8X1N8LLZBigls6iHls5zxvVzckil+QNjnNlsMs3BKe4ZKksFs6kOjWdlVBRWCFLGztwf++2dzU4IPv33RartsiJDUXaJ2G22SQo4UwHKQnPRPrlkzhqacyGLOjUWvXczf5QE3gCnWdEIlP5w/0SIFSmET3/glXe/9ku5wyBLaSlFJtpjL0TZiKuZPOF1Iy7BPcSICJa+mDjXtDLHUQfCkBsnK02qCYbh03muiPj1eFYuHlDqh/dtWhcFszwSZWAjJ1OZml/miTuZfg48stooPfU5mIOaTXz2phUtesAKm1RniHiK2gQ040OcgmaaKnvVa5Xcy/var0cYo6S2eckRviooEpTbik/2qJzBfAil9U3lZcoLf5VNIaOy0oGSeGJb90DSXqoASvpbS5aToY0OEkZtxByiamJrT+viBqQSZOOUVm/AYKjSz7HDLhObBNr8HZfVHHHdVw7u0HpVP0YSUVtWgSz8WDvX8zrFYSPuaU/UpCQCw+Xl5zwJpot+/gb9S+ifoj3VHUXvuuHr25kSDgpNqGM0oafflVCFebUr74zNTGqBySnQTv0yAg8fjpmVzUF+FT6T7O2h0YER56kooHkTdCG50DNkEfDV9DXxHddtMUl53SU9JG9PyHVq5gH84LvADf5WDng7dXLj43Kt7hLIuz5uaeWV0js0Ak1VZbhfi6Mv1QWc7V0xngFM4OtyXk3cJS26BhaXmuGB2fK5JCNO2iaqhnvVgrjxp+Kr27cJyws+9AdyEzoOWqkC1qvl9WEhqaqOKeWJkzipcTi+MfIwVrFV1yhKXH0kY8pK5rowpnWEsjMWIcluaRdtJCTe7bWnt6J4uo2c2q5ckjBlhhbrRyEtZQeWH/GWaxJwmnj3er9aaEjJw1L+r3qR63mvDbYldHINIx1pUgDY+utoHlaaDoCjbtcNI1MH3N7cUemhQsY2a8yX5TFhARSbaMlK15AGx+5fdWVT3mPEb3ZcKapXq/0HZiY2yXX/6Ydwca0XD347mj5ufKFixyLZ3fM+VtleBisZAcYZnR7adkb9H/UXdUWr+MqluHM0NnhPlFzxjZjq6YZIh695rfwDKRSRnk+oY+vkFRQqHwD+iE6aAiQ3o/pvXJf5q552M2b5NfYkplvrdxMOJtD4RlSlWbXmUuuwqg5zJsC6ii59V7u/l7muCj2JIC9rddKNuCaLBdJsYKO7dGPzmH4VZJZA+ut/vNmbWu4hxZazWCfdXuKNZ9FBb1yR7i3YDOwHyMMFQxV3cAo4Jr30nJR626dmeK9TvsgmA5a7zS8qe2bg3jZg3R+GsGDEVHZFr9K0fd0dizGZEK4NhV1K2Sy2RDzTk1uTmHU1KqbzKEJ28XRtoxVfroVEj9k7NIbpZAWdsQ2I0Y1WuucB1c+Rn9bV4DlxuuXYBBLebNBG4tSoU9hTzMS0qX4Zsa6yt79M1Wbb2x5myGzNisALg7w2B22A8Vi7eIA5F4nikAIqZliVSpez1WOxIOGdXlPrPTJY2NTX08gfNDR1JFpQ6UtD7wKt26uR4OKRDkTzo3ElzDB3UF6WwNrbcN9lXgB+AbLyu1N/ulcrCfnixWEUj4rXjGIdjJ8ehhMB6au4odfI2TLcnwCUGGBZ5ep0ILTFWxe0H/g1MAOW9DtE1/Bj/cFt7rvbfw7SKADOtRUgzf0ga5XSsAwjUlvqCwvkeB2j2ISfmLNGbBTp0kJe368wJcmwmMBBQEP+oP74xwjWSlo9Ey3kAyAipx2Gpxmsrzjep+lKt4+iVPPuG/9OPNhauxpa4Bki7dL2bGJsVqdL55mHBCHaTtnh5vW+sOyEAhza6Oj0+aRRETNlzOq9tHL2393GXgXkLGGS3ZBFlsQqWtQMnrT/KrqYXVOTOkoanSudL3ixXr6gMgvWYLAOUaK/qgAzzyhYXf4FQV/ZZHek4FC7gSdHG8uzk7VCbmFh5MUbAlh+ytJxgt1QboimK9ir+BaAUZymMkXtOer8Wh0lek9P656Gtl+m9e3QOnjQjyGWT8sjxf1hAgt8LYq98Es9gI17deSi0sZ67LcAooqG/FOgXsBxcbzkhtwrHwlwp2avLhCNB1hGal23Qn1xW95RDAPtGFE87tpp5Xr6eNqyxuweJ8WDLyMJF53vYL67S1JJezeCe/q56cR4EZe7uDyH+1tusAon0fyPes5lMoPnhy1fpSxrEWQQ1ixrcZ1BtpvclxOXqNY4OFXD+hwQBXK3vNLtNZL5fETJ0OXBRCXx4IQmvnWaFUVlEGohYKlICyPSNgbezoCStE357B9VQlmwdLzeHkyvl5vW/WwBkMZM/lLrT2YCP2J9g50kUCJKQ+tWozDBvEazqnrGcqL4l2KOtFwoGgzHy3gUSxixFJjNVZvNYAciQE9BDMyPp7U7Hs18sjQKIznEe4sKuuyrP15glNXGxZaNtqxxIOaG+DOhru8aODcPqz07w/mA4PQloI0myW0s9jrWPRuNcgAmvSHpsTBmTqCesj3IaX9GnyoIu2XhDIMxwJS95CN1snGP4TRynxkwL/A1Em3F0nB4tk76NLxQDidDYD8uM0liNgstIJGKZDw8ARUHbfAnNIar52zpLU/TNDW2JuLDR6ZvTQyBVno8+HooE63RMBx+DBMI2M4jC4h7vutxZfsEdnkjdE7XQ3ux4rlxD8WkRssXry1Y32gtbJQEaXGnRJOr3srJ5FWDX7EOxHaKyC4VeM9TeirItOpkoogYCunO0718bjImZ2eWDWEbNj+vLbgVxG1umzkrSelFNkfHg9gW5XbDr103/cU8O1PjNzCh7qR/gl+uLQJi+ZZTM8YnuKh8w9Re/wdNyzkOhKlOM4NDXMMToBbBt4QiR4CkOwOF/qFYo2aSH0reIJXyebAP0nZRRggJ2on4jOOJ2s6egZJpTIsOPWWbKuH9MrIdhQsq0CERWaF96xZv0DGaT6Yvrn8jXmgDpFjvW1ldXGNmD+Sd/tTfF1NbjYDLFpblFBG7LKe3tTeQg+sE9OzkWDgsVgp0MX4+smdfJkIOYrI0oPmpvFzq6dH+tI7alBszIu90EmcipMk3ZCMFtEBT39eG45iglM/eECZYM3NBrkchEq9TDhyEOe7NVuDRmRStT6ahjaYo402qXnVa1ckHOennsXo+Eyl3RHtAFzdtNM8i2HVVFS5xLUXcGHDzeyO65qq8QWUmgQ/sbrQ3n3ty7yiPU+IDrFgGEjcv6fxrrtVp//1KmaPln9FNmrKzGp/FB9azOCXWppx2JdaAnG/jTfccNU/xzRLwCF4JOXIIfsa1H1DOLi7B92aDVMqAlp/fe4vLmHOH2lTw8w4miJeNh1NryM7krAiZozCGr/gX0adPG0wB/Sf74i/SS5jdkdGYwTx3QhAwKZKvht3TPjFuYPMTHyBV59IGi9jnMNdKkGLKbtbe0VxrTB4kiLlThUei/UwuoMKGZC7KoeIgWm/gfJBFXvOObyrYPBtrzFB2bQtn27s0hvV6CwNTaOYhK1gHrn66BkfcRlbrzbY+GBgz+eFfbilnEkm+UmA9v+c53EEbJHJhvi26thL3+j1y4C6umYMynce9Tlv+fdAgLnl/NOUN1SUPkuUPVrVOjQLSPUr++FM4aIPut3+T41X2wwHcOX+XfVeU6iabHkAFm8DeCTVPrSXChAgdHLFmRWIt066idhzQgUmFHHV23nhsNWxZ+g8J1pcTqaDzBLejoZKSZTSNBYlw9jDcjgVDKAkrkLr34klHqaVP6Oj5DxiyTdEXKcc37z39tDBoJC5aOkTiM3stenie590SC6dmk9GObvztyG4gA+YCnV2rLsH71liOLS2SWLTxWubAFk7CsTOo3YAHKx27PPWUTjal3J63ZJ4Xxo5bM1vJxx6CDyCVvhseeDStE3ktVwIrsC0xtIWgbhLO1Xtay3Ca5EB2dHuNEdzpHhhL7V6OtIR8g1JgzPVyb+Ln9A4f5z8xZ6XlfImI7sgWJZO9EIKOgjkoWjYT8FhYCOhWvQVfP7X+tcB7JMYCdSYVhFIJfJHPgCpQ+zyz0QJF0RRTuGszLHSi+QEbEwLWSBxU+tguhRm8xTOUMI47PsdlwHGcc29MY6AGgNz43TbQjL95W6Z03plXlro0CPbXWnJcJrYPe32abUo8doeDhYnN7N24tBU8XbYDrRvIYAVFFl4mpQg2dAM1PQ1OdOrCw0eQorswjNjPaOXGaiKzM2A8I75cPbCfsak4LuLjkLA6K7MzBgRwCxJtJw2t7RlOeRGzWRgCcTCcoYRx3UWKQVJM6mxpNjdVxswB15ZVSoPprd0E+aa51jAvHCHgSxHDabA/U1+8D3KjlH3GRq14XHQ0wyIwJIbHjIgk7UPAxJalvqCxGzSTbzQJOHG7onb9wIoim5fqIdl7sgBwDu6EWsObFiZMERHxxJoNr1cQOrDQxsVRhXxdpNiR5ElnaDrVqAZyd5iRTFJ/MX1TlRs/fIQmHxVO9eCxK6GH/m9S5rJeVTt9CuVhWaSJmfGlcJihcgk2M6Athb2Fs5HvxQxW8BAKyB6eoEkmnkb/RV+hfuJN+BuAkC8WInGsT4XL4kHyvBrPAqs/JX3hbnwSTjHgIM1gqjA2vKXfZ4uttzSpfFktZ9VaOysy9DUM6nXsK/SbWRykEKD82A3DPzINj1GtwvkjAwRijzrbOzcWpiM8j2/spR62WWX/Eegykzj8I8fSRcvOwEeNgacUuWSXDLI1tmKdtMKwZCvTfzB5LHpcUBhuz8xM/n7sY/SFMPtiMnOnavOlsQQFT6wxDzgy/6i+6tQGjvK6HS0PLyCHPLdDtfZukTmnL8lLoTbZ5C+CoLFRHsLCC7duA0HXDShaEuaAqC17aIAVMsXhbqr690nXoDt2zvkWKT4cewXT7eAJ+PupuwKeiwL/ib6LhxemCK8PdN9keDb8+L7iVqSvwjVVLzUR/GB5mKC6HsweH9rdROCraCyln45c0Bpn2xkXW3Sic0e7Fzl6HZt3ArD1ElTUf0rh+cjYt0aY/KFuGfPDZEQXQ9kZZ1F12JbeaD3RLiT3AYXHPFmD3qoIZhlSrEcBYOYzl8KiPey72+lXu/uLiin1hl8m0HLBTY2yEebQlHQMY4u7vFhi+93oS8A57KWUZGPkCMUcDHh6K28TZsihQwxJ44t2RTF2Qbt9WY+a8o/7RlIELw1qBCt17HmDasoaKfcvpRaX4sxLYj1Wqd5nft1NuJEsGa/qXOkK9yRf7OtN8u8ZGuOHVxxT64a+eR64R9IQ+AhCd1bf9OjMIbs/nTnP95rrEGgjeA9RnpyXPxUjI0OJlAM541BeUNv7zwXP/jMJMB5bjH/jqJOBAM6fmZiJjJM89cNEBl+uSPI7pw3Gh3WnQpWwLKZj/sFHhaTsUlDyy83pPa42qxsVLkc+TH8wl6tWBCcsI9Kln2/FOG3P//ZbujvnlN58dZyOD6dnj+poJ+873q8MhXFZnkYMnCtmo+pXf2Duo7IQ5DMKwhoahLTxLMMaN+V7BPQ8ehU0ovscjlz+eZuOSEmpOAvMNQA7X/Y88TTXdkQZzVrjrnABYN2W50vNPwn2oUkJcxK8+y4NLsJ0E7HFvS6OtTp0vdbrvs/3CV87yaIQp0GMaUas/YsgEV66XsUX0cHva2Pzj7uzd15aFf/wKiBlLoaJsGjCsKKhmq6JJR3g8/USCDO4aCYi7dk4dg1cz/837PzxqBkBH0exxJks7UwHYeMbRFCunqooxHC2xboYUFNA8j8cmIRUumoPShL69PwhkPKrDvz1Uwi/sX4kZTDXv3Z/U6cdkHDrP2n/JsvxdBbZVDPjlU3mP6FRZSaObkRaWKWqgN9BT3HoUaCMySt8ONp8KifB2BKWEO37Nw97auQjGSz9QSLLxnSawcARzZTuaZaOqmR1a09Vt6O93coehBASkWfjba8YeLem6A8EDDJ8wlDLAeajSlWgi8qILLeGQwg++Gcol1o2JQQUsN99a9bmBrUOxtXrFnkZS7dzgERFwwLx4vABtLFz0vH9np/y0XdgmYUl+mKjqY/mm4aQNsWKyMUsvucd1WZddbiSDgmHbunDFbSCfQijIJCRbkXVFIzhPC9ReaKi/i35f/xRgEBH1zAQ9qAAERBwwwjcTmwCuxOjLUUMJQ2eWVEC1KzSn5EscK1ip/W3JcEcKQ0EoPlnfuio9fzltqrGFn8pgszsjds3NijOqAHyUlt+50w4RdHE7csiVcBlx+jhPOBGCf4ETjjmYglu13DXguyaWZTKUQLUf6myzHaL6uDUmr9+tMCmgj9/zFqa3eBtJZHtf6wK0ffPIVPO3kJ9/jl6XqDMQzuZqh0qHkINzUG6AY+pFjJnA1HmwS744dRGMEX5obSgZyTZnL/WoRPcsoFDZbLozNOvJKNIbSFUuJHUfLXohHu2EMwnc7rXOSAGJiXuezk11xZI5PTDNT8SQMP/nDLpUq9ziGkoUbBxaWTjerh1tL75xh72crc6FLkki2vHm2KiqzKokpF4/FemKdCEyEGAwdZMFN5TzFowJczRwa2aQQNdDyq1wzuiFPOXdfdN/146wTTRx0j3HdnKEDly0RV43SlbhP0F0bThgyR+hL2L26NfsVrc70FMJ50QjQSs4L1orVcFXgLGB96KlAU7vex5UbLEBe2mSTlB7/5wIrzzEOAzXMwRkCZ7EGriUlsbXs+ddig0wIBtJnK9VFb1LGphgHoBwpPWKwVOZdB3iKS/4uXA4oVrsnfhjRC7KF0Ci2VJ+XWTQJLPlvrjPvadKhX0wQ5I9UdXxVgkvE/K0a4mzaKfL7HVjIGq8WONuiHiGVJv3MMAGjhrvGA6iW1VFypvxkoNJ9Rz9Sb2G2QdMT/m66p2bukfWCavyUWvPT9BhvYqVnM97vcvZmf8r4rREnpNc5B1rohatl5lod1TVVaq6kmcaRa+co2b6Q+nl6Bpi77vHEpcj+C72TT7zSpjGIZUDwYLjL5SfTgiBoi6YNSM3UDjiQw4TClKDX0DxGh0tdvBWhgktanL/lZbS7jNZudjurRs0WDmFShxxv3hJarI/WtUF2IBukeBhDBCmVwf8MYpmSKp1vskmw3kmM9NmpZn98Rs3h+WdEzWwQJi1vwlApyOtAXaz8wJukTN4frvamNGwJFcEpUEmXPcxRg7W226UhyzIyLSuO+EigOQ8A+mAeLMXcB/gYRtZqn7CjbixnutG+nYIlBwK6KWtJ9MZR8cEayE2PdPUY84g5aCSXbafgfDzd5QvVZsKCMqpQvv6SbNagot2sv5dEJJeFCSu0lfW1eOxkcOHRdMnO6kkuWwflAw1GFHQl6NdDpru3+PDofOGEfdHnA63kSS/uvTH268VciovPLf9T6XEZuZi2hs5GTuImb1VIbo1hBM2HTxonRpBXOMM+VZYwrqh0+6HC3l93hxCv/jD8g8f6eeyk1sOzzBIbLkJthdIhM9rWKa7dSrA4zk09tAsSLyzjmC5vvgXAXPtzb9jRUH0gPqMwmPSsgjBg3K37FrGCqSPQnBsyDFrpiTjmqNd4NHh/7vUrm2yEDHnCN8fC1rJi2+97QarnBbHQ8JtorWh3lbEAnL4gB/Z5dOCpKmBx7OnSqT3J4uNp/v5DONB9mK9xB+9Od7snRjWh5xeMFVRp8pRjl55DkMrwG04062iUIzClU2a6LD9beTJDwrylSPlAYsoAxpvGicF7fiH+sxCRr9YP22ZkF1dFp5TG4E4omr7byjnfjqRtAtftEu4FhYBy80zv/uN7C44GCRAfbSwqrGEAFvw5QRDM7gSqW9wKRM14X4sFoa8eRgm9k+jVBOfbPpmpyII3d+MQiAdQKIK7zHwwQfZYP6RI6aBMT9VbU4niOuGYTl9EXnQVACUlOVpSk2O1qJhHb12ATtk8z7s4ruH6QLw+JUH62k/pq9DpQ19o+yxf15cwvKIpeuj6vGKfQV73utcQ6sXCPSu10iadbuF7GmzPcdgcZnG4wDsn5fKe20XfAIVTQlGpSCRm+aIOsfDNNMKi5OADGWEE+pWnW0jQlJiNEYJqLkK47eC5s1+U9nhdaQOZ85wa3i4GtC0BzuR5UyvYP+tOBMrBtQJLmcxg1DVOBpjDao8CVs0rb4SUivIfQ7Tnn4xM7dKdVb9C/EvQDeTAczUyrEj3ymY/0wc0PyK4CAB0DvRu51ES/9+IeYjp0y07pIV5FneXfUQgO4jOFBltcI7MRAAaKSLxzs1pz/HY3Ikyj0x5lpfeyHu+7WHrSAvCMUxzp2kpJysotosJnrHZokyXPFAh3wj4xyR++vrObMyYDm1J7lItdPGnLu2Kw/pJM+Wknkhqpecycwtais5mbPP8IH6529vhDOPcXrfxMkDOSVr2gRwM/GRONfsLCnDHbyVGa60Jn/tnQiKP00F4LDm524OHVoR4ZRxxE2JMIC51b/LEbHMMlhwwJYyBZRK6TFkDGZvuwqns3Ap3GdP8aFRrIkN96kxUneudMV+bjv0yMQ5XRK55nFrJmTlaFcF2vUYmLwu0jsz5FgtjPUsEDnUcZxXtTmeEqR5VWjo4JKH35K836DhJ7U81bW53VwquANiEbQ/dO/vYRfIAHO08hrOHbFcgK/DY9pemROjjESoGndjrddSfIx0MRjtOIjBUl8cXPrHOuh0IVKr/o3nvq4dLOoYkkD0DQtJcoCLHio+wLF4GJC5YaxSHnfuFk0zNoLMKqPhHHKBNU9WG03FoOPGaAljAKR9Shsipt6c5wBf4ddePilTi0vHmsAdm9hHtTJ4rB6/DjV1AgYK01F0U5KdPTHpnXJkXelWVDo86wuFFH9ro5HwtKOUes9hZfgMpxkplLfVjRQ8R80mbGtT6NILuVqsfal3ZxHn0a4vSAOmIgUyh1WoRObn7ivy9nDlE6osK/YOu2YNalqUDXfSs2f+ApBrM1gckh2x2rAScQB7Xf7T/wazmAMBBP5KznSt5Yz7t0zucwnoxCesLGzH3tGaBL7qKAyormIxX+Y8YPy+JvseqkNkKWPHGn+l5GP/X1+yrSqT/zdQoSQjSBk8ig3n++S/ugPNhHPTj4Bx5Lj5YSB8DqeFXI/AhotHISXJHzXJd0TCJjrWRoZW9r6nXumLRZ3Vf4hxGxQMPoj+Ms+ZzxmTy6b27M7eZyusconTxIORt3Ko/TIu1xv5LDlN3KAIAOjSn+JySl3SUypi+GzS7aHMzQWVmyOLB7AwON9RNqnDFnTRpHzlMy5301qLahObLW1xEvORuRXtBK09UCgXSiCaEdUFdLmKqQRYrV/cPy0xi6rcJKiIHlSUxQu5VWz4fSErnkO0KOxIv/zmxgt8XYhwxoAt0ghm+uNneTfM6wNzfQLWW9CLGkvh58n95ZD7PLJgazSqdOrOZKLmbQ7FTtxaxFWR1jJEnnguQEsG7ih8+pT5PBOaVMtR/tpuNEYHP3/cQvTKqhR5gR0TPZhYlTNlEzXjsY5hpOT8bla8qssc9CScruKdAUobqz/bUPWaENO6rRAqNvznA99cr3ZGiPNgJfSmPHW/kNhBYYriuZPetyAX85xsp3yQFUhI+tfIn3eMht5o07gw+jGxeX3xcoiYg0D/7cJsvJCgRanPngNT0ZzyqeafTbtnLzXy8NtRJuk+BKmHjfjMLLrmplKdMd1EhKDu1fYb8bSesBjpT/HNGAvNmtLoV4djK09aMI/cD6ZmZiXlFsEEdepHh/pI4/KMEORyL7Bcnf6zM0oYiA0PQcoJMBpZcZorNWiw/kXxaxSjHFbF61hBT9O7ptbHQ0rW1o3P8xW5Ee/nZLhpsOCCR+fPUivAjVqEDqhkUvpsGCypKkyTTv3K0XHZUddBkU5Rcgy9Lm4+EaBs5jlVF8vgCWwp+vdFtgzKziXGpTR29xdz/SrggQDVA8HJb9f6Ns771glYO2jRIIdYjs5/x3lBN0U9fQKrkyPpGHcGP55ItakP0iL/fGgLHYTD9JVg7TCQbeu52cQX82T1oWJ77nqWNP7TgURRVZEJoVmKloIPpY3eQaoASOuw7jHAKP7cdd+NG5MT+NJTPaXswFd7egKVNTjK9iKzpyTptz5PXBXX3Zj4pJjWQ2A3SmGaManYdzjPebrZ2d2BuVpHC7RPZUvTmpwFPcK+SuuKY97M8M09quvepO+43+zx4KohmJld8I+8/jT213vMYDh9twyz6GZYNGNG9WWTiaUOIBlAZ4TUn6XmkIyW6jO4puilQoMUy6CiQVSHgeeKSsKnGSLG5HUbxrVfHwwIjpT5yYm5UHVCCPm4J2IPsqVBDTcmvfvnaaZQSS+YviWcofaelVeg+GDG9vsLAp2IzPpHEoRosWF6f0XSr+wBlcG+fXGD/JuzBZCr0+YhEMd5CGzYF7P2jnK9MXlXNbBrCyM7jTRvQsybrTOC4ROOuZd6mFwXn/ezVedt+DwTnxYrENdiuJQmBWygkUxY4qY6smRFRLAQmSjFlxN8ADE2/VHdwnPdaYjfZEmjS6kjCUHPQy9qepOptjUiRH0vd8tif6wEB25VXApQ4Fm916Ophqj6Oz3heb24NKtPE6oxt2X8D1cORMCeA92rnl9HVz9jMZ76aXaA1JtQgj59OK9bgE24aUM+FGtgPLS2/4QyYWFPEn7W36y/s0vckS5kLCIHcfz5ySxnFRbC3DN6escGVfZKYcwmQW5AXWTVTex5K9c3POJPjNazDvFlUKvibqBPGtNWE7DuQYtCLokzv5U/pTT3wjixsHzrtFp4c06Ed+qS2MUb2Zzp6smzlpPNKMiWVT4IC2YrgyPus0RVothuAjHiSLc1L/N560R/19MsSNMVgHeC1n49QSG+lnXFXgU7blLjVV/elbN3nMr3+PEd66f7RfqcMWbQDugbJ8FesYZfjkyXEAmz75HwLavLaIUq9/MPi9Q2xEMaRulfyYb2Y31NO8GTQRooP/g5a2eI49yKSBOSGIlv3LiWfmCxRhSTJzn1Ay24AClfyJPetVMyHuHg0DhyE7JENikei2ZYOAM6e35nMMwpyY0EfksTr7CGBU3ZrH7nk5R8tLNbINVdFrtcRuyYQYB/tjo0slcEHOX7rgzItc+45r9QXUgsLiG/rkPLkmPCQfgU3W1+WmQIMSOh3eNayO0JyzV46L8zzao17yHxdM9gne0ocIhyn11ttAgLoGsAH+n1IDQaBgXsLv9vygyxpPMm4qiDo68q6yyzhYnouzmhUroDstUFKKeT8QgOfo/uC8Xy3DLNw4jN0Ml2y7oNNGaklxx8/4KjPhEGgLCQyvQve3f2qG9pDHoBancWnD2YBYGPQT242nfQGx4J+0NmQYBxNNzhJ8REAZZfFPXoEYYHo9VUZKhuD6i/U2LpKijGaYzqK2XHvMolRsGhqYcpuEgjlmszoEnsH9oPY0fmtzzmbnB+0sthTrbp7/6lOvZvV3RJ/sioJLkTKQK2R9XEFhfJ4gr3wB6u0iWB1qoPoLnzYv0xL15tavob2X31Sx/njZw/J9Rl+2b7U+1GGnmQ9D9yaQmIuXMA2IHSujB94NTGZlIpXY6smEYSQasnyepm3y2xQFWIr8hqaKo9LTg6DS4dHA/GVZBUHHbj43N48l4XErQe78CBwNuWLoFwbaP7zXAcVswvDvI2oXNtZxWKCyi1BDrBQIWKGCEfsavSUK8+5lGUbj4k5bxqQ1bVfuSgMmZFWeqq9Fi8bHFHHh1x9DjAtg/tFuEdYMnbMvn5LQFP/DuVdn6ZbyF3YgIkpvz9vMg3q9Rsb5W0eJRgfqsX+eNxU8pvgk7cYybKAeNlwSOpeud6tbOLhx1y/3sw4+47WgJe0ly/fCLMtwjzNbaS8c9cc5XSvUMIZ5U7zd7Yqi5bLW1TLye9oph75GaVExW50XS/DaWYebA6PKDaJiv04v49+NaOaqiNv5Whve5hg0ah6PlAmS/ZowrC1otbrGjkvUoWfQy/HJ5JL3DZiau2ZI8ijjjb7obhsJxyUqp7pwvCNer8zRewwPXL2alktslvIFuJ3iyPqhMHL/Ct9mq/jomT+K0GKLz/QWolZ6WsjBTmJsseiy+RFBWZQfB83el+nrv/Z33/9Hh95mio4cUSREF0hOtoeqiufwH0nk3YAI3FTA4mIQc+yAZRQ/VekefbfmcQjWP91WmmShcADqhzv2EqrxfKe764711re6lbHWLLlSXEL/PmIraSQHkt+gayFXJpjIvs2TcMGX7ZNExSiWvH+o4M/LrEYVp8b8MUtc3o4iUFeUgSDOc0FXynH+0juz4EIeQQrfDjRBQkFKis5NwxUs4o3YsN2LQIQyu+G12Lipq5zAstOqyASQMewALnthI8+vzrMmUqNSa9L5PNXz+PSRTe6QWjeHQPS9pTv8XOiM39n3EJvKTsKbkZMEpY2/19hUhhv3YJ+4DfqdwZnchWm4DkpmdF3oyorP3pwrLjl202bFY/b/aqRimunOz+bUvbpW8XisXHDNPKQalD4EeTzTXlXpLlwMmGCSeKlm5xvH2hsQcJResV1NK5uxV5r20bwhrW/AyPv1N1yWLU0opejbV/x1zhsFEjP/FPkUMDfaEgLPbMSN++ZFN0H0mp+eN/sL9Ko5LggB8FI8CZKgzuflCyfAi/0NqM0ADdigHjbXbxCcXX1A87Y1dDmP4mIDv0KVndr2a6FJAyymAxl0K5vVtsvzXpOpswsDcUcH4fhK7bIHxCm1MFUviBy2jB2OL1I30h4zIVfYUDiNUTvRTzrpBcztntIW3pP3r9F84jAhQP60HUeWdWs11dLZr3umcw3poAQcvWU0Fa3gefd+cBAol3UYM0AyaeQcBp/EWmgzoZv18ZDTtQOSZLQaBICYd+6Cy1JQDsc+bMno0qx7NFMr1uImEFxi8+Ykzu4qCUIJK1CoXu4ZofQnOBUnV7naLBmHDXCuPVv/5d/jBQ1fk1kFTqZiaZQVjbg9igAyPuNCeVyJEEzZRy75B0tsIcfWbetdwweZYEnuW8i28mvcf6rwTwgRw0UEhOtGShbCfMZAi4ETyEqUtEQy5DP5+UoApZ1Fu+21bKbNg2m6Am0QLMf1uIBCVZjmoqV5Y33cH/Fi24PX3OT5YOQzs9rfyDin8q5Pm3idgFIf/zTBFnkTLIQf8iByT3UDAWNE2hfZS20sNjmscH3FXPnKy0QDx4t7SfWLScFhcdZc+DceKP42++YCNfcgoNbsl1oDTQ4LL4hAFydPa4b5DhvEcn/n8cGmNW7ett9ZAVIVtvWIQXQpKuOmOBagXR/H/blAArN0Upz0NHGHGtqPuQx1ZqJjdYvdoLrmbf67o16jRFrhcx1ekJ9MkOPYeXQW6791j70pn93U7HWolH8ykQ9kT8okLYL08Ukhz4alBCRAgtks5c6dleEN4DCFELa3IZBagpCOZxfJ5oRdoWvo7ZE/d+hfxVcM0ccYIX0YzEnqJrXYtq62ZPLj0bQDnxCi6dWARM63nv9CE8XhQre/exMgZ2hFQg+7GhSdXNhW/pBjQANYIVK+6eGF3OdEOEIJVJLAuc/iByVVgfuq+8wn69DOMZLhn46RJ0Z05k9Sot99LCnr3W+Dw4+CeDk/mBhJ2FSNm9l9l/exTKimVXr91GRXUHKxFFbUsu995o1gSA8X+nmKIjkxufV8kYjIjiWFEac6gPj3SPrWqE1WTFzDfsweIQZPP/7SqKY3rhjXdo+61VU/zyL7rCDRyHBILv9rIyzaQv5gPxmBcBY30+QakSWKw/IK0dYqMmCJmFQScdO1Q8vlyoiX288hAoJtocjqmtCo/t8V902GtS+GKKn6x4CmRcy0nH722VhtZ10XGnxv/H0Q0/q3kuXXCK5f8AK7afaMEXNhTeQP4PkEfCZ26RJ5OICkD5bpZCZgTNwwD2/a1EjSrTZYTEHwLTIgSmsNcq+H7Gn5Lcw0/2UyQ3OosnQ0NGtJECfrWezefdYtSAU4cs1+KJfsvSsKblwyloJQn72mVHG45ZFjMIKXLv+/1yqBjty5c01bZBn/8enHRgXizSIfeZEGdLY1k4+7XFgytAAF/Xy+bUhNh64WCITnSx6mqio6s/fqYlFakRcswFI5IjZnGNzqxO6cZVjfR2X5uqWd3Nd9KLXAi+hQPimINnLD5NDSZPcRsqWCivOgzWEd6ywuAXK6y/Dacgnv3Sfh6e9xk7SS7+F110XpvyQCIihi1E7X97vYkIVlhelsBaAuFrCBDXit8wHgZKpoTL0Gc9lcu2U9IvBl2zVoIS2v1WHqamylLwF/uvxPYHsLskgSbC6DufPTQ6mapmcvIqfqtSQsXj8g/r2BiPq63QF1/TmzgMFWZ+gYFKmfPzBKdtOONgfJQ82tBWSSAMDxE9hXeKR2M+gNtFox7dYn6hQ/F8FwcnISrxA1RanxBRsCdKVBd4IhX3FKxtFXrPklv4f9i/vjnhc62wzIpvvePJRXUU22x6JJ3iRCrJhw4sDbZlSS/mkwDDlgdeV/xJxRjG5LYMr5LuNoqP6BVjZLgbupJTbQOS5ReZwjNna+Vxfd/8qX2Mi+q0JRAJQBylCPvQ/VjdTSIn6snHmfGe0jnEg0FK7yk+EhJdT6v9QaO+xufNze+g8INcKbHwbbjmyx3DQRSBXNoDSgzvQ5YEDdcDy4TyBa8Heu2kIP4A+9kC69CyrbNQVLQFY/AL2ZVqzO5QsZy8Zgx4luf/82hD4JJygyU+YLBoHWGZ+0KR3oe2KLu6Wq5d5DxAh+Wxtz8cb8wJPz0pAr5mD5yssA4OD3GzG0LyrXLQT8xjQdja614mO80L1iPsxoFtLpl4E6w+w3FOVmcIqbjyrk1iwG2vFKd4wToF+VIaeXoC4exjK0kMoyRGvWGHOAIVcFvtrwDK4V7ksjpBNHemLzsD2gY4uNZVr7JHQG/Dsvzhh+p3t19AG2Y1ppzGW6Uls9yWDy8t7jGVTB5+rUYMNvJa/DkArMmys/FMBhVlv1q2NSMGFgqeL30VdT7/yC9QlmfMrylJ/Y6GlIE4RXNNt/aSkow5VUUoVs/JyizIauStcBLouaWv+L6P5uGwSclNPJ87RvviPfFfKY5wlCZFULg+lvQKWtQUjoX6jnVY0T776EEnu6WfhH54yk+qXORW7yrmujzYGuRpfC1kjNabaP66xfDHbrLVKe8q7u1JcSazF2emPS3mogOJecujG6UxHCT8MVEBkXi5C9H7J8VO5mj/DAca89ChT0v6rkcZEcZ91JVxyLEivC2H0syZhEyHZAo9vpJqgihcrDH44olFoXLVR0Sew/0rAxSn1nz27Ckj5K9HFt6VqVv//g9IRzPXb+0ej0R5j3eVGuRFQ6X4ixu6XX8I8lVRXmw+Z7YEo3k81G1YtbbizUsrn82+v+6MbV3XxOO/NmNg0nIvURjgax1FMhwIsOioWRJt8EkiEyQe398xfzpOUyyt42NShS992xM9ILCUu/Sp3ayObWBK0+XuPU6kzpJAyloF+DtIwUIl4e6oTNZU3Rx6y09h9PQPbjXrF5Almt1wK2WyTramuEsAgB1ZNYjyOMovh8OpQUISZTq/bZhMT7fop5/DMq/+bWyJtR+TyXVC9LKsoMUlaaQ5NnsEEV8GST2tmkVpJIEJQHj16ewJMvv0oGG6EhZlVdogoIwpY6soKiw1eTtjqorW6PXk7StnwImc0Zz9FIkYJ3SUqAs1DQ2In53Oa8DbGBKHXyRGaCODZUEDAoYpKTMQh9x469yl3TazU5NWH9t3xOAI3lqViJL8+oQqE6FyC3+6KvwfwPqFcBXPUWASEYXJlgL4Nk6tK5cWWEVDh5ehyx5azuoa6CuLj8qqJrAHOr8+qKB6UTge4sTHBk3EQ3JWyPF7O1zohWkkHfXZwEIUGnWE9oQrJp2+DsSn7wQndD69pbqdydGBvpGKzov+8QABm34npsfZgO/izAMoJmD/cdb4+dIwD7lLFiCPX/QrNWll4pSTk8/xSj7MczXVPoS2/FwRcuwWER/rUiLZEa8w66fDLCRJWgYg6QxV6Tkjmjcjq0+V0aNC2Lm8j49txaGX2noQTM9QiWuX+1Wx2SCMwAidLzoZNlTcNQvmPhtPD3JDoJEIRO3IPiODfCswPI8zkmhzqW6xR+0LxBTq7u7jsvsTXqB1hxkm+pSvgM4n0tE5A19PdwhXJX5omABDg9/1SJXnDGG1kg1Z7Si2EyuSRGtb5EdVgmdtM+jTHctTPvZFeiimN341YoUgp5PugQfdljpfynMygPAc1fenXk7EF0inomDdqKa7wO0rIRKwTQssGkvsgtyVTRVNK5ybzCLLoO5+ClILdwhF9u2+h/gDnAn5I/eP74C/5G5bdvznyPxflEt4PY/KQ8CEnDn/rpwzORzdBT0qPCH3mi+BU78qOd2+/Cv78pScrqynShBdgB6JZcCoWDonhh/Oh+wx05jsUd52VvUu2O2N2N2sqWAy5mxdGUWvkqIi1qwyyOyVth0Qb2c7TT/3FFpXTizXADzUk0qNP5BVu9c2Ht8PoR8BXp+CpXAK+6B4DaVIpUFmnTXhLCqTZJHg6vmnC9bmglVJPxhMUjRXBk/ks9+6KEg0IxMAho5h5jtu+uBYlPueWrrWebOlVuYqed7CQO6N52/ckwm7Z5IoH0Ybsl3w6p8iZHIv7+6MI/jm0JgnN34x1CdQTIgxSS6rhA88CjEeXhIRbT8gHG2aNnI/LBXYfT6pFKZgFtcOqyeoGwkI9BfnjOTC1j3rySYlx+5OKZ9A6o27n2idFlJ4L/jWGeYKxyaHTLVuGTUcEaoKrYLDYzEhS/u8nCS6D9nX62cgqprQfN3xcIgl2yFZ8SouHpng5jMKBbmzEzHbSYq3dGZ77xYcCaWqAptH9DsPakvkWC+wwfr0vnpRIbf4mHtVYIW5Rjh2hlxwTOpqNJqEMIaRHmVriOW78CLpJYDc4WwK6q7R+5O5KsKzY7BqT43NMHDysq72nnWcJ8Gj+ka++OalVlX2BzM6cGOxGZJdy0kIDk4oNJGfI4m1BDBgJ8N6J1G17kmizGuReLGVtY413s0d1P+rqUoLhb5DzQVj5hQUyTSSMdpohxGw3AO/8XOAvdKkXHWNzNwMejGO2FbQ1/nwnm0m6i+Md82hNROPP+90UXXXxDnPi0Fcvw08pdi8UsRxwOnWSqEqLpOzd+g3XXOlb7PAlRkLlK//wZmwtjFdZpQKckIHvyX3f1ZugLKEcA/fNlKYwH181Vk5pTjA5WhCKCGz37/pIlA8yjsJ/cU2HVuhNe8Nrl69wSn6FdsZFBkHPRDrazUfA1XjUZEbvOyLQ72kmvgpcU4NRSv737CwB84l7euV/4DVQ/Qshx7fKRvc+PKM4MtZBPNDuJSM8JyHva/pd9gtrxf4jM7Nl1b0BGLxMYFnqwzkHWQYudaCObtEtijp8gqGR8TbGOPC+z++HMXLDYa1CgjTpFDOCAJDrAFsONbqlXidnIWP672c5o5DIX8rJ/74HAWtDlFoBCPD3E8Y8HnEJeXDoe078jIiVba6wapIe1wCegiFMT/L4faJtQuRoqmENoj//reSdJbANDcPTbOcydZ5FhPn4vvahP8XeNhK8N4qJvNT/l9fssXrNHAEmp3jk9DjFctnGrw7HGpGEa1MMcf2o+17t24QMNsL9dH//kRa6tXYC0+d42rNG7gNDkTpXo3UZOgJDYF5xXpkFrlW+K1vLPXF0OQEvFY6g02WCTAtgwKckfngwEKQJcABMccCVimqNVWrDKOB0uH3xMuhxHfDPBi0MTqgcQ6jCrXXYpRao5uPTokqgEK8bbfdgJupg3pNK8cqjYoQMCFRmqYf5ngkIozOZlwaJVlmaP+OWig++Dj1Eehe//wigrCLw/J7PLg4TnwapA/TZe1PD2BFPcGrVcYMRVXLcElDy3P3uTb9UyfxctwQ6/myUtGOpibCIiZ0vJwRa8cA0joDgRKkcyXptS6mQSl4ALGSZjD5HbgMgjNFfA+O1ixNDIVF9w3J1BHRi2ZDzNFW/S11bweP1COUpJeA7G3mT9J3SV75NUjLZ8K8+IS8zyfSartDxoP24gp6FcvNk7ucSZRq/JUQN5YAvH3kXFBFdXtVPJltRzdlsKZKjYEtLEsIVHBBtR2F0wVtkttTKOWjXqDinB/dTjJB4pKxI+47JpQ2Ph6UW4igi6+Ia66HTwrlzmmrYYNR64i3hmKHjFlPNuimwAlwiBm/Yd77e2R4FmJCKCm69pIHA3QKd+stHQKgbmc18R+A6rPzquMUxnOiWaXD0PRMNThFZ5s12B8CTkhQ9r3HiRqIsK0SSeBHGkLz1nkFRIRz0lKr0sL3vs2gS0aF0T6IQtJOWjZZciqRuDKJvT58LrclQGGJH8CYFVDX0Key05JAeZNY+Ts0+jx+bNZ4OgvwiTQRJioMgxboYMBwaXnR2MgFs9St2uE/SOlu3khf8sGHEPPh60Z2SjIyxwrWwBPwBmnnTi1spxDNtSIP9fFN/k7Av+Y/5Y6Ra9mOVxjyCbKJq9d8sD3Vk8UhNOS99dvnu94Vyfz2ZfjPrNJ5Glrnba6SqjuwUN3bxw3OvFYRoqszXDL82G4hgtgdzyP1KUx8IiyGsnHn21t4eB7hBw1ctEO/xrHaVd/60XEK+F6yeC5CU4ZpjTNye9Wpv+F0usWfBAx11v4gMULpAIqXeOEInXf/0/ObFq/UWbr/axiBi9DvVvGCXhWMhuCwLQN5YsH5cUrhWSml9gwJKbfFhPRE02NwuzzTqoJKdUSiFL9VRAPHBeDa3kGYw8zUCBQvdtRnxdagSKj3QJ0djgMzPnpKP1ZnVm6aBX0FsafKGy1iPsOGVIXwwDDHH4ZCxzd6TXGkKadlHAHMID+LO0VhXUEdgG+qPViAwMP7m1l0Z2KGD3LHYRX5s/CvEe08xVKhBf4WZiN2QzHw7zvk+5FHgEactVuOHxRSsMypbXaulRQpPsrslBvAVEGj2eNrMfsZ3LPh02CluD3Bc4PY0VdcOGHrDCIa/HiHD2rJcA46iHKWmkoK9Vh6iHvHvp/mQwlVq7NsvkplSL5efqjEcz6qvS76Peo7TNpWIVl8eP9DT9j+SLswLz7EF3b+xcHejskMxhzbbA7hs5b/LLzm2F1ywkGWzuvwVcHy7fTly6P+wfU3NGfPkG2gjJMlSXuQF/njOl9wTgTqVSa+Lpc6ZTqrbyjVdFPnusj4hBccw4fhkc0EWroj86KX7pTRe15Zs6XG2xGBxNMMEghKg1RbPOPAWO/qXRhXED8fCOcm+NP6uqghulpG7Y/vN1AwVS5BfAN8L1AUBBdrAohRJnw/iXNU8AxcKqCw6QXdT4XhsdQEpTTitVK9oQW0sFvL/c50FYDm3e5JiSVPpkwundIMzppzgKoaEAl+mersDDql1KoFokTmlA7pHFgZvJhviEa8xnSMUal99wziuC3TpMyozFUMFWf70dMLHsQj/TnGXGa2weomrgXXaCfIv4HeO9cqsdg3738pNyr5mSThWU6NhC4xFerHtPBnqwT/aj7zIvwpPC0XOa9oQRneSL3VfbyPVkbEGn2QMsa4KCRPHUrfTUEvxuSCddnyfOSe1OwM8ZPjkhPkP77COW99M8cJIDErGZE3XvUTonCAtTxI9s9WMCqlCBwMTjcDKW6D6guPxFlzJPX2WY0Tt239+Ulil3yOjSIwph2ejyucyYYB5hwHkNIVku9byGd+YOVIRVkhH9f+9UpqEB58g3E/KNJXBIazozXs/XJ3UoMSyFJsWKhx381B/jQcIRZOFEUqckgUoRfvCe+oyIJAXgvxKeb4xlwemsOxAb6lWXxlkQo9oBH1ezGF2a7IKVXeK4+HrJAXCmZu+R0do6G1lDeTy1RdEcTQoNT+bb/G5iXe1IG0HFpIpHfpQII8pZivoCUsV0yYa6vwVwcY5adFOkrfoxAyXOutARfv2j1Iq9Sn1mhkqb78Ff3TuDaywMoc02a5uWLxH62WWyFW/yJfJ5ynqTxwh0lBCYgECYJc/Rp6w51rEFMmLiuhV6zT+lFDisoYV7pITG7afSMPWgsIBU3YhKDlW1eVP3g9y21tnJeCtmVr1Ob4G21PRkvK7Sy6+BgXoL9EnZKDawszc4D0n0PocB31tKc1vylt/j+wsBry6Q09VxYRtBYDHiSrVuMh+lxgkQyKCuuByZF0DOMO79BfsMh7Pnz1NFmxvrWLtJMm90svjnU1WvbJ5kqGF97A+b414G/F0Lp3qnkDhI+PM59GR8G3Lbf/N1nxE0QCqXmROVZAbJXhtulx+FUli6ohkLEy2flRk7SdIUFAdL8sfFUZAYgdgUYw8yry85lBxpYF9e6DDg4R4uGWr1KraiUTc3DGLMsN8kkG35sdroyatlcFDFqzHTZm3Uxb3n2BZ6PzmLvTBWPo06DUKIjG4wZF2Q2wKo9A7r+Zs1D18FCZ8Vv7V0u0aIouONfFFY2sfHdOpqkpRV+UHZtLL2unyJBmUrM1eQjck5emjt6G5q1QdVsGEPTc9A2IP0+3DCuUcoh3be7teIdCohMPz/R+q4GpbN0Xlisbi/IEQ7awT7fSfTBcE5mcq2qkUkqgcc6Jg1AUl87bYlXM+ShLsnVY94DTGOe4Tu2022mn0fwXPog1gn9DcT0WG/tNSx4i96ipT8+3xhOuLq7kxRfh9G9EWFIZ8b9/KCvc2dFar7x9M14m0/Mcf3abDV3grPHRKAgfoVO/kCVM3xfLQWbpDfoNxnFa3s4JQHAE+ua6bmS8HGXAzhVNE5c7hepiqfG6cbnjQji4LhfhSnprZSxbi0SbaEe86cT7oqDgWgvxNDX4nIqiH56+1g7ezRE8BdBkP+EFazkSKEtaAVqZrOW4bKqhSR+fDhcPGFVFdyr2oI7INvYqffhVTeLLIXYhH2IAbWkD/a/fgd/UOQkvDK+CB0DO6lLkbH5XzBWmZ4s4ze9SxQByrDjlHpXxMUv5pkubVepFSg2dbm9eHm5gR6+q8PdYQ5kVLfIu5SLmhZ9g/NBVsWyMpCrnwcQz+T3FT7sHPHpUndRtOaFtNq87xV4gITB5Fpwlyup7AWZbeJ5w1wR2Jxq+xaYXLn98xJhR6QdKlL2zZbwKCs6Y+CCrCjeTFHL/r4g6v6gnqiBx9o3XEQ01xOuMUcteD4FSuIIutne3prVEa72j4sPIhCgqctQ1dNkVJdNhozyI4PpsuGEpvwJQ1Zy58hEZL5oaQpVXeCppWeJnfjZAptT3ouzCoL+MB76olLFD31c51KXH1VOrXq66PdwGBw3NLV6qma42/PdWpWj83Q2C7UKF+D/PHrlXvHhO67Pn/2qNC4CZgeLN9BMwV5jKBjat9FLw/UCZXvi/9UMg9kmMnJCAzIaVfg5mpVf1BdRcfS75V+VnbOy0zdgeS7y3XarpDbwMd1sb2JJ7yLPhdeggLbgnTppYHo8S+VqQ0MOVbIYaP6+SL6WOwy/NS88oBQiHLkP/1hc/ukw/HOl7wXIXQEz8cS9cZb4jYtPwS3ynraLUVHtverrRp8vLiBPCJKSMNeyRQY01qgyFVP6OfX+7e9rubDbE7P+M+fjod9BuQEXu1xAqcxjwDMkQy/wUgf+YqK7UGAAZ9FrKQXkn63pINxAioPHAri3aqKlyKq2DIO0++5LThN0PWvNEkBlMiQtN+o0/TukwTDhhoy8XvOfv+n1mz50SPbsQ2/i+UQmTKX6BR3uOSWpsERjx0/mvHTSVO/X7JCKVorC6pwYMJzSW/GtTPD4PPr/d0zejj0agDmHHJCtjqwik5EWC38zBpSQwHAFj3lPJc/MYQ956bWH/6dFRhkoi7m0fTSrUUQbhJ+EHHazX9mZpzY3VZN3hgGkoRmM5A3cJ1HCz75WVt4RGrI76YkxOGDrjDd6WzMN7UVpR68Ku33aKz7xeMc7gBudwCadslHPWeWAHrqVCI3+ZmifA+qTnmV7wvdiUUsfi6zv+b/ihzgoNteU2PM8gWZWPcR3w37vY8DbTyC6JzrvPPO3pPd3X7oNvH3vuZAolJF+sN6L8xriGsQG9a7/IjciPI9zNYh58IvQgoISfYu83KaPuWUfr/hfn7WAGhJtD7/dZf0c4HdFXLr53ZNoiYPw5QeaOXiptFZ6SDgUFZGe9RpEyGBPm3GCDKv9F1Y4xo14tG1NNHlHsKv0p7HnksAEw91m9vfr3IJlq9U5YJqPajCICSW7rkSdVBgcYU2fcrBnmOoRESXlZqb0NEWiR24UjHw1c2T0afhUPA8IBSTaSt+KMR6wGq+LQH1WTqorAwmU8Lsm24hVJtVdcFvCMvqVvW0gs/LIG5icP9SxZsLotSyDsdUamS/MfOGFggCAg4eiUK6qFXjnBTzXoWyD/PkleYJJkONVd73YGxtPKWMnCXnb+JknRF7KHnBHisHsbE8wv7KGE6ODqfjRyF7JeW6uTC7l7wgIfpkvhE5UwoHznDJ1JjRxUNcFpnBvYSwaaCinhoARKlvLXxu9EM09cHKzkyO87ZuGtnaXjaLLNRsPsP2AESYfBbYf8s/UfX3yHM4+O+/xoiWmOTU2CqUuD3qK3tY25QfKNbJIYW0SGBR5jhyzdIhvzhClrDFxMWqPucAWPCUgSEvdP4kwkPWLOrEHu4nSJza85VmBZSD8rxXc5O7cEZkQ6QWdHUdfcw8DPquKdIxOopjAw8eB1Mqzzh3SAg5vGZRpBEEsCZZycJRoVYHc+Lg6pHmU1Dgr0WMJ75KeyCbu7mU8PKwMkdywKpuHKqXi6I3Z1NU+fzrwiMYXxRfD+zaDSFHWZlKSzjXPjffBITxMD/XuBrSZhrydEtZyAQ8UEuIFmMXf85okbaAA2Bcer3XTGEbnA/FSOwgUMDn3p1ASUszjMGGN1m9NX0OJcKsUNWJT4MBpaeE2R4guRPNI1vz340QZsQKAmPOO66bfAsyq5PKnyRBp/Kpafax8TUP/xYXDkG+LdJMqY67Efjd8PpygsyA+8F/vNZQxPAZDtuL+CP8Cf+4F7z+ZSDCQsXD/eLhKowbqgdtxoF42aCex5XlIN9zYPree1/X5FrwKoHc1BrTM69YTO2+uK3YU4IEaPVqjWL+V87tUj7MlWZEwEGmjlBG1Vt1rSU+1iFozjhz/2hPggR7n8GfnmwwcNArdkFWNIiWxDANGBDDTlP7tm0OVrWuEb/42c9V+zwhpDwgKgUNfAxQkwtuDidY/dESu3pzh4W1JMYtpWRhcIRpcMXOsxohiLPgq+U982j131jSmEvtl3fsZbyeSpevpVPWgavod/NC6Azfzbe21f6FhTdGqdyxHhhYLlhOWUniB1VtyjlKehaed7QVOgA3V1kZuuADf1H0QegG2MtnxQX24MAvH3SINLtzWSxM4joDsOhd4H1HYV1+WONilaOKSwYt7/Bp9+tu1jog4MKCQhRJsKggCp2z7qd3W5bHbj+E/aEct4xQdhTCdsGU66+51BsBTsMnBrsj3/ozDTWscjjCC8JV+0Yjh4w1Syw/V0qsd888k6huj9Pg6q6lTaew0ugg5sIT+AVO2QmVjnEd4RTf0mzDvY+wd0unWOOH1twGtDHWvfuNb0lLBAkypkUT2NoQN78JXCsJIvgnhAaEA7cNAq5J3qUx8j1yjyet+B3keNSQzuhGNkWcSuRrUxHAqufgYZG+mIUrSVj77FBsnn2PEsf4KTkSvCCzTU9RYh36ZCHxeeA497c3KXZtmJS+qRcJtYjKwn2GpI08BHj6PsMH5yHL9QoFIF2Md27i6gHZ6+wrZmkIvxCYp9LHD9aGTKg5vPKuDazHZEpamE0Jffi37frLjaPKc8F8yjmZuXmYoHl8PVf5b1ScYNsQsJbE4iKNutgvL7iL2IBvHtlghSbTEWU5vN9o2qPCaKDeZLK2uPF2wCbxGYr75mTintNTVg8wHZT/EI5fNdwiWMuW1yWIW7PHQudJLhk9+bemZgzFjuXJSsbQtNtdJHkFGSUMhoD6DD/14AvcUvBCg9jBxPKbMMA6BZC1FL5WSGI+ELWWVnLkovnFs5wvQDz41HduFgBMOXin0Sj8Ircmtd6aF6HmRLchJXKmIax4yWLHDpntbCXPo1Y8BCcBjsP1jI2mLpR0XGwRCTsnirlNZEGtscOuc5BKLqBiZ1ymdbSlHnf3f6ubJ14MfqLjHCmokoTgyuC6y7xM37v03WF7MVNVdJSKWk69K+143li0704rvsy+fFPUTSTx+udaGo8b1knZblMxGrOWSdt95GLsww6pUoaIdCJK9ONuABmi9+qEUIjLLWZhGhmedCSicAkDzXeUC3CCTJqLSmf7PF25YzLOGz0/TpNX03dlE3l+UtLFN4utzT3ZDUuP20CZdhM+g2816r3EDKl6W2PyLm9IouENWKq86btnH2wnmQsRmTVzNZafC8lHvh0Mcdq10bbFA4yewTmkptHLn4LVWsI6XjRWYxiyzAs71o+Fwh9ZC3wLvCXbg6W/x22E3h7yPf0KXh/ihP0eiyuqIw8oD+2zOuZJZkPv1jfVF0P6LuaM/TqS9WJiYdDuuLPNsL6gBijwVOFqW8aKqI0o1eTxRRlhjwWZQJlpttboa8jGemUPJnwgQ3gh9/cx9tOE/J+6GP9bJmidwZ8nnuTRDixPVRnGslB6pscjPrFska/MB30Zv0zTBvNz1PDFvhypYWD9JlIayTu0Q4HP2ohzDBoPT5YFvYKOCxw1UdGIvttIuOoP/JfTxUKLLfvXjW6Wvqy/JjJRL9ZcJMP7iwbOu5uZ6S3BJCsFS1VqlCocNkWKCqRkCy+2wFlEz9O6qLqEOHoFejLtfaiEr5uN6ycLlwy2AjRnrGO156I9xPDT+vN/TQ/im0RFaXn9nOnUGABK6kQOASTOwPUNpdAbSZ+YON3O+4fl05uza9FhHFJn6UD4dqOaZSCCKrTkLCkz0B7YS4IZOzKLWQdy+GOCNDSC+z+1HoMDNloVLk2VOaoCSNnEoz18QvOANbah2iEN8QO8F4z/uSRwU/++yi5Wsf+XI3wI1VY1ZsYqEQEewRF1eWiwHDZ/DQXLwiKC+/uFkCaGRmOsTque2Mnd32njSt1r3Ema4fh2hP/K8mgZ/+GGbBojxbh6bGuVc2W8SZP/t8XLO3eBG1HbmkGC3+lgKfdQFoDd2p1ctLMmDfr8lzHxzG7GcQJYz/sJ7FW+5+77p8HNIRXhXA8J1kaBQA45ZOAwcJBC1JjZAkRUUFPv6+fhNGBJdQG+bjQdjesuEYASG8YKfKGsVJ1KNvJ0ccC9gZKBqURylZ5Eb1baU2TLCXuq1xLbJf3o7QPogUafgDxgIWUMb7l/J5auTVBbOMuomkyqnLG3hhQ1IwTNDzwJO82gmn4NEM9Fl0Kkgv1vfJt15SUEMEqRW03OAR3jygTlikMHzIibOIbs7tEMMu1lUXT34pflC1DGQeGEYGgbCH81huIn08egedlapeb8iqb6f1IRPbYQf6ApCKIwVxDCk0B4Ks7qX0CIh/qXSFTvFLHC0CCPAQ7086OyMmU+rAsU1R8pRvcTOVP08LETJS4J7WfCSldoDgFS0fhgeGBybPbTNgYvsdvDDluLuN7ec9ROq72raNM5l+/ovJoxULSqJFytHMalIUQ9w7i+eZMf8qXcV+nJZHtalkz80IKWdYqK5KdmU9YH1JPY7Rh46RtDs0e10fpgDtRWKr4TDJ1/8VXZpp13IRD6ktcSvUakkKC2/xQJBC8QF6QjHOLli/sFdlyRzHDRuUznb1/ZuOXNnojVsSJhg2kQkurjHhI/rZefavjyja9ItNUM1kJXAUTWm6uZhkcpmC4AWT4vOZfFUioAaHtPgnueYywZJKd5dXPBeyZDVYLWtiWmo9XlaP0L1fnM6bBQTO0EdmkxUP10VJ/9+g796yg5ToUEGZnDZyr2+peOMrtRqCM8HUWhqowuusl8mqjVyRcBpmWKY1/gtGV8DdIv0A9Or4qBa3Mpz/WWvVJt0Wa8jjOi/PGAMB8hYeGfu5xOfK9aV+DJV9Sgtd0LOYDxo7boGBmT0nUmYHVF9RYiLbuYom1HBveCPM8yDRURoLjuIXusZCtDxeAXIErK4WnIeQ4+rxR5dQ7FbHwEaZ+yixM2c7RWIkrEvhyqR1vdpp8F2x6UIaCkQuNG3OGkYBPVRDPdAxYaEcs2PE6erl/WPzRsRIcWhO3BW8ChN3QnwmgDMaKfJD1yKM8Q0MYbQ0T1DUSMkj+Aj6zBk5cYYmhz7RDByiYRF/mbatEg/V9L0pmotyjl3Cl0+iJ/4srKQLQVe9bNvkoQ7g6In9noOFGETgoZvtF6ZBeKqqgERq1x36FMayZHMSyn7FMfkV/ceY1R1dV5k0C+MrK4/GdDapqZGOHztAsiFXPyUOdtwWUM/KhYCIA1+c0dEbIMYdTkY3SLVOVq29sDgC+Ix+oW6e1eyKdVrYj1c/58f2buOs4l4nAbgaec0w7DsuaZIFDs89Nq2rzmIOaQuoth+VKGlQyu5/uLI0wlS4Ji11vZb0jF02+WTXqOZwcOjV8k+2n48eksO6vt6n7YrLQuekMui5lHRGEmBwmJHRQEvU+7JSI8cpLIDxx9lMRuZVr9mtO6sddF+Nwt+rTeE8wR/RBcqrYHPhqBiP+q/yzILWFz4jIaQn9ikAi+OPWNas/jWrXhGSulfDURxEu756p6FLOGrl5HAX40e/anIe0iSoKohQrEj8dnh+vH2SViRP5hkLM0OZQJvaGI+yn5TUHIqiq7EW29rGqWEN90tV7oZ2Nz/yuKNlYK1vHI1tB6IkARbyoe3/k15xnndbqQ6ZISXA3lrBJemSkOc7+3BRBwO4S5hfwi63HhtAs4I9STa8r3U6xs0TXgkBSnUO7SQs7TbUYZN88Q1nEuERMvdHVxBORwe1KSXueSJckP2aM5PBQDYt3gFKb4zSBOI6igqRFJrrPt/Su3V8LOiSNZWYT+/3BQtKqSyOx2Atl/PApPh2T+hvfSG1rz/Ty//gSVkpurZm2H39fP/XI4zLvwiYag1e9WspwA/g12DIvfus9YdRdey7he9Bm27kWcJcTPI7BYzXmspCk9bcgGqimcZBG/w57J1z2g1CqWPh/FbfqZWnBMzKIb8qvcklYt3jt/jbGiTMOVqAV+/m9L16zBwbwcetYOr1A9SduyxuxdSgyuKCXmi+zai27UfXK50dpNls4hus8YohidzwLFFAG7Zh5GTyk3ypKRFSSnxlpH4yskvAZ0tTZc0JsVi6nIs9hA+ekef/rRr45Sh+CMYrP/0aLuZfoSZnxVRGtaYgswkW2hQmLR+jGz23MzQKpSRG+1sGbAVxRlF+loH0xk8vSUp6v+Xs9f5nfOm+tA9R8hwQlx8QRUGhUGx4HLQmSoztj8iytbPvDgcbS5zybQZrUBz1bmtFZHNFV9rhVZX3lh4WrGDhb6m647ilhDDMBiRI0YNSdPijUZJMPP5/MoRIpoqP9iaSFmTQZOoTkJWuFZacdaXeVeKKJac4ESENNTacGIzzxvn4qIidO1sGDlH+E63fZtpPLPa2usWFAMrYVRnO5h43of0ZwdQu1KuiXdxThIUa0xc46muGOG1j5V/p3ZZbOx+/NQmVGOn5JvtJ7l6c4O1cAOdtqqH6VlH+/pqdHnPfpudoAYYYUt7zNDfMioLeiKoOnW5PK9O4BegzIKL+YVkEltCePZQRlK+IQYz9Z5EfFuRwd8JWXrMh/dlTMcGDd8FienDtelSvzBRCkLyFhIv70HHJv0dZOUZBsdG2aoxhQC84p5t52//YjkhX6RHpTD7j4GQwdtvY0MLY2sLF/POO4GNzxoZMLAZexj7RkxKg8+ZCicdgNFJi1k8GHImzlBHBwTqJnY812nGcJytUIJ0rCgMk7SutMb2POGqOlO8arS+GbTtQq0xzNiop9x9GdLuBJnHD55yMFzdrxHOkTjbjjmYb4bVcJLN3pouBWC8bW5hnA/7u0l2PORaQgyBcy6byALkL2brwSiAVyROuC7gpnjbcC+pC48hpNsudP/V27RM+lp7iLuO67L8Za6ON7975tv/pswFBkWKRNwUfoUBvQBF/FrJ7on1CzaHGyeOTOcIeompSg9n1LJ+mdbCAY7SasL/wSjXZ1bltYMrfpOG0yAvJdfy3szL9gh1iFIAijCRBuGEhr4a6CKDAmhCJ3pZVajkLwb8ys8GhczylaZNI4qsAiWTMZs7gRz/vzw81/Lb/TNztaTFac3Ni1cLEjqJI9Prj752i4owSc97alVdpylAW22NfMK+fSxNI/XNZRz16J+OfaKv9I4BvjWVqwuEbTHwiCwgi1/LrLe6oHxte31SeqezZLi2jsaMuq4eHT4nEx0loRbiC6n8wmic33PbU4UN83K0EXu1eUJqHXMoJhKrHkpO4FnNWvR3SzgZKBOLTDgW5UWHbq/+J3fO5eBKOSSHUoBbWm7OeYHc5l5GFIpVVC04cHvDgKaIHwTIL+wE1rgM9sVCRut9EO5oePtaFmDR555+Tqk+6tD0nTjmNg7mZH3c4yF+0XLXNkOHm3awAqHmUKWatMMDXyvFuExY5r9P/VABt9W+/lt5Zj0GAM7VOGNSb5ykl38spY4CmNSitc7AkPS5UAFToQFMz9wCv6cV6XSFKstOv9uYpWzE7zmLUpIeEh8Ix3cQR+HcyPtmcTU/1ST902Xb6q6itHLrwK6SuGSfG0FjIemSglgAg3TxSCBPrbAETpe0YIHifVIwq8qixicvmNuVju92IBfXm2eZUi0x4p8GOQq5QlRzkxQHDZFvPqsXwxVdYDBBxFORZzPHpUjrJtPdXhTRzHmrH34s6yMWtEzDKUb5/xPblVr7YykK6IZ0XDE8k0YStoPggBiHjg3+wrmoRtp5BalrVuuCSxqlpM1GHITyGYz74chcf0JcupXo7pBPZv3vjgkbg7h8IZuFPt7oeJbv8Sfqbwt/KcdI2Yyu3ab/SW4GXQtp52GaLkR4dNQsldBTk+6y9/xeLPmPge+vtBsdX0Cpaz9TVogE8yMXap0EjL+AmpNOGjEf4YLJGkvScXw6dOANw35QDyV32Gf+5mYTFKg0tUOiBvil0MRiwQodgvAjb3CH8jOgn8LWcDzXVnBqUxJOlzlXQxNp+s9iv4U/YB49WZR2WuD0O/jmOysl2cwlA2gWsMhQDDCQikAWZNk/Mhs+V2cnyGbPo1Z/5uDvwj2wkvyTTToA6KTfvE+tJIDpKFC8MMSrASbqUdIQ53KK62NHhZFGfuzmcCMualkKo32NXT8mSZ8CSWoliFJjfyLEozJXGvaXRwZqpjZJ5ze+EzGoRXq/lj8R28VMAzeW2wVGTIzQkniCqTnGih3/ViWRwVHD3nEHfe2ew3tD5NZXr3UKG6k+Vokc/LVQve8RwyKXwFjeqPtqYJV3OTL/qqwNUNr3/PT7ID/PXc0ivlRr6psvNa4wETXZs61hC67l8jXMvrvLFgOD2bhiDwXbU9FjoxAqTsqlaYyOuo3/s/wwTsar8dWtYEeQTks3DOtTMb+R6clNZL4u7Lfpoz5WzJjzQob4vOxLCIGzSraywZjZR2giWG08ytNkHKmVvle92pIAM5QTcuBC7vKSiQlHLFNqh6DeMkP5ZkO2lwF5AJo+GWTNbbUt6QkFfsGp2nkEXV2NCCY0xgCe6V5q/SGX1N6OqW1AjoazklVdpVZmj+mQofvZWx5grSbPGplzfZjQiAuLBfGXK8DxP5ZFFIqEFGCnhl7YDLsgd/GcXwCCOWCyb0fynE57DwW7pIoBX+2oVas7SHm338cp/rCDIFJXaiz/y+a/HYX/uwQHBq/rvY6RDOpS+c5T+6IuybWacTVTlytUBjR94CTahDSltpOSaoHg4Z1gLZcKm2Y/8QC3LESdsKPVIqeDsxaxmw0nu4eCKWpPklvVx+hHZODhdYjaGhlV0+s8ps2GL++q4YWYU/ER5eIfw8RN4buhhy0J8tF/t0zF66shq5M6wI8w/NtQuOmJWLYyInYOl+EMeg1XEBx4ord6QE4yUzjkicYZqQ2Zx0KmN0WeF/3/z05mJUGy/qzFgd8YZU/2xD8z5XF8jcDVKjDaBzp/ENPtqgpcHf38D+j8gVCBhBEaeZ1uC98GSjtiZUEvt1EgyrOAZyGGCZeyClfDNfWh/FLItcs68+6SVBc8XkH9JNukD1vkFGyZB/oVOt4I6pcuONPjCmrRqvJ1GrFmqXT1Y+GwbID2c2Oj5yQK/Apzj+OSLJiOn33R3oEUgEsG03YuJUat8IpP5TWgpamuvLpzC9a+j+/7vPM511a7L2pax/8m72xcRfcTuksxOz0AziOO5do1c/oEMARwhnOgb2T7lnxZNpSPK2mcvNpGzyLv8ZYNdpPtI3YPDwi5YUw/0dEZXCbOAAjTVi54/IWkPc2WgA3E7PpLheFJbpxxrXMLGe57GTPNGrd093kZ/3sRYF83CYvVZ2QhiWjZ5F9FDds+jKGA8d6Gaj/AVNk+LhasG6IwH5zgcfZrh95pnN5b7+O2rw0rm+vVFqbq3lToIJYAC3Ce97LkmaHMRnWAzbmWkl6XxMHi2lGU5V3x+wZyGmqCKY7mJ+AmPvoFvnT7/dcPzjmCzuLNGJSdy/EkkyHkAkgUao8gN4v2ihNp7NDRswc9jo1ek3iE5a5Oj7eCrMyYPvTnMdpub9FZVNHgx6xOWzt3mZvL58Y5VNP8fpbtTZJYD+9zM3AwCdRnMhjXvd262Osx+xZIgS0MdfthyVafMSc+s0q7pRTgrfuu/ZOkBROs0XnPi9bqAf6/3KWAUhCsfHXE5cF/gvJ53i28jgGYR37YyIdDxGVzX3XLwEGYvZIKsNia8utOuDTyb1clD2Ef/sS+KbHt2JiQ1SBVKDUFqGcGIqEHfyRVSeBi6vxl2eRdeN6Ucga2oeeNyv3ufQ1hm78lJi/aFfCDRioMbYmB82GwPeHs0s8ZMki4Z9OdPlG6KvLvwiBg0FOUs2D6/9MUrY/nN+R2nPK5WztKe108R+7kA0FbxGhNhppluOZ9XHUz7tT9+SXZUJcI4i2eVv/GyyDOMjnBZpQ3Zr1tI2imgDsGXbyWei70TJnNKPkclvrlsJt+Rd8DI0e/ls9XnQQx+NW0LbfjKX8bO2EF0+eaQ5htpEVNnuWkLd1cUCYj5/CbIehaVg5J0A7H0Z7wS0AgItK3EUFVjEyXsCaEAqvrzIyx9xFgdwdQcRtdOdqJV3amK8ido0/3T6/RCLurPDwPRnQ2pYwNYNOCt50cXujL4/CMUiHnDbIQjpbbJQ0w/nYOrUCafFuvlOcGTv3T4QhokonItflohWjY1a3T8mAJjEoMD4tmFIDEcz11AErfn/RI+wIZAtYX6yYg6ZwMCYZ2YI57VvLaNtv/Z8vD1QGQmKEX2+5K/IQ5P5LeSnjh59KmGWXnnBfI4Pu+mEv6/yeN/9VO+QyLCMLPNde+wr0cktJYnc/x42IsnKCd34hGwxIYsT6LFT1ZCZ/9NF8lCaQ4Zg+f2eNm1YiJHx5pIn18PxxldYPrT9irgvwD3xGp1RkRWxX+47z6daVBWIsPhKJ75Yqd8Zb7oEL9cv0qaie2fZVGOBCYQBys8zPLivTa21b0HJ6X3N5z5fJIfdu6LqoozfEZW8AXqg+soydRkvvFLalO6D9IUJrP7iWE9vBl7CmTh12M4KGJAMj+Rg6cGvy8qaum0eTwm8ED5ejeB6HsyxK8eiTuAj8DdQaw=" title="Mekko Graphics Chart"/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140094" y="1268413"/>
            <a:ext cx="11716944" cy="4969556"/>
          </a:xfrm>
          <a:prstGeom prst="rect">
            <a:avLst/>
          </a:prstGeom>
          <a:blipFill>
            <a:blip r:embed="rId9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0" name="btfpColumnIndicatorGroup2">
            <a:extLst>
              <a:ext uri="{FF2B5EF4-FFF2-40B4-BE49-F238E27FC236}">
                <a16:creationId xmlns:a16="http://schemas.microsoft.com/office/drawing/2014/main" id="{B995238A-E815-4B55-BEDE-EE44B741F42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8" name="btfpColumnGapBlocker891886">
              <a:extLst>
                <a:ext uri="{FF2B5EF4-FFF2-40B4-BE49-F238E27FC236}">
                  <a16:creationId xmlns:a16="http://schemas.microsoft.com/office/drawing/2014/main" id="{1CDEE9DB-CC08-423C-8182-453ADFA302BA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btfpColumnGapBlocker550320">
              <a:extLst>
                <a:ext uri="{FF2B5EF4-FFF2-40B4-BE49-F238E27FC236}">
                  <a16:creationId xmlns:a16="http://schemas.microsoft.com/office/drawing/2014/main" id="{C07FD90B-DCAD-4199-9216-070B36B5E970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4" name="btfpColumnIndicator220941">
              <a:extLst>
                <a:ext uri="{FF2B5EF4-FFF2-40B4-BE49-F238E27FC236}">
                  <a16:creationId xmlns:a16="http://schemas.microsoft.com/office/drawing/2014/main" id="{8A63B388-4952-4667-AA68-924ED2566B52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168536">
              <a:extLst>
                <a:ext uri="{FF2B5EF4-FFF2-40B4-BE49-F238E27FC236}">
                  <a16:creationId xmlns:a16="http://schemas.microsoft.com/office/drawing/2014/main" id="{E2D8A8B2-0152-426E-A945-619D3B452BAF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btfpColumnIndicatorGroup1">
            <a:extLst>
              <a:ext uri="{FF2B5EF4-FFF2-40B4-BE49-F238E27FC236}">
                <a16:creationId xmlns:a16="http://schemas.microsoft.com/office/drawing/2014/main" id="{E0887E7D-0EAD-4D5F-BADF-D89F5F97448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7" name="btfpColumnGapBlocker456268">
              <a:extLst>
                <a:ext uri="{FF2B5EF4-FFF2-40B4-BE49-F238E27FC236}">
                  <a16:creationId xmlns:a16="http://schemas.microsoft.com/office/drawing/2014/main" id="{1F66A2E0-F339-4326-B2F3-E940873168A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btfpColumnGapBlocker994246">
              <a:extLst>
                <a:ext uri="{FF2B5EF4-FFF2-40B4-BE49-F238E27FC236}">
                  <a16:creationId xmlns:a16="http://schemas.microsoft.com/office/drawing/2014/main" id="{E1DF4B89-8C12-4095-8EDA-1812EF088979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3" name="btfpColumnIndicator728536">
              <a:extLst>
                <a:ext uri="{FF2B5EF4-FFF2-40B4-BE49-F238E27FC236}">
                  <a16:creationId xmlns:a16="http://schemas.microsoft.com/office/drawing/2014/main" id="{00A1A74E-56D0-487B-AECC-0A299925DB6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259082">
              <a:extLst>
                <a:ext uri="{FF2B5EF4-FFF2-40B4-BE49-F238E27FC236}">
                  <a16:creationId xmlns:a16="http://schemas.microsoft.com/office/drawing/2014/main" id="{CA20584D-B04B-4B2F-94BA-668480C24631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btfpLayoutConfig" hidden="1"/>
          <p:cNvSpPr txBox="1"/>
          <p:nvPr/>
        </p:nvSpPr>
        <p:spPr bwMode="gray">
          <a:xfrm>
            <a:off x="12700" y="12700"/>
            <a:ext cx="1165951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ll_0_132500342913428507 columns_1_132500342913428507 4_1_132500342913428507 34_0_132500342913428507 7_1_132500342913428507 5_1_132572778776400791 10_1_132597959374508981 </a:t>
            </a:r>
            <a:endParaRPr kumimoji="0" lang="en-US" sz="100" b="0" i="0" u="none" strike="noStrike" kern="1200" cap="none" spc="0" normalizeH="0" baseline="0" noProof="0" err="1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werve has majority of job postings for technical/ field roles in New York and Massachusetts regions; Competitors hire technicians across MSAs in US</a:t>
            </a:r>
          </a:p>
        </p:txBody>
      </p:sp>
      <p:grpSp>
        <p:nvGrpSpPr>
          <p:cNvPr id="43" name="btfpStatusSticker443151">
            <a:extLst>
              <a:ext uri="{FF2B5EF4-FFF2-40B4-BE49-F238E27FC236}">
                <a16:creationId xmlns:a16="http://schemas.microsoft.com/office/drawing/2014/main" id="{F70B1298-D66D-4B46-A915-81CD2656293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102664" y="955344"/>
            <a:ext cx="1759136" cy="235611"/>
            <a:chOff x="10102664" y="955344"/>
            <a:chExt cx="1759136" cy="235611"/>
          </a:xfrm>
        </p:grpSpPr>
        <p:sp>
          <p:nvSpPr>
            <p:cNvPr id="44" name="btfpStatusStickerText443151">
              <a:extLst>
                <a:ext uri="{FF2B5EF4-FFF2-40B4-BE49-F238E27FC236}">
                  <a16:creationId xmlns:a16="http://schemas.microsoft.com/office/drawing/2014/main" id="{F778B632-4F03-49DB-BDCD-793CEDA9F808}"/>
                </a:ext>
              </a:extLst>
            </p:cNvPr>
            <p:cNvSpPr txBox="1"/>
            <p:nvPr/>
          </p:nvSpPr>
          <p:spPr bwMode="gray">
            <a:xfrm>
              <a:off x="10102664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ct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46" name="btfpStatusStickerLine443151">
              <a:extLst>
                <a:ext uri="{FF2B5EF4-FFF2-40B4-BE49-F238E27FC236}">
                  <a16:creationId xmlns:a16="http://schemas.microsoft.com/office/drawing/2014/main" id="{76FAFC93-DF14-4F85-994B-11E71C39685F}"/>
                </a:ext>
              </a:extLst>
            </p:cNvPr>
            <p:cNvCxnSpPr/>
            <p:nvPr/>
          </p:nvCxnSpPr>
          <p:spPr bwMode="gray">
            <a:xfrm rot="720000" flipH="1">
              <a:off x="10102664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" name="Rectangle 69">
            <a:extLst>
              <a:ext uri="{FF2B5EF4-FFF2-40B4-BE49-F238E27FC236}">
                <a16:creationId xmlns:a16="http://schemas.microsoft.com/office/drawing/2014/main" id="{36DACE8E-9A73-4579-9029-152B42C2D5D8}"/>
              </a:ext>
            </a:extLst>
          </p:cNvPr>
          <p:cNvSpPr/>
          <p:nvPr/>
        </p:nvSpPr>
        <p:spPr bwMode="gray">
          <a:xfrm>
            <a:off x="10506303" y="1597231"/>
            <a:ext cx="1017215" cy="4550906"/>
          </a:xfrm>
          <a:prstGeom prst="rect">
            <a:avLst/>
          </a:prstGeom>
          <a:noFill/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grpSp>
        <p:nvGrpSpPr>
          <p:cNvPr id="38" name="btfpRunningAgenda2Level456905">
            <a:extLst>
              <a:ext uri="{FF2B5EF4-FFF2-40B4-BE49-F238E27FC236}">
                <a16:creationId xmlns:a16="http://schemas.microsoft.com/office/drawing/2014/main" id="{E1C193D5-1DA9-40A7-9DF0-4045C469D8E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-1" y="944429"/>
            <a:ext cx="4798039" cy="257442"/>
            <a:chOff x="-1" y="944429"/>
            <a:chExt cx="4798039" cy="257442"/>
          </a:xfrm>
        </p:grpSpPr>
        <p:sp>
          <p:nvSpPr>
            <p:cNvPr id="39" name="btfpRunningAgenda2LevelBarLeft456905">
              <a:extLst>
                <a:ext uri="{FF2B5EF4-FFF2-40B4-BE49-F238E27FC236}">
                  <a16:creationId xmlns:a16="http://schemas.microsoft.com/office/drawing/2014/main" id="{B284BC70-4ACD-4135-96D1-E71BEDF0FB2A}"/>
                </a:ext>
              </a:extLst>
            </p:cNvPr>
            <p:cNvSpPr/>
            <p:nvPr/>
          </p:nvSpPr>
          <p:spPr bwMode="gray">
            <a:xfrm>
              <a:off x="-1" y="944429"/>
              <a:ext cx="2630749" cy="257442"/>
            </a:xfrm>
            <a:custGeom>
              <a:avLst/>
              <a:gdLst>
                <a:gd name="connsiteX0" fmla="*/ 2630748 w 2630748"/>
                <a:gd name="connsiteY0" fmla="*/ 0 h 257442"/>
                <a:gd name="connsiteX1" fmla="*/ 2327780 w 2630748"/>
                <a:gd name="connsiteY1" fmla="*/ 0 h 257442"/>
                <a:gd name="connsiteX2" fmla="*/ 2273059 w 2630748"/>
                <a:gd name="connsiteY2" fmla="*/ 257442 h 257442"/>
                <a:gd name="connsiteX3" fmla="*/ 0 w 2630748"/>
                <a:gd name="connsiteY3" fmla="*/ 257442 h 257442"/>
                <a:gd name="connsiteX0" fmla="*/ 2630748 w 2630748"/>
                <a:gd name="connsiteY0" fmla="*/ 0 h 257442"/>
                <a:gd name="connsiteX1" fmla="*/ 2576026 w 2630748"/>
                <a:gd name="connsiteY1" fmla="*/ 257442 h 257442"/>
                <a:gd name="connsiteX2" fmla="*/ 2273059 w 2630748"/>
                <a:gd name="connsiteY2" fmla="*/ 257442 h 257442"/>
                <a:gd name="connsiteX3" fmla="*/ 0 w 2630748"/>
                <a:gd name="connsiteY3" fmla="*/ 257442 h 257442"/>
                <a:gd name="connsiteX0" fmla="*/ 2630749 w 2630749"/>
                <a:gd name="connsiteY0" fmla="*/ 0 h 257442"/>
                <a:gd name="connsiteX1" fmla="*/ 2576027 w 2630749"/>
                <a:gd name="connsiteY1" fmla="*/ 257442 h 257442"/>
                <a:gd name="connsiteX2" fmla="*/ 0 w 2630749"/>
                <a:gd name="connsiteY2" fmla="*/ 257442 h 257442"/>
                <a:gd name="connsiteX3" fmla="*/ 1 w 2630749"/>
                <a:gd name="connsiteY3" fmla="*/ 257442 h 257442"/>
                <a:gd name="connsiteX0" fmla="*/ 2630749 w 2630749"/>
                <a:gd name="connsiteY0" fmla="*/ 0 h 257442"/>
                <a:gd name="connsiteX1" fmla="*/ 2576027 w 2630749"/>
                <a:gd name="connsiteY1" fmla="*/ 257442 h 257442"/>
                <a:gd name="connsiteX2" fmla="*/ 0 w 2630749"/>
                <a:gd name="connsiteY2" fmla="*/ 257442 h 257442"/>
                <a:gd name="connsiteX3" fmla="*/ 1 w 263074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30749" h="257442">
                  <a:moveTo>
                    <a:pt x="2630749" y="0"/>
                  </a:moveTo>
                  <a:lnTo>
                    <a:pt x="2576027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2" name="btfpRunningAgenda2LevelTextLeft456905">
              <a:extLst>
                <a:ext uri="{FF2B5EF4-FFF2-40B4-BE49-F238E27FC236}">
                  <a16:creationId xmlns:a16="http://schemas.microsoft.com/office/drawing/2014/main" id="{37634B02-051A-4A32-9E29-B5A33118EC3C}"/>
                </a:ext>
              </a:extLst>
            </p:cNvPr>
            <p:cNvSpPr txBox="1"/>
            <p:nvPr/>
          </p:nvSpPr>
          <p:spPr bwMode="gray">
            <a:xfrm>
              <a:off x="0" y="944429"/>
              <a:ext cx="257602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Job postings</a:t>
              </a:r>
            </a:p>
          </p:txBody>
        </p:sp>
        <p:sp>
          <p:nvSpPr>
            <p:cNvPr id="62" name="btfpRunningAgenda2LevelBarRight456905">
              <a:extLst>
                <a:ext uri="{FF2B5EF4-FFF2-40B4-BE49-F238E27FC236}">
                  <a16:creationId xmlns:a16="http://schemas.microsoft.com/office/drawing/2014/main" id="{C76C152C-4E27-4B0D-8D77-CD626E729158}"/>
                </a:ext>
              </a:extLst>
            </p:cNvPr>
            <p:cNvSpPr/>
            <p:nvPr/>
          </p:nvSpPr>
          <p:spPr bwMode="gray">
            <a:xfrm>
              <a:off x="2495906" y="944429"/>
              <a:ext cx="2302132" cy="257442"/>
            </a:xfrm>
            <a:custGeom>
              <a:avLst/>
              <a:gdLst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54722 w 2122597"/>
                <a:gd name="connsiteY3" fmla="*/ 0 h 257442"/>
                <a:gd name="connsiteX0" fmla="*/ 960420 w 2067875"/>
                <a:gd name="connsiteY0" fmla="*/ 0 h 257442"/>
                <a:gd name="connsiteX1" fmla="*/ 2067875 w 2067875"/>
                <a:gd name="connsiteY1" fmla="*/ 257442 h 257442"/>
                <a:gd name="connsiteX2" fmla="*/ 0 w 2067875"/>
                <a:gd name="connsiteY2" fmla="*/ 257442 h 257442"/>
                <a:gd name="connsiteX3" fmla="*/ 54722 w 2067875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0 w 960420"/>
                <a:gd name="connsiteY2" fmla="*/ 257442 h 257442"/>
                <a:gd name="connsiteX3" fmla="*/ 54722 w 960420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782550 w 905698"/>
                <a:gd name="connsiteY0" fmla="*/ 0 h 257442"/>
                <a:gd name="connsiteX1" fmla="*/ 905698 w 905698"/>
                <a:gd name="connsiteY1" fmla="*/ 257442 h 257442"/>
                <a:gd name="connsiteX2" fmla="*/ 0 w 905698"/>
                <a:gd name="connsiteY2" fmla="*/ 257442 h 257442"/>
                <a:gd name="connsiteX3" fmla="*/ 54721 w 905698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1103086 w 1103086"/>
                <a:gd name="connsiteY0" fmla="*/ 0 h 257442"/>
                <a:gd name="connsiteX1" fmla="*/ 727829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532691 w 1532691"/>
                <a:gd name="connsiteY0" fmla="*/ 0 h 257442"/>
                <a:gd name="connsiteX1" fmla="*/ 1216681 w 1532691"/>
                <a:gd name="connsiteY1" fmla="*/ 257442 h 257442"/>
                <a:gd name="connsiteX2" fmla="*/ 0 w 1532691"/>
                <a:gd name="connsiteY2" fmla="*/ 257442 h 257442"/>
                <a:gd name="connsiteX3" fmla="*/ 54721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54721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54721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54721 w 1532691"/>
                <a:gd name="connsiteY3" fmla="*/ 0 h 257442"/>
                <a:gd name="connsiteX0" fmla="*/ 1710625 w 1710625"/>
                <a:gd name="connsiteY0" fmla="*/ 0 h 257442"/>
                <a:gd name="connsiteX1" fmla="*/ 1477970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870925 w 1870925"/>
                <a:gd name="connsiteY0" fmla="*/ 0 h 257442"/>
                <a:gd name="connsiteX1" fmla="*/ 16559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2124199 w 2124199"/>
                <a:gd name="connsiteY0" fmla="*/ 0 h 257442"/>
                <a:gd name="connsiteX1" fmla="*/ 1816204 w 2124199"/>
                <a:gd name="connsiteY1" fmla="*/ 257442 h 257442"/>
                <a:gd name="connsiteX2" fmla="*/ 0 w 2124199"/>
                <a:gd name="connsiteY2" fmla="*/ 257442 h 257442"/>
                <a:gd name="connsiteX3" fmla="*/ 54721 w 2124199"/>
                <a:gd name="connsiteY3" fmla="*/ 0 h 257442"/>
                <a:gd name="connsiteX0" fmla="*/ 2124199 w 2124199"/>
                <a:gd name="connsiteY0" fmla="*/ 0 h 257442"/>
                <a:gd name="connsiteX1" fmla="*/ 2069478 w 2124199"/>
                <a:gd name="connsiteY1" fmla="*/ 257442 h 257442"/>
                <a:gd name="connsiteX2" fmla="*/ 0 w 2124199"/>
                <a:gd name="connsiteY2" fmla="*/ 257442 h 257442"/>
                <a:gd name="connsiteX3" fmla="*/ 54721 w 2124199"/>
                <a:gd name="connsiteY3" fmla="*/ 0 h 257442"/>
                <a:gd name="connsiteX0" fmla="*/ 2124199 w 2124199"/>
                <a:gd name="connsiteY0" fmla="*/ 0 h 257442"/>
                <a:gd name="connsiteX1" fmla="*/ 2069478 w 2124199"/>
                <a:gd name="connsiteY1" fmla="*/ 257442 h 257442"/>
                <a:gd name="connsiteX2" fmla="*/ 0 w 2124199"/>
                <a:gd name="connsiteY2" fmla="*/ 257442 h 257442"/>
                <a:gd name="connsiteX3" fmla="*/ 54721 w 2124199"/>
                <a:gd name="connsiteY3" fmla="*/ 0 h 257442"/>
                <a:gd name="connsiteX0" fmla="*/ 2124199 w 2124199"/>
                <a:gd name="connsiteY0" fmla="*/ 0 h 257442"/>
                <a:gd name="connsiteX1" fmla="*/ 2069478 w 2124199"/>
                <a:gd name="connsiteY1" fmla="*/ 257442 h 257442"/>
                <a:gd name="connsiteX2" fmla="*/ 0 w 2124199"/>
                <a:gd name="connsiteY2" fmla="*/ 257442 h 257442"/>
                <a:gd name="connsiteX3" fmla="*/ 54721 w 2124199"/>
                <a:gd name="connsiteY3" fmla="*/ 0 h 257442"/>
                <a:gd name="connsiteX0" fmla="*/ 2292514 w 2292514"/>
                <a:gd name="connsiteY0" fmla="*/ 0 h 257442"/>
                <a:gd name="connsiteX1" fmla="*/ 2069478 w 2292514"/>
                <a:gd name="connsiteY1" fmla="*/ 257442 h 257442"/>
                <a:gd name="connsiteX2" fmla="*/ 0 w 2292514"/>
                <a:gd name="connsiteY2" fmla="*/ 257442 h 257442"/>
                <a:gd name="connsiteX3" fmla="*/ 54721 w 2292514"/>
                <a:gd name="connsiteY3" fmla="*/ 0 h 257442"/>
                <a:gd name="connsiteX0" fmla="*/ 2292514 w 2292514"/>
                <a:gd name="connsiteY0" fmla="*/ 0 h 257442"/>
                <a:gd name="connsiteX1" fmla="*/ 2237792 w 2292514"/>
                <a:gd name="connsiteY1" fmla="*/ 257442 h 257442"/>
                <a:gd name="connsiteX2" fmla="*/ 0 w 2292514"/>
                <a:gd name="connsiteY2" fmla="*/ 257442 h 257442"/>
                <a:gd name="connsiteX3" fmla="*/ 54721 w 2292514"/>
                <a:gd name="connsiteY3" fmla="*/ 0 h 257442"/>
                <a:gd name="connsiteX0" fmla="*/ 2292515 w 2292515"/>
                <a:gd name="connsiteY0" fmla="*/ 0 h 257442"/>
                <a:gd name="connsiteX1" fmla="*/ 2237793 w 2292515"/>
                <a:gd name="connsiteY1" fmla="*/ 257442 h 257442"/>
                <a:gd name="connsiteX2" fmla="*/ 0 w 2292515"/>
                <a:gd name="connsiteY2" fmla="*/ 257442 h 257442"/>
                <a:gd name="connsiteX3" fmla="*/ 54722 w 2292515"/>
                <a:gd name="connsiteY3" fmla="*/ 0 h 257442"/>
                <a:gd name="connsiteX0" fmla="*/ 2292515 w 2292515"/>
                <a:gd name="connsiteY0" fmla="*/ 0 h 257442"/>
                <a:gd name="connsiteX1" fmla="*/ 2237793 w 2292515"/>
                <a:gd name="connsiteY1" fmla="*/ 257442 h 257442"/>
                <a:gd name="connsiteX2" fmla="*/ 0 w 2292515"/>
                <a:gd name="connsiteY2" fmla="*/ 257442 h 257442"/>
                <a:gd name="connsiteX3" fmla="*/ 54722 w 2292515"/>
                <a:gd name="connsiteY3" fmla="*/ 0 h 257442"/>
                <a:gd name="connsiteX0" fmla="*/ 2470449 w 2470449"/>
                <a:gd name="connsiteY0" fmla="*/ 0 h 257442"/>
                <a:gd name="connsiteX1" fmla="*/ 2237793 w 2470449"/>
                <a:gd name="connsiteY1" fmla="*/ 257442 h 257442"/>
                <a:gd name="connsiteX2" fmla="*/ 0 w 2470449"/>
                <a:gd name="connsiteY2" fmla="*/ 257442 h 257442"/>
                <a:gd name="connsiteX3" fmla="*/ 54722 w 2470449"/>
                <a:gd name="connsiteY3" fmla="*/ 0 h 257442"/>
                <a:gd name="connsiteX0" fmla="*/ 2470449 w 2470449"/>
                <a:gd name="connsiteY0" fmla="*/ 0 h 257442"/>
                <a:gd name="connsiteX1" fmla="*/ 2415728 w 2470449"/>
                <a:gd name="connsiteY1" fmla="*/ 257442 h 257442"/>
                <a:gd name="connsiteX2" fmla="*/ 0 w 2470449"/>
                <a:gd name="connsiteY2" fmla="*/ 257442 h 257442"/>
                <a:gd name="connsiteX3" fmla="*/ 54722 w 2470449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54721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54720 w 2470448"/>
                <a:gd name="connsiteY3" fmla="*/ 0 h 257442"/>
                <a:gd name="connsiteX0" fmla="*/ 2749369 w 2749369"/>
                <a:gd name="connsiteY0" fmla="*/ 0 h 257442"/>
                <a:gd name="connsiteX1" fmla="*/ 2415727 w 2749369"/>
                <a:gd name="connsiteY1" fmla="*/ 257442 h 257442"/>
                <a:gd name="connsiteX2" fmla="*/ 0 w 2749369"/>
                <a:gd name="connsiteY2" fmla="*/ 257442 h 257442"/>
                <a:gd name="connsiteX3" fmla="*/ 54720 w 2749369"/>
                <a:gd name="connsiteY3" fmla="*/ 0 h 257442"/>
                <a:gd name="connsiteX0" fmla="*/ 2749369 w 2749369"/>
                <a:gd name="connsiteY0" fmla="*/ 0 h 257442"/>
                <a:gd name="connsiteX1" fmla="*/ 2694648 w 2749369"/>
                <a:gd name="connsiteY1" fmla="*/ 257442 h 257442"/>
                <a:gd name="connsiteX2" fmla="*/ 0 w 2749369"/>
                <a:gd name="connsiteY2" fmla="*/ 257442 h 257442"/>
                <a:gd name="connsiteX3" fmla="*/ 54720 w 2749369"/>
                <a:gd name="connsiteY3" fmla="*/ 0 h 257442"/>
                <a:gd name="connsiteX0" fmla="*/ 2749370 w 2749370"/>
                <a:gd name="connsiteY0" fmla="*/ 0 h 257442"/>
                <a:gd name="connsiteX1" fmla="*/ 2694649 w 2749370"/>
                <a:gd name="connsiteY1" fmla="*/ 257442 h 257442"/>
                <a:gd name="connsiteX2" fmla="*/ 0 w 2749370"/>
                <a:gd name="connsiteY2" fmla="*/ 257442 h 257442"/>
                <a:gd name="connsiteX3" fmla="*/ 54721 w 2749370"/>
                <a:gd name="connsiteY3" fmla="*/ 0 h 257442"/>
                <a:gd name="connsiteX0" fmla="*/ 2749370 w 2749370"/>
                <a:gd name="connsiteY0" fmla="*/ 0 h 257442"/>
                <a:gd name="connsiteX1" fmla="*/ 2694649 w 2749370"/>
                <a:gd name="connsiteY1" fmla="*/ 257442 h 257442"/>
                <a:gd name="connsiteX2" fmla="*/ 0 w 2749370"/>
                <a:gd name="connsiteY2" fmla="*/ 257442 h 257442"/>
                <a:gd name="connsiteX3" fmla="*/ 54721 w 2749370"/>
                <a:gd name="connsiteY3" fmla="*/ 0 h 257442"/>
                <a:gd name="connsiteX0" fmla="*/ 2909671 w 2909671"/>
                <a:gd name="connsiteY0" fmla="*/ 0 h 257442"/>
                <a:gd name="connsiteX1" fmla="*/ 2694649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3069971 w 3069971"/>
                <a:gd name="connsiteY0" fmla="*/ 0 h 257442"/>
                <a:gd name="connsiteX1" fmla="*/ 28549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238286 w 3238286"/>
                <a:gd name="connsiteY0" fmla="*/ 0 h 257442"/>
                <a:gd name="connsiteX1" fmla="*/ 3015250 w 3238286"/>
                <a:gd name="connsiteY1" fmla="*/ 257442 h 257442"/>
                <a:gd name="connsiteX2" fmla="*/ 0 w 3238286"/>
                <a:gd name="connsiteY2" fmla="*/ 257442 h 257442"/>
                <a:gd name="connsiteX3" fmla="*/ 54721 w 3238286"/>
                <a:gd name="connsiteY3" fmla="*/ 0 h 257442"/>
                <a:gd name="connsiteX0" fmla="*/ 3238286 w 3238286"/>
                <a:gd name="connsiteY0" fmla="*/ 0 h 257442"/>
                <a:gd name="connsiteX1" fmla="*/ 3183564 w 3238286"/>
                <a:gd name="connsiteY1" fmla="*/ 257442 h 257442"/>
                <a:gd name="connsiteX2" fmla="*/ 0 w 3238286"/>
                <a:gd name="connsiteY2" fmla="*/ 257442 h 257442"/>
                <a:gd name="connsiteX3" fmla="*/ 54721 w 3238286"/>
                <a:gd name="connsiteY3" fmla="*/ 0 h 257442"/>
                <a:gd name="connsiteX0" fmla="*/ 3238287 w 3238287"/>
                <a:gd name="connsiteY0" fmla="*/ 0 h 257442"/>
                <a:gd name="connsiteX1" fmla="*/ 3183565 w 3238287"/>
                <a:gd name="connsiteY1" fmla="*/ 257442 h 257442"/>
                <a:gd name="connsiteX2" fmla="*/ 0 w 3238287"/>
                <a:gd name="connsiteY2" fmla="*/ 257442 h 257442"/>
                <a:gd name="connsiteX3" fmla="*/ 54722 w 3238287"/>
                <a:gd name="connsiteY3" fmla="*/ 0 h 257442"/>
                <a:gd name="connsiteX0" fmla="*/ 3238287 w 3238287"/>
                <a:gd name="connsiteY0" fmla="*/ 0 h 257442"/>
                <a:gd name="connsiteX1" fmla="*/ 3183565 w 3238287"/>
                <a:gd name="connsiteY1" fmla="*/ 257442 h 257442"/>
                <a:gd name="connsiteX2" fmla="*/ 0 w 3238287"/>
                <a:gd name="connsiteY2" fmla="*/ 257442 h 257442"/>
                <a:gd name="connsiteX3" fmla="*/ 54722 w 3238287"/>
                <a:gd name="connsiteY3" fmla="*/ 0 h 257442"/>
                <a:gd name="connsiteX0" fmla="*/ 3491561 w 3491561"/>
                <a:gd name="connsiteY0" fmla="*/ 0 h 257442"/>
                <a:gd name="connsiteX1" fmla="*/ 3183565 w 3491561"/>
                <a:gd name="connsiteY1" fmla="*/ 257442 h 257442"/>
                <a:gd name="connsiteX2" fmla="*/ 0 w 3491561"/>
                <a:gd name="connsiteY2" fmla="*/ 257442 h 257442"/>
                <a:gd name="connsiteX3" fmla="*/ 54722 w 3491561"/>
                <a:gd name="connsiteY3" fmla="*/ 0 h 257442"/>
                <a:gd name="connsiteX0" fmla="*/ 3491561 w 3491561"/>
                <a:gd name="connsiteY0" fmla="*/ 0 h 257442"/>
                <a:gd name="connsiteX1" fmla="*/ 3436840 w 3491561"/>
                <a:gd name="connsiteY1" fmla="*/ 257442 h 257442"/>
                <a:gd name="connsiteX2" fmla="*/ 0 w 3491561"/>
                <a:gd name="connsiteY2" fmla="*/ 257442 h 257442"/>
                <a:gd name="connsiteX3" fmla="*/ 54722 w 3491561"/>
                <a:gd name="connsiteY3" fmla="*/ 0 h 257442"/>
                <a:gd name="connsiteX0" fmla="*/ 3491560 w 3491560"/>
                <a:gd name="connsiteY0" fmla="*/ 0 h 257442"/>
                <a:gd name="connsiteX1" fmla="*/ 3436839 w 3491560"/>
                <a:gd name="connsiteY1" fmla="*/ 257442 h 257442"/>
                <a:gd name="connsiteX2" fmla="*/ 0 w 3491560"/>
                <a:gd name="connsiteY2" fmla="*/ 257442 h 257442"/>
                <a:gd name="connsiteX3" fmla="*/ 54721 w 3491560"/>
                <a:gd name="connsiteY3" fmla="*/ 0 h 257442"/>
                <a:gd name="connsiteX0" fmla="*/ 3491560 w 3491560"/>
                <a:gd name="connsiteY0" fmla="*/ 0 h 257442"/>
                <a:gd name="connsiteX1" fmla="*/ 3436839 w 3491560"/>
                <a:gd name="connsiteY1" fmla="*/ 257442 h 257442"/>
                <a:gd name="connsiteX2" fmla="*/ 0 w 3491560"/>
                <a:gd name="connsiteY2" fmla="*/ 257442 h 257442"/>
                <a:gd name="connsiteX3" fmla="*/ 54720 w 3491560"/>
                <a:gd name="connsiteY3" fmla="*/ 0 h 257442"/>
                <a:gd name="connsiteX0" fmla="*/ 3677508 w 3677508"/>
                <a:gd name="connsiteY0" fmla="*/ 0 h 257442"/>
                <a:gd name="connsiteX1" fmla="*/ 3436839 w 3677508"/>
                <a:gd name="connsiteY1" fmla="*/ 257442 h 257442"/>
                <a:gd name="connsiteX2" fmla="*/ 0 w 3677508"/>
                <a:gd name="connsiteY2" fmla="*/ 257442 h 257442"/>
                <a:gd name="connsiteX3" fmla="*/ 54720 w 3677508"/>
                <a:gd name="connsiteY3" fmla="*/ 0 h 257442"/>
                <a:gd name="connsiteX0" fmla="*/ 3677508 w 3677508"/>
                <a:gd name="connsiteY0" fmla="*/ 0 h 257442"/>
                <a:gd name="connsiteX1" fmla="*/ 3622787 w 3677508"/>
                <a:gd name="connsiteY1" fmla="*/ 257442 h 257442"/>
                <a:gd name="connsiteX2" fmla="*/ 0 w 3677508"/>
                <a:gd name="connsiteY2" fmla="*/ 257442 h 257442"/>
                <a:gd name="connsiteX3" fmla="*/ 54720 w 3677508"/>
                <a:gd name="connsiteY3" fmla="*/ 0 h 257442"/>
                <a:gd name="connsiteX0" fmla="*/ 3677509 w 3677509"/>
                <a:gd name="connsiteY0" fmla="*/ 0 h 257442"/>
                <a:gd name="connsiteX1" fmla="*/ 3622788 w 3677509"/>
                <a:gd name="connsiteY1" fmla="*/ 257442 h 257442"/>
                <a:gd name="connsiteX2" fmla="*/ 0 w 3677509"/>
                <a:gd name="connsiteY2" fmla="*/ 257442 h 257442"/>
                <a:gd name="connsiteX3" fmla="*/ 54721 w 3677509"/>
                <a:gd name="connsiteY3" fmla="*/ 0 h 257442"/>
                <a:gd name="connsiteX0" fmla="*/ 3677509 w 3677509"/>
                <a:gd name="connsiteY0" fmla="*/ 0 h 257442"/>
                <a:gd name="connsiteX1" fmla="*/ 3622788 w 3677509"/>
                <a:gd name="connsiteY1" fmla="*/ 257442 h 257442"/>
                <a:gd name="connsiteX2" fmla="*/ 0 w 3677509"/>
                <a:gd name="connsiteY2" fmla="*/ 257442 h 257442"/>
                <a:gd name="connsiteX3" fmla="*/ 54722 w 3677509"/>
                <a:gd name="connsiteY3" fmla="*/ 0 h 257442"/>
                <a:gd name="connsiteX0" fmla="*/ 3837810 w 3837810"/>
                <a:gd name="connsiteY0" fmla="*/ 0 h 257442"/>
                <a:gd name="connsiteX1" fmla="*/ 3622788 w 3837810"/>
                <a:gd name="connsiteY1" fmla="*/ 257442 h 257442"/>
                <a:gd name="connsiteX2" fmla="*/ 0 w 3837810"/>
                <a:gd name="connsiteY2" fmla="*/ 257442 h 257442"/>
                <a:gd name="connsiteX3" fmla="*/ 54722 w 3837810"/>
                <a:gd name="connsiteY3" fmla="*/ 0 h 257442"/>
                <a:gd name="connsiteX0" fmla="*/ 3837810 w 3837810"/>
                <a:gd name="connsiteY0" fmla="*/ 0 h 257442"/>
                <a:gd name="connsiteX1" fmla="*/ 3783088 w 3837810"/>
                <a:gd name="connsiteY1" fmla="*/ 257442 h 257442"/>
                <a:gd name="connsiteX2" fmla="*/ 0 w 3837810"/>
                <a:gd name="connsiteY2" fmla="*/ 257442 h 257442"/>
                <a:gd name="connsiteX3" fmla="*/ 54722 w 3837810"/>
                <a:gd name="connsiteY3" fmla="*/ 0 h 257442"/>
                <a:gd name="connsiteX0" fmla="*/ 3837810 w 3837810"/>
                <a:gd name="connsiteY0" fmla="*/ 0 h 257442"/>
                <a:gd name="connsiteX1" fmla="*/ 3783088 w 3837810"/>
                <a:gd name="connsiteY1" fmla="*/ 257442 h 257442"/>
                <a:gd name="connsiteX2" fmla="*/ 0 w 3837810"/>
                <a:gd name="connsiteY2" fmla="*/ 257442 h 257442"/>
                <a:gd name="connsiteX3" fmla="*/ 54722 w 3837810"/>
                <a:gd name="connsiteY3" fmla="*/ 0 h 257442"/>
                <a:gd name="connsiteX0" fmla="*/ 3837810 w 3837810"/>
                <a:gd name="connsiteY0" fmla="*/ 0 h 257442"/>
                <a:gd name="connsiteX1" fmla="*/ 3783088 w 3837810"/>
                <a:gd name="connsiteY1" fmla="*/ 257442 h 257442"/>
                <a:gd name="connsiteX2" fmla="*/ 0 w 3837810"/>
                <a:gd name="connsiteY2" fmla="*/ 257442 h 257442"/>
                <a:gd name="connsiteX3" fmla="*/ 54721 w 3837810"/>
                <a:gd name="connsiteY3" fmla="*/ 0 h 257442"/>
                <a:gd name="connsiteX0" fmla="*/ 4107113 w 4107113"/>
                <a:gd name="connsiteY0" fmla="*/ 0 h 257442"/>
                <a:gd name="connsiteX1" fmla="*/ 3783088 w 4107113"/>
                <a:gd name="connsiteY1" fmla="*/ 257442 h 257442"/>
                <a:gd name="connsiteX2" fmla="*/ 0 w 4107113"/>
                <a:gd name="connsiteY2" fmla="*/ 257442 h 257442"/>
                <a:gd name="connsiteX3" fmla="*/ 54721 w 4107113"/>
                <a:gd name="connsiteY3" fmla="*/ 0 h 257442"/>
                <a:gd name="connsiteX0" fmla="*/ 4107113 w 4107113"/>
                <a:gd name="connsiteY0" fmla="*/ 0 h 257442"/>
                <a:gd name="connsiteX1" fmla="*/ 4052392 w 4107113"/>
                <a:gd name="connsiteY1" fmla="*/ 257442 h 257442"/>
                <a:gd name="connsiteX2" fmla="*/ 0 w 4107113"/>
                <a:gd name="connsiteY2" fmla="*/ 257442 h 257442"/>
                <a:gd name="connsiteX3" fmla="*/ 54721 w 4107113"/>
                <a:gd name="connsiteY3" fmla="*/ 0 h 257442"/>
                <a:gd name="connsiteX0" fmla="*/ 4107113 w 4107113"/>
                <a:gd name="connsiteY0" fmla="*/ 0 h 257442"/>
                <a:gd name="connsiteX1" fmla="*/ 4052392 w 4107113"/>
                <a:gd name="connsiteY1" fmla="*/ 257442 h 257442"/>
                <a:gd name="connsiteX2" fmla="*/ 0 w 4107113"/>
                <a:gd name="connsiteY2" fmla="*/ 257442 h 257442"/>
                <a:gd name="connsiteX3" fmla="*/ 54721 w 4107113"/>
                <a:gd name="connsiteY3" fmla="*/ 0 h 257442"/>
                <a:gd name="connsiteX0" fmla="*/ 4107113 w 4107113"/>
                <a:gd name="connsiteY0" fmla="*/ 0 h 257442"/>
                <a:gd name="connsiteX1" fmla="*/ 4052392 w 4107113"/>
                <a:gd name="connsiteY1" fmla="*/ 257442 h 257442"/>
                <a:gd name="connsiteX2" fmla="*/ 0 w 4107113"/>
                <a:gd name="connsiteY2" fmla="*/ 257442 h 257442"/>
                <a:gd name="connsiteX3" fmla="*/ 54721 w 4107113"/>
                <a:gd name="connsiteY3" fmla="*/ 0 h 257442"/>
                <a:gd name="connsiteX0" fmla="*/ 3946813 w 4052392"/>
                <a:gd name="connsiteY0" fmla="*/ 0 h 257442"/>
                <a:gd name="connsiteX1" fmla="*/ 4052392 w 4052392"/>
                <a:gd name="connsiteY1" fmla="*/ 257442 h 257442"/>
                <a:gd name="connsiteX2" fmla="*/ 0 w 4052392"/>
                <a:gd name="connsiteY2" fmla="*/ 257442 h 257442"/>
                <a:gd name="connsiteX3" fmla="*/ 54721 w 4052392"/>
                <a:gd name="connsiteY3" fmla="*/ 0 h 257442"/>
                <a:gd name="connsiteX0" fmla="*/ 3946813 w 3946813"/>
                <a:gd name="connsiteY0" fmla="*/ 0 h 257442"/>
                <a:gd name="connsiteX1" fmla="*/ 3892092 w 3946813"/>
                <a:gd name="connsiteY1" fmla="*/ 257442 h 257442"/>
                <a:gd name="connsiteX2" fmla="*/ 0 w 3946813"/>
                <a:gd name="connsiteY2" fmla="*/ 257442 h 257442"/>
                <a:gd name="connsiteX3" fmla="*/ 54721 w 3946813"/>
                <a:gd name="connsiteY3" fmla="*/ 0 h 257442"/>
                <a:gd name="connsiteX0" fmla="*/ 3946812 w 3946812"/>
                <a:gd name="connsiteY0" fmla="*/ 0 h 257442"/>
                <a:gd name="connsiteX1" fmla="*/ 3892091 w 3946812"/>
                <a:gd name="connsiteY1" fmla="*/ 257442 h 257442"/>
                <a:gd name="connsiteX2" fmla="*/ 0 w 3946812"/>
                <a:gd name="connsiteY2" fmla="*/ 257442 h 257442"/>
                <a:gd name="connsiteX3" fmla="*/ 54720 w 3946812"/>
                <a:gd name="connsiteY3" fmla="*/ 0 h 257442"/>
                <a:gd name="connsiteX0" fmla="*/ 3946812 w 3946812"/>
                <a:gd name="connsiteY0" fmla="*/ 0 h 257442"/>
                <a:gd name="connsiteX1" fmla="*/ 3892091 w 3946812"/>
                <a:gd name="connsiteY1" fmla="*/ 257442 h 257442"/>
                <a:gd name="connsiteX2" fmla="*/ 0 w 3946812"/>
                <a:gd name="connsiteY2" fmla="*/ 257442 h 257442"/>
                <a:gd name="connsiteX3" fmla="*/ 54720 w 3946812"/>
                <a:gd name="connsiteY3" fmla="*/ 0 h 257442"/>
                <a:gd name="connsiteX0" fmla="*/ 3760864 w 3892091"/>
                <a:gd name="connsiteY0" fmla="*/ 0 h 257442"/>
                <a:gd name="connsiteX1" fmla="*/ 3892091 w 3892091"/>
                <a:gd name="connsiteY1" fmla="*/ 257442 h 257442"/>
                <a:gd name="connsiteX2" fmla="*/ 0 w 3892091"/>
                <a:gd name="connsiteY2" fmla="*/ 257442 h 257442"/>
                <a:gd name="connsiteX3" fmla="*/ 54720 w 3892091"/>
                <a:gd name="connsiteY3" fmla="*/ 0 h 257442"/>
                <a:gd name="connsiteX0" fmla="*/ 3760864 w 3760864"/>
                <a:gd name="connsiteY0" fmla="*/ 0 h 257442"/>
                <a:gd name="connsiteX1" fmla="*/ 3706144 w 3760864"/>
                <a:gd name="connsiteY1" fmla="*/ 257442 h 257442"/>
                <a:gd name="connsiteX2" fmla="*/ 0 w 3760864"/>
                <a:gd name="connsiteY2" fmla="*/ 257442 h 257442"/>
                <a:gd name="connsiteX3" fmla="*/ 54720 w 3760864"/>
                <a:gd name="connsiteY3" fmla="*/ 0 h 257442"/>
                <a:gd name="connsiteX0" fmla="*/ 3760864 w 3760864"/>
                <a:gd name="connsiteY0" fmla="*/ 0 h 257442"/>
                <a:gd name="connsiteX1" fmla="*/ 3706144 w 3760864"/>
                <a:gd name="connsiteY1" fmla="*/ 257442 h 257442"/>
                <a:gd name="connsiteX2" fmla="*/ 0 w 3760864"/>
                <a:gd name="connsiteY2" fmla="*/ 257442 h 257442"/>
                <a:gd name="connsiteX3" fmla="*/ 54720 w 3760864"/>
                <a:gd name="connsiteY3" fmla="*/ 0 h 257442"/>
                <a:gd name="connsiteX0" fmla="*/ 3760864 w 3760864"/>
                <a:gd name="connsiteY0" fmla="*/ 0 h 257442"/>
                <a:gd name="connsiteX1" fmla="*/ 3706144 w 3760864"/>
                <a:gd name="connsiteY1" fmla="*/ 257442 h 257442"/>
                <a:gd name="connsiteX2" fmla="*/ 0 w 3760864"/>
                <a:gd name="connsiteY2" fmla="*/ 257442 h 257442"/>
                <a:gd name="connsiteX3" fmla="*/ 54721 w 3760864"/>
                <a:gd name="connsiteY3" fmla="*/ 0 h 257442"/>
                <a:gd name="connsiteX0" fmla="*/ 3507590 w 3706144"/>
                <a:gd name="connsiteY0" fmla="*/ 0 h 257442"/>
                <a:gd name="connsiteX1" fmla="*/ 3706144 w 3706144"/>
                <a:gd name="connsiteY1" fmla="*/ 257442 h 257442"/>
                <a:gd name="connsiteX2" fmla="*/ 0 w 3706144"/>
                <a:gd name="connsiteY2" fmla="*/ 257442 h 257442"/>
                <a:gd name="connsiteX3" fmla="*/ 54721 w 3706144"/>
                <a:gd name="connsiteY3" fmla="*/ 0 h 257442"/>
                <a:gd name="connsiteX0" fmla="*/ 3507590 w 3507590"/>
                <a:gd name="connsiteY0" fmla="*/ 0 h 257442"/>
                <a:gd name="connsiteX1" fmla="*/ 3452869 w 3507590"/>
                <a:gd name="connsiteY1" fmla="*/ 257442 h 257442"/>
                <a:gd name="connsiteX2" fmla="*/ 0 w 3507590"/>
                <a:gd name="connsiteY2" fmla="*/ 257442 h 257442"/>
                <a:gd name="connsiteX3" fmla="*/ 54721 w 3507590"/>
                <a:gd name="connsiteY3" fmla="*/ 0 h 257442"/>
                <a:gd name="connsiteX0" fmla="*/ 3507590 w 3507590"/>
                <a:gd name="connsiteY0" fmla="*/ 0 h 257442"/>
                <a:gd name="connsiteX1" fmla="*/ 3452869 w 3507590"/>
                <a:gd name="connsiteY1" fmla="*/ 257442 h 257442"/>
                <a:gd name="connsiteX2" fmla="*/ 0 w 3507590"/>
                <a:gd name="connsiteY2" fmla="*/ 257442 h 257442"/>
                <a:gd name="connsiteX3" fmla="*/ 54721 w 3507590"/>
                <a:gd name="connsiteY3" fmla="*/ 0 h 257442"/>
                <a:gd name="connsiteX0" fmla="*/ 3507590 w 3507590"/>
                <a:gd name="connsiteY0" fmla="*/ 0 h 257442"/>
                <a:gd name="connsiteX1" fmla="*/ 3452869 w 3507590"/>
                <a:gd name="connsiteY1" fmla="*/ 257442 h 257442"/>
                <a:gd name="connsiteX2" fmla="*/ 0 w 3507590"/>
                <a:gd name="connsiteY2" fmla="*/ 257442 h 257442"/>
                <a:gd name="connsiteX3" fmla="*/ 54721 w 3507590"/>
                <a:gd name="connsiteY3" fmla="*/ 0 h 257442"/>
                <a:gd name="connsiteX0" fmla="*/ 3230271 w 3452869"/>
                <a:gd name="connsiteY0" fmla="*/ 0 h 257442"/>
                <a:gd name="connsiteX1" fmla="*/ 3452869 w 3452869"/>
                <a:gd name="connsiteY1" fmla="*/ 257442 h 257442"/>
                <a:gd name="connsiteX2" fmla="*/ 0 w 3452869"/>
                <a:gd name="connsiteY2" fmla="*/ 257442 h 257442"/>
                <a:gd name="connsiteX3" fmla="*/ 54721 w 3452869"/>
                <a:gd name="connsiteY3" fmla="*/ 0 h 257442"/>
                <a:gd name="connsiteX0" fmla="*/ 3230271 w 3230271"/>
                <a:gd name="connsiteY0" fmla="*/ 0 h 257442"/>
                <a:gd name="connsiteX1" fmla="*/ 3175551 w 3230271"/>
                <a:gd name="connsiteY1" fmla="*/ 257442 h 257442"/>
                <a:gd name="connsiteX2" fmla="*/ 0 w 3230271"/>
                <a:gd name="connsiteY2" fmla="*/ 257442 h 257442"/>
                <a:gd name="connsiteX3" fmla="*/ 54721 w 3230271"/>
                <a:gd name="connsiteY3" fmla="*/ 0 h 257442"/>
                <a:gd name="connsiteX0" fmla="*/ 3230270 w 3230270"/>
                <a:gd name="connsiteY0" fmla="*/ 0 h 257442"/>
                <a:gd name="connsiteX1" fmla="*/ 3175550 w 3230270"/>
                <a:gd name="connsiteY1" fmla="*/ 257442 h 257442"/>
                <a:gd name="connsiteX2" fmla="*/ 0 w 3230270"/>
                <a:gd name="connsiteY2" fmla="*/ 257442 h 257442"/>
                <a:gd name="connsiteX3" fmla="*/ 54720 w 3230270"/>
                <a:gd name="connsiteY3" fmla="*/ 0 h 257442"/>
                <a:gd name="connsiteX0" fmla="*/ 3230270 w 3230270"/>
                <a:gd name="connsiteY0" fmla="*/ 0 h 257442"/>
                <a:gd name="connsiteX1" fmla="*/ 3175550 w 3230270"/>
                <a:gd name="connsiteY1" fmla="*/ 257442 h 257442"/>
                <a:gd name="connsiteX2" fmla="*/ 0 w 3230270"/>
                <a:gd name="connsiteY2" fmla="*/ 257442 h 257442"/>
                <a:gd name="connsiteX3" fmla="*/ 54720 w 3230270"/>
                <a:gd name="connsiteY3" fmla="*/ 0 h 257442"/>
                <a:gd name="connsiteX0" fmla="*/ 3069970 w 3175550"/>
                <a:gd name="connsiteY0" fmla="*/ 0 h 257442"/>
                <a:gd name="connsiteX1" fmla="*/ 3175550 w 3175550"/>
                <a:gd name="connsiteY1" fmla="*/ 257442 h 257442"/>
                <a:gd name="connsiteX2" fmla="*/ 0 w 3175550"/>
                <a:gd name="connsiteY2" fmla="*/ 257442 h 257442"/>
                <a:gd name="connsiteX3" fmla="*/ 54720 w 3175550"/>
                <a:gd name="connsiteY3" fmla="*/ 0 h 257442"/>
                <a:gd name="connsiteX0" fmla="*/ 3069970 w 3069970"/>
                <a:gd name="connsiteY0" fmla="*/ 0 h 257442"/>
                <a:gd name="connsiteX1" fmla="*/ 3015249 w 3069970"/>
                <a:gd name="connsiteY1" fmla="*/ 257442 h 257442"/>
                <a:gd name="connsiteX2" fmla="*/ 0 w 3069970"/>
                <a:gd name="connsiteY2" fmla="*/ 257442 h 257442"/>
                <a:gd name="connsiteX3" fmla="*/ 54720 w 3069970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2 w 3069971"/>
                <a:gd name="connsiteY3" fmla="*/ 0 h 257442"/>
                <a:gd name="connsiteX0" fmla="*/ 2909672 w 3015250"/>
                <a:gd name="connsiteY0" fmla="*/ 0 h 257442"/>
                <a:gd name="connsiteX1" fmla="*/ 3015250 w 3015250"/>
                <a:gd name="connsiteY1" fmla="*/ 257442 h 257442"/>
                <a:gd name="connsiteX2" fmla="*/ 0 w 3015250"/>
                <a:gd name="connsiteY2" fmla="*/ 257442 h 257442"/>
                <a:gd name="connsiteX3" fmla="*/ 54722 w 3015250"/>
                <a:gd name="connsiteY3" fmla="*/ 0 h 257442"/>
                <a:gd name="connsiteX0" fmla="*/ 2909672 w 2909672"/>
                <a:gd name="connsiteY0" fmla="*/ 0 h 257442"/>
                <a:gd name="connsiteX1" fmla="*/ 2854951 w 2909672"/>
                <a:gd name="connsiteY1" fmla="*/ 257442 h 257442"/>
                <a:gd name="connsiteX2" fmla="*/ 0 w 2909672"/>
                <a:gd name="connsiteY2" fmla="*/ 257442 h 257442"/>
                <a:gd name="connsiteX3" fmla="*/ 54722 w 2909672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731737 w 2854950"/>
                <a:gd name="connsiteY0" fmla="*/ 0 h 257442"/>
                <a:gd name="connsiteX1" fmla="*/ 2854950 w 2854950"/>
                <a:gd name="connsiteY1" fmla="*/ 257442 h 257442"/>
                <a:gd name="connsiteX2" fmla="*/ 0 w 2854950"/>
                <a:gd name="connsiteY2" fmla="*/ 257442 h 257442"/>
                <a:gd name="connsiteX3" fmla="*/ 54721 w 2854950"/>
                <a:gd name="connsiteY3" fmla="*/ 0 h 257442"/>
                <a:gd name="connsiteX0" fmla="*/ 2731737 w 2731737"/>
                <a:gd name="connsiteY0" fmla="*/ 0 h 257442"/>
                <a:gd name="connsiteX1" fmla="*/ 2677016 w 2731737"/>
                <a:gd name="connsiteY1" fmla="*/ 257442 h 257442"/>
                <a:gd name="connsiteX2" fmla="*/ 0 w 2731737"/>
                <a:gd name="connsiteY2" fmla="*/ 257442 h 257442"/>
                <a:gd name="connsiteX3" fmla="*/ 54721 w 2731737"/>
                <a:gd name="connsiteY3" fmla="*/ 0 h 257442"/>
                <a:gd name="connsiteX0" fmla="*/ 2731736 w 2731736"/>
                <a:gd name="connsiteY0" fmla="*/ 0 h 257442"/>
                <a:gd name="connsiteX1" fmla="*/ 2677015 w 2731736"/>
                <a:gd name="connsiteY1" fmla="*/ 257442 h 257442"/>
                <a:gd name="connsiteX2" fmla="*/ 0 w 2731736"/>
                <a:gd name="connsiteY2" fmla="*/ 257442 h 257442"/>
                <a:gd name="connsiteX3" fmla="*/ 54720 w 2731736"/>
                <a:gd name="connsiteY3" fmla="*/ 0 h 257442"/>
                <a:gd name="connsiteX0" fmla="*/ 2731736 w 2731736"/>
                <a:gd name="connsiteY0" fmla="*/ 0 h 257442"/>
                <a:gd name="connsiteX1" fmla="*/ 2677015 w 2731736"/>
                <a:gd name="connsiteY1" fmla="*/ 257442 h 257442"/>
                <a:gd name="connsiteX2" fmla="*/ 0 w 2731736"/>
                <a:gd name="connsiteY2" fmla="*/ 257442 h 257442"/>
                <a:gd name="connsiteX3" fmla="*/ 54720 w 2731736"/>
                <a:gd name="connsiteY3" fmla="*/ 0 h 257442"/>
                <a:gd name="connsiteX0" fmla="*/ 2900052 w 2900052"/>
                <a:gd name="connsiteY0" fmla="*/ 0 h 257442"/>
                <a:gd name="connsiteX1" fmla="*/ 2677015 w 2900052"/>
                <a:gd name="connsiteY1" fmla="*/ 257442 h 257442"/>
                <a:gd name="connsiteX2" fmla="*/ 0 w 2900052"/>
                <a:gd name="connsiteY2" fmla="*/ 257442 h 257442"/>
                <a:gd name="connsiteX3" fmla="*/ 54720 w 2900052"/>
                <a:gd name="connsiteY3" fmla="*/ 0 h 257442"/>
                <a:gd name="connsiteX0" fmla="*/ 2900052 w 2900052"/>
                <a:gd name="connsiteY0" fmla="*/ 0 h 257442"/>
                <a:gd name="connsiteX1" fmla="*/ 2845331 w 2900052"/>
                <a:gd name="connsiteY1" fmla="*/ 257442 h 257442"/>
                <a:gd name="connsiteX2" fmla="*/ 0 w 2900052"/>
                <a:gd name="connsiteY2" fmla="*/ 257442 h 257442"/>
                <a:gd name="connsiteX3" fmla="*/ 54720 w 2900052"/>
                <a:gd name="connsiteY3" fmla="*/ 0 h 257442"/>
                <a:gd name="connsiteX0" fmla="*/ 2900053 w 2900053"/>
                <a:gd name="connsiteY0" fmla="*/ 0 h 257442"/>
                <a:gd name="connsiteX1" fmla="*/ 2845332 w 2900053"/>
                <a:gd name="connsiteY1" fmla="*/ 257442 h 257442"/>
                <a:gd name="connsiteX2" fmla="*/ 0 w 2900053"/>
                <a:gd name="connsiteY2" fmla="*/ 257442 h 257442"/>
                <a:gd name="connsiteX3" fmla="*/ 54721 w 2900053"/>
                <a:gd name="connsiteY3" fmla="*/ 0 h 257442"/>
                <a:gd name="connsiteX0" fmla="*/ 2900053 w 2900053"/>
                <a:gd name="connsiteY0" fmla="*/ 0 h 257442"/>
                <a:gd name="connsiteX1" fmla="*/ 2845332 w 2900053"/>
                <a:gd name="connsiteY1" fmla="*/ 257442 h 257442"/>
                <a:gd name="connsiteX2" fmla="*/ 0 w 2900053"/>
                <a:gd name="connsiteY2" fmla="*/ 257442 h 257442"/>
                <a:gd name="connsiteX3" fmla="*/ 54722 w 2900053"/>
                <a:gd name="connsiteY3" fmla="*/ 0 h 257442"/>
                <a:gd name="connsiteX0" fmla="*/ 3060354 w 3060354"/>
                <a:gd name="connsiteY0" fmla="*/ 0 h 257442"/>
                <a:gd name="connsiteX1" fmla="*/ 2845332 w 3060354"/>
                <a:gd name="connsiteY1" fmla="*/ 257442 h 257442"/>
                <a:gd name="connsiteX2" fmla="*/ 0 w 3060354"/>
                <a:gd name="connsiteY2" fmla="*/ 257442 h 257442"/>
                <a:gd name="connsiteX3" fmla="*/ 54722 w 3060354"/>
                <a:gd name="connsiteY3" fmla="*/ 0 h 257442"/>
                <a:gd name="connsiteX0" fmla="*/ 3060354 w 3060354"/>
                <a:gd name="connsiteY0" fmla="*/ 0 h 257442"/>
                <a:gd name="connsiteX1" fmla="*/ 3005632 w 3060354"/>
                <a:gd name="connsiteY1" fmla="*/ 257442 h 257442"/>
                <a:gd name="connsiteX2" fmla="*/ 0 w 3060354"/>
                <a:gd name="connsiteY2" fmla="*/ 257442 h 257442"/>
                <a:gd name="connsiteX3" fmla="*/ 54722 w 3060354"/>
                <a:gd name="connsiteY3" fmla="*/ 0 h 257442"/>
                <a:gd name="connsiteX0" fmla="*/ 3060354 w 3060354"/>
                <a:gd name="connsiteY0" fmla="*/ 0 h 257442"/>
                <a:gd name="connsiteX1" fmla="*/ 3005632 w 3060354"/>
                <a:gd name="connsiteY1" fmla="*/ 257442 h 257442"/>
                <a:gd name="connsiteX2" fmla="*/ 0 w 3060354"/>
                <a:gd name="connsiteY2" fmla="*/ 257442 h 257442"/>
                <a:gd name="connsiteX3" fmla="*/ 54722 w 3060354"/>
                <a:gd name="connsiteY3" fmla="*/ 0 h 257442"/>
                <a:gd name="connsiteX0" fmla="*/ 3060354 w 3060354"/>
                <a:gd name="connsiteY0" fmla="*/ 0 h 257442"/>
                <a:gd name="connsiteX1" fmla="*/ 3005632 w 3060354"/>
                <a:gd name="connsiteY1" fmla="*/ 257442 h 257442"/>
                <a:gd name="connsiteX2" fmla="*/ 0 w 3060354"/>
                <a:gd name="connsiteY2" fmla="*/ 257442 h 257442"/>
                <a:gd name="connsiteX3" fmla="*/ 54721 w 3060354"/>
                <a:gd name="connsiteY3" fmla="*/ 0 h 257442"/>
                <a:gd name="connsiteX0" fmla="*/ 3336518 w 3336518"/>
                <a:gd name="connsiteY0" fmla="*/ 0 h 257442"/>
                <a:gd name="connsiteX1" fmla="*/ 3005632 w 3336518"/>
                <a:gd name="connsiteY1" fmla="*/ 257442 h 257442"/>
                <a:gd name="connsiteX2" fmla="*/ 0 w 3336518"/>
                <a:gd name="connsiteY2" fmla="*/ 257442 h 257442"/>
                <a:gd name="connsiteX3" fmla="*/ 54721 w 3336518"/>
                <a:gd name="connsiteY3" fmla="*/ 0 h 257442"/>
                <a:gd name="connsiteX0" fmla="*/ 3336518 w 3336518"/>
                <a:gd name="connsiteY0" fmla="*/ 0 h 257442"/>
                <a:gd name="connsiteX1" fmla="*/ 3281797 w 3336518"/>
                <a:gd name="connsiteY1" fmla="*/ 257442 h 257442"/>
                <a:gd name="connsiteX2" fmla="*/ 0 w 3336518"/>
                <a:gd name="connsiteY2" fmla="*/ 257442 h 257442"/>
                <a:gd name="connsiteX3" fmla="*/ 54721 w 3336518"/>
                <a:gd name="connsiteY3" fmla="*/ 0 h 257442"/>
                <a:gd name="connsiteX0" fmla="*/ 3336518 w 3336518"/>
                <a:gd name="connsiteY0" fmla="*/ 0 h 257442"/>
                <a:gd name="connsiteX1" fmla="*/ 3281797 w 3336518"/>
                <a:gd name="connsiteY1" fmla="*/ 257442 h 257442"/>
                <a:gd name="connsiteX2" fmla="*/ 0 w 3336518"/>
                <a:gd name="connsiteY2" fmla="*/ 257442 h 257442"/>
                <a:gd name="connsiteX3" fmla="*/ 54721 w 3336518"/>
                <a:gd name="connsiteY3" fmla="*/ 0 h 257442"/>
                <a:gd name="connsiteX0" fmla="*/ 3336518 w 3336518"/>
                <a:gd name="connsiteY0" fmla="*/ 0 h 257442"/>
                <a:gd name="connsiteX1" fmla="*/ 3281797 w 3336518"/>
                <a:gd name="connsiteY1" fmla="*/ 257442 h 257442"/>
                <a:gd name="connsiteX2" fmla="*/ 0 w 3336518"/>
                <a:gd name="connsiteY2" fmla="*/ 257442 h 257442"/>
                <a:gd name="connsiteX3" fmla="*/ 54721 w 3336518"/>
                <a:gd name="connsiteY3" fmla="*/ 0 h 257442"/>
                <a:gd name="connsiteX0" fmla="*/ 3496818 w 3496818"/>
                <a:gd name="connsiteY0" fmla="*/ 0 h 257442"/>
                <a:gd name="connsiteX1" fmla="*/ 3281797 w 3496818"/>
                <a:gd name="connsiteY1" fmla="*/ 257442 h 257442"/>
                <a:gd name="connsiteX2" fmla="*/ 0 w 3496818"/>
                <a:gd name="connsiteY2" fmla="*/ 257442 h 257442"/>
                <a:gd name="connsiteX3" fmla="*/ 54721 w 3496818"/>
                <a:gd name="connsiteY3" fmla="*/ 0 h 257442"/>
                <a:gd name="connsiteX0" fmla="*/ 3496818 w 3496818"/>
                <a:gd name="connsiteY0" fmla="*/ 0 h 257442"/>
                <a:gd name="connsiteX1" fmla="*/ 3442097 w 3496818"/>
                <a:gd name="connsiteY1" fmla="*/ 257442 h 257442"/>
                <a:gd name="connsiteX2" fmla="*/ 0 w 3496818"/>
                <a:gd name="connsiteY2" fmla="*/ 257442 h 257442"/>
                <a:gd name="connsiteX3" fmla="*/ 54721 w 3496818"/>
                <a:gd name="connsiteY3" fmla="*/ 0 h 257442"/>
                <a:gd name="connsiteX0" fmla="*/ 3496818 w 3496818"/>
                <a:gd name="connsiteY0" fmla="*/ 0 h 257442"/>
                <a:gd name="connsiteX1" fmla="*/ 3442097 w 3496818"/>
                <a:gd name="connsiteY1" fmla="*/ 257442 h 257442"/>
                <a:gd name="connsiteX2" fmla="*/ 0 w 3496818"/>
                <a:gd name="connsiteY2" fmla="*/ 257442 h 257442"/>
                <a:gd name="connsiteX3" fmla="*/ 54721 w 3496818"/>
                <a:gd name="connsiteY3" fmla="*/ 0 h 257442"/>
                <a:gd name="connsiteX0" fmla="*/ 3496818 w 3496818"/>
                <a:gd name="connsiteY0" fmla="*/ 0 h 257442"/>
                <a:gd name="connsiteX1" fmla="*/ 3442097 w 3496818"/>
                <a:gd name="connsiteY1" fmla="*/ 257442 h 257442"/>
                <a:gd name="connsiteX2" fmla="*/ 0 w 3496818"/>
                <a:gd name="connsiteY2" fmla="*/ 257442 h 257442"/>
                <a:gd name="connsiteX3" fmla="*/ 54721 w 3496818"/>
                <a:gd name="connsiteY3" fmla="*/ 0 h 257442"/>
                <a:gd name="connsiteX0" fmla="*/ 3674752 w 3674752"/>
                <a:gd name="connsiteY0" fmla="*/ 0 h 257442"/>
                <a:gd name="connsiteX1" fmla="*/ 3442097 w 3674752"/>
                <a:gd name="connsiteY1" fmla="*/ 257442 h 257442"/>
                <a:gd name="connsiteX2" fmla="*/ 0 w 3674752"/>
                <a:gd name="connsiteY2" fmla="*/ 257442 h 257442"/>
                <a:gd name="connsiteX3" fmla="*/ 54721 w 3674752"/>
                <a:gd name="connsiteY3" fmla="*/ 0 h 257442"/>
                <a:gd name="connsiteX0" fmla="*/ 3674752 w 3674752"/>
                <a:gd name="connsiteY0" fmla="*/ 0 h 257442"/>
                <a:gd name="connsiteX1" fmla="*/ 3620031 w 3674752"/>
                <a:gd name="connsiteY1" fmla="*/ 257442 h 257442"/>
                <a:gd name="connsiteX2" fmla="*/ 0 w 3674752"/>
                <a:gd name="connsiteY2" fmla="*/ 257442 h 257442"/>
                <a:gd name="connsiteX3" fmla="*/ 54721 w 3674752"/>
                <a:gd name="connsiteY3" fmla="*/ 0 h 257442"/>
                <a:gd name="connsiteX0" fmla="*/ 3674752 w 3674752"/>
                <a:gd name="connsiteY0" fmla="*/ 0 h 257442"/>
                <a:gd name="connsiteX1" fmla="*/ 3620031 w 3674752"/>
                <a:gd name="connsiteY1" fmla="*/ 257442 h 257442"/>
                <a:gd name="connsiteX2" fmla="*/ 0 w 3674752"/>
                <a:gd name="connsiteY2" fmla="*/ 257442 h 257442"/>
                <a:gd name="connsiteX3" fmla="*/ 54721 w 3674752"/>
                <a:gd name="connsiteY3" fmla="*/ 0 h 257442"/>
                <a:gd name="connsiteX0" fmla="*/ 3674752 w 3674752"/>
                <a:gd name="connsiteY0" fmla="*/ 0 h 257442"/>
                <a:gd name="connsiteX1" fmla="*/ 3620031 w 3674752"/>
                <a:gd name="connsiteY1" fmla="*/ 257442 h 257442"/>
                <a:gd name="connsiteX2" fmla="*/ 0 w 3674752"/>
                <a:gd name="connsiteY2" fmla="*/ 257442 h 257442"/>
                <a:gd name="connsiteX3" fmla="*/ 54721 w 3674752"/>
                <a:gd name="connsiteY3" fmla="*/ 0 h 257442"/>
                <a:gd name="connsiteX0" fmla="*/ 3852685 w 3852685"/>
                <a:gd name="connsiteY0" fmla="*/ 0 h 257442"/>
                <a:gd name="connsiteX1" fmla="*/ 3620031 w 3852685"/>
                <a:gd name="connsiteY1" fmla="*/ 257442 h 257442"/>
                <a:gd name="connsiteX2" fmla="*/ 0 w 3852685"/>
                <a:gd name="connsiteY2" fmla="*/ 257442 h 257442"/>
                <a:gd name="connsiteX3" fmla="*/ 54721 w 3852685"/>
                <a:gd name="connsiteY3" fmla="*/ 0 h 257442"/>
                <a:gd name="connsiteX0" fmla="*/ 3852685 w 3852685"/>
                <a:gd name="connsiteY0" fmla="*/ 0 h 257442"/>
                <a:gd name="connsiteX1" fmla="*/ 3797964 w 3852685"/>
                <a:gd name="connsiteY1" fmla="*/ 257442 h 257442"/>
                <a:gd name="connsiteX2" fmla="*/ 0 w 3852685"/>
                <a:gd name="connsiteY2" fmla="*/ 257442 h 257442"/>
                <a:gd name="connsiteX3" fmla="*/ 54721 w 3852685"/>
                <a:gd name="connsiteY3" fmla="*/ 0 h 257442"/>
                <a:gd name="connsiteX0" fmla="*/ 3852685 w 3852685"/>
                <a:gd name="connsiteY0" fmla="*/ 0 h 257442"/>
                <a:gd name="connsiteX1" fmla="*/ 3797964 w 3852685"/>
                <a:gd name="connsiteY1" fmla="*/ 257442 h 257442"/>
                <a:gd name="connsiteX2" fmla="*/ 0 w 3852685"/>
                <a:gd name="connsiteY2" fmla="*/ 257442 h 257442"/>
                <a:gd name="connsiteX3" fmla="*/ 54721 w 3852685"/>
                <a:gd name="connsiteY3" fmla="*/ 0 h 257442"/>
                <a:gd name="connsiteX0" fmla="*/ 3852685 w 3852685"/>
                <a:gd name="connsiteY0" fmla="*/ 0 h 257442"/>
                <a:gd name="connsiteX1" fmla="*/ 3797964 w 3852685"/>
                <a:gd name="connsiteY1" fmla="*/ 257442 h 257442"/>
                <a:gd name="connsiteX2" fmla="*/ 0 w 3852685"/>
                <a:gd name="connsiteY2" fmla="*/ 257442 h 257442"/>
                <a:gd name="connsiteX3" fmla="*/ 54721 w 3852685"/>
                <a:gd name="connsiteY3" fmla="*/ 0 h 257442"/>
                <a:gd name="connsiteX0" fmla="*/ 4021001 w 4021001"/>
                <a:gd name="connsiteY0" fmla="*/ 0 h 257442"/>
                <a:gd name="connsiteX1" fmla="*/ 3797964 w 4021001"/>
                <a:gd name="connsiteY1" fmla="*/ 257442 h 257442"/>
                <a:gd name="connsiteX2" fmla="*/ 0 w 4021001"/>
                <a:gd name="connsiteY2" fmla="*/ 257442 h 257442"/>
                <a:gd name="connsiteX3" fmla="*/ 54721 w 4021001"/>
                <a:gd name="connsiteY3" fmla="*/ 0 h 257442"/>
                <a:gd name="connsiteX0" fmla="*/ 4021001 w 4021001"/>
                <a:gd name="connsiteY0" fmla="*/ 0 h 257442"/>
                <a:gd name="connsiteX1" fmla="*/ 3966280 w 4021001"/>
                <a:gd name="connsiteY1" fmla="*/ 257442 h 257442"/>
                <a:gd name="connsiteX2" fmla="*/ 0 w 4021001"/>
                <a:gd name="connsiteY2" fmla="*/ 257442 h 257442"/>
                <a:gd name="connsiteX3" fmla="*/ 54721 w 4021001"/>
                <a:gd name="connsiteY3" fmla="*/ 0 h 257442"/>
                <a:gd name="connsiteX0" fmla="*/ 4021001 w 4021001"/>
                <a:gd name="connsiteY0" fmla="*/ 0 h 257442"/>
                <a:gd name="connsiteX1" fmla="*/ 3966280 w 4021001"/>
                <a:gd name="connsiteY1" fmla="*/ 257442 h 257442"/>
                <a:gd name="connsiteX2" fmla="*/ 0 w 4021001"/>
                <a:gd name="connsiteY2" fmla="*/ 257442 h 257442"/>
                <a:gd name="connsiteX3" fmla="*/ 54721 w 4021001"/>
                <a:gd name="connsiteY3" fmla="*/ 0 h 257442"/>
                <a:gd name="connsiteX0" fmla="*/ 4021001 w 4021001"/>
                <a:gd name="connsiteY0" fmla="*/ 0 h 257442"/>
                <a:gd name="connsiteX1" fmla="*/ 3966280 w 4021001"/>
                <a:gd name="connsiteY1" fmla="*/ 257442 h 257442"/>
                <a:gd name="connsiteX2" fmla="*/ 0 w 4021001"/>
                <a:gd name="connsiteY2" fmla="*/ 257442 h 257442"/>
                <a:gd name="connsiteX3" fmla="*/ 54721 w 4021001"/>
                <a:gd name="connsiteY3" fmla="*/ 0 h 257442"/>
                <a:gd name="connsiteX0" fmla="*/ 4189315 w 4189315"/>
                <a:gd name="connsiteY0" fmla="*/ 0 h 257442"/>
                <a:gd name="connsiteX1" fmla="*/ 3966280 w 4189315"/>
                <a:gd name="connsiteY1" fmla="*/ 257442 h 257442"/>
                <a:gd name="connsiteX2" fmla="*/ 0 w 4189315"/>
                <a:gd name="connsiteY2" fmla="*/ 257442 h 257442"/>
                <a:gd name="connsiteX3" fmla="*/ 54721 w 4189315"/>
                <a:gd name="connsiteY3" fmla="*/ 0 h 257442"/>
                <a:gd name="connsiteX0" fmla="*/ 4189315 w 4189315"/>
                <a:gd name="connsiteY0" fmla="*/ 0 h 257442"/>
                <a:gd name="connsiteX1" fmla="*/ 4134594 w 4189315"/>
                <a:gd name="connsiteY1" fmla="*/ 257442 h 257442"/>
                <a:gd name="connsiteX2" fmla="*/ 0 w 4189315"/>
                <a:gd name="connsiteY2" fmla="*/ 257442 h 257442"/>
                <a:gd name="connsiteX3" fmla="*/ 54721 w 4189315"/>
                <a:gd name="connsiteY3" fmla="*/ 0 h 257442"/>
                <a:gd name="connsiteX0" fmla="*/ 4189315 w 4189315"/>
                <a:gd name="connsiteY0" fmla="*/ 0 h 257442"/>
                <a:gd name="connsiteX1" fmla="*/ 4134594 w 4189315"/>
                <a:gd name="connsiteY1" fmla="*/ 257442 h 257442"/>
                <a:gd name="connsiteX2" fmla="*/ 0 w 4189315"/>
                <a:gd name="connsiteY2" fmla="*/ 257442 h 257442"/>
                <a:gd name="connsiteX3" fmla="*/ 54721 w 4189315"/>
                <a:gd name="connsiteY3" fmla="*/ 0 h 257442"/>
                <a:gd name="connsiteX0" fmla="*/ 4189315 w 4189315"/>
                <a:gd name="connsiteY0" fmla="*/ 0 h 257442"/>
                <a:gd name="connsiteX1" fmla="*/ 4134594 w 4189315"/>
                <a:gd name="connsiteY1" fmla="*/ 257442 h 257442"/>
                <a:gd name="connsiteX2" fmla="*/ 0 w 4189315"/>
                <a:gd name="connsiteY2" fmla="*/ 257442 h 257442"/>
                <a:gd name="connsiteX3" fmla="*/ 54721 w 4189315"/>
                <a:gd name="connsiteY3" fmla="*/ 0 h 257442"/>
                <a:gd name="connsiteX0" fmla="*/ 4349615 w 4349615"/>
                <a:gd name="connsiteY0" fmla="*/ 0 h 257442"/>
                <a:gd name="connsiteX1" fmla="*/ 4134594 w 4349615"/>
                <a:gd name="connsiteY1" fmla="*/ 257442 h 257442"/>
                <a:gd name="connsiteX2" fmla="*/ 0 w 4349615"/>
                <a:gd name="connsiteY2" fmla="*/ 257442 h 257442"/>
                <a:gd name="connsiteX3" fmla="*/ 54721 w 4349615"/>
                <a:gd name="connsiteY3" fmla="*/ 0 h 257442"/>
                <a:gd name="connsiteX0" fmla="*/ 4349615 w 4349615"/>
                <a:gd name="connsiteY0" fmla="*/ 0 h 257442"/>
                <a:gd name="connsiteX1" fmla="*/ 4294895 w 4349615"/>
                <a:gd name="connsiteY1" fmla="*/ 257442 h 257442"/>
                <a:gd name="connsiteX2" fmla="*/ 0 w 4349615"/>
                <a:gd name="connsiteY2" fmla="*/ 257442 h 257442"/>
                <a:gd name="connsiteX3" fmla="*/ 54721 w 4349615"/>
                <a:gd name="connsiteY3" fmla="*/ 0 h 257442"/>
                <a:gd name="connsiteX0" fmla="*/ 4349615 w 4349615"/>
                <a:gd name="connsiteY0" fmla="*/ 0 h 257442"/>
                <a:gd name="connsiteX1" fmla="*/ 4294895 w 4349615"/>
                <a:gd name="connsiteY1" fmla="*/ 257442 h 257442"/>
                <a:gd name="connsiteX2" fmla="*/ 0 w 4349615"/>
                <a:gd name="connsiteY2" fmla="*/ 257442 h 257442"/>
                <a:gd name="connsiteX3" fmla="*/ 54721 w 4349615"/>
                <a:gd name="connsiteY3" fmla="*/ 0 h 257442"/>
                <a:gd name="connsiteX0" fmla="*/ 4349615 w 4349615"/>
                <a:gd name="connsiteY0" fmla="*/ 0 h 257442"/>
                <a:gd name="connsiteX1" fmla="*/ 4294895 w 4349615"/>
                <a:gd name="connsiteY1" fmla="*/ 257442 h 257442"/>
                <a:gd name="connsiteX2" fmla="*/ 0 w 4349615"/>
                <a:gd name="connsiteY2" fmla="*/ 257442 h 257442"/>
                <a:gd name="connsiteX3" fmla="*/ 54721 w 4349615"/>
                <a:gd name="connsiteY3" fmla="*/ 0 h 257442"/>
                <a:gd name="connsiteX0" fmla="*/ 4517931 w 4517931"/>
                <a:gd name="connsiteY0" fmla="*/ 0 h 257442"/>
                <a:gd name="connsiteX1" fmla="*/ 4294895 w 4517931"/>
                <a:gd name="connsiteY1" fmla="*/ 257442 h 257442"/>
                <a:gd name="connsiteX2" fmla="*/ 0 w 4517931"/>
                <a:gd name="connsiteY2" fmla="*/ 257442 h 257442"/>
                <a:gd name="connsiteX3" fmla="*/ 54721 w 4517931"/>
                <a:gd name="connsiteY3" fmla="*/ 0 h 257442"/>
                <a:gd name="connsiteX0" fmla="*/ 4517931 w 4517931"/>
                <a:gd name="connsiteY0" fmla="*/ 0 h 257442"/>
                <a:gd name="connsiteX1" fmla="*/ 4463211 w 4517931"/>
                <a:gd name="connsiteY1" fmla="*/ 257442 h 257442"/>
                <a:gd name="connsiteX2" fmla="*/ 0 w 4517931"/>
                <a:gd name="connsiteY2" fmla="*/ 257442 h 257442"/>
                <a:gd name="connsiteX3" fmla="*/ 54721 w 4517931"/>
                <a:gd name="connsiteY3" fmla="*/ 0 h 257442"/>
                <a:gd name="connsiteX0" fmla="*/ 4517931 w 4517931"/>
                <a:gd name="connsiteY0" fmla="*/ 0 h 257442"/>
                <a:gd name="connsiteX1" fmla="*/ 4463211 w 4517931"/>
                <a:gd name="connsiteY1" fmla="*/ 257442 h 257442"/>
                <a:gd name="connsiteX2" fmla="*/ 0 w 4517931"/>
                <a:gd name="connsiteY2" fmla="*/ 257442 h 257442"/>
                <a:gd name="connsiteX3" fmla="*/ 54721 w 4517931"/>
                <a:gd name="connsiteY3" fmla="*/ 0 h 257442"/>
                <a:gd name="connsiteX0" fmla="*/ 4517931 w 4517931"/>
                <a:gd name="connsiteY0" fmla="*/ 0 h 257442"/>
                <a:gd name="connsiteX1" fmla="*/ 4463211 w 4517931"/>
                <a:gd name="connsiteY1" fmla="*/ 257442 h 257442"/>
                <a:gd name="connsiteX2" fmla="*/ 0 w 4517931"/>
                <a:gd name="connsiteY2" fmla="*/ 257442 h 257442"/>
                <a:gd name="connsiteX3" fmla="*/ 54721 w 4517931"/>
                <a:gd name="connsiteY3" fmla="*/ 0 h 257442"/>
                <a:gd name="connsiteX0" fmla="*/ 4678232 w 4678232"/>
                <a:gd name="connsiteY0" fmla="*/ 0 h 257442"/>
                <a:gd name="connsiteX1" fmla="*/ 4463211 w 4678232"/>
                <a:gd name="connsiteY1" fmla="*/ 257442 h 257442"/>
                <a:gd name="connsiteX2" fmla="*/ 0 w 4678232"/>
                <a:gd name="connsiteY2" fmla="*/ 257442 h 257442"/>
                <a:gd name="connsiteX3" fmla="*/ 54721 w 4678232"/>
                <a:gd name="connsiteY3" fmla="*/ 0 h 257442"/>
                <a:gd name="connsiteX0" fmla="*/ 4678232 w 4678232"/>
                <a:gd name="connsiteY0" fmla="*/ 0 h 257442"/>
                <a:gd name="connsiteX1" fmla="*/ 4623510 w 4678232"/>
                <a:gd name="connsiteY1" fmla="*/ 257442 h 257442"/>
                <a:gd name="connsiteX2" fmla="*/ 0 w 4678232"/>
                <a:gd name="connsiteY2" fmla="*/ 257442 h 257442"/>
                <a:gd name="connsiteX3" fmla="*/ 54721 w 4678232"/>
                <a:gd name="connsiteY3" fmla="*/ 0 h 257442"/>
                <a:gd name="connsiteX0" fmla="*/ 4678233 w 4678233"/>
                <a:gd name="connsiteY0" fmla="*/ 0 h 257442"/>
                <a:gd name="connsiteX1" fmla="*/ 4623511 w 4678233"/>
                <a:gd name="connsiteY1" fmla="*/ 257442 h 257442"/>
                <a:gd name="connsiteX2" fmla="*/ 0 w 4678233"/>
                <a:gd name="connsiteY2" fmla="*/ 257442 h 257442"/>
                <a:gd name="connsiteX3" fmla="*/ 54722 w 4678233"/>
                <a:gd name="connsiteY3" fmla="*/ 0 h 257442"/>
                <a:gd name="connsiteX0" fmla="*/ 4678233 w 4678233"/>
                <a:gd name="connsiteY0" fmla="*/ 0 h 257442"/>
                <a:gd name="connsiteX1" fmla="*/ 4623511 w 4678233"/>
                <a:gd name="connsiteY1" fmla="*/ 257442 h 257442"/>
                <a:gd name="connsiteX2" fmla="*/ 0 w 4678233"/>
                <a:gd name="connsiteY2" fmla="*/ 257442 h 257442"/>
                <a:gd name="connsiteX3" fmla="*/ 54722 w 4678233"/>
                <a:gd name="connsiteY3" fmla="*/ 0 h 257442"/>
                <a:gd name="connsiteX0" fmla="*/ 2728981 w 4623511"/>
                <a:gd name="connsiteY0" fmla="*/ 0 h 257442"/>
                <a:gd name="connsiteX1" fmla="*/ 4623511 w 4623511"/>
                <a:gd name="connsiteY1" fmla="*/ 257442 h 257442"/>
                <a:gd name="connsiteX2" fmla="*/ 0 w 4623511"/>
                <a:gd name="connsiteY2" fmla="*/ 257442 h 257442"/>
                <a:gd name="connsiteX3" fmla="*/ 54722 w 4623511"/>
                <a:gd name="connsiteY3" fmla="*/ 0 h 257442"/>
                <a:gd name="connsiteX0" fmla="*/ 2728981 w 2728981"/>
                <a:gd name="connsiteY0" fmla="*/ 0 h 257442"/>
                <a:gd name="connsiteX1" fmla="*/ 2674260 w 2728981"/>
                <a:gd name="connsiteY1" fmla="*/ 257442 h 257442"/>
                <a:gd name="connsiteX2" fmla="*/ 0 w 2728981"/>
                <a:gd name="connsiteY2" fmla="*/ 257442 h 257442"/>
                <a:gd name="connsiteX3" fmla="*/ 54722 w 2728981"/>
                <a:gd name="connsiteY3" fmla="*/ 0 h 257442"/>
                <a:gd name="connsiteX0" fmla="*/ 2728980 w 2728980"/>
                <a:gd name="connsiteY0" fmla="*/ 0 h 257442"/>
                <a:gd name="connsiteX1" fmla="*/ 2674259 w 2728980"/>
                <a:gd name="connsiteY1" fmla="*/ 257442 h 257442"/>
                <a:gd name="connsiteX2" fmla="*/ 0 w 2728980"/>
                <a:gd name="connsiteY2" fmla="*/ 257442 h 257442"/>
                <a:gd name="connsiteX3" fmla="*/ 54721 w 2728980"/>
                <a:gd name="connsiteY3" fmla="*/ 0 h 257442"/>
                <a:gd name="connsiteX0" fmla="*/ 2728980 w 2728980"/>
                <a:gd name="connsiteY0" fmla="*/ 0 h 257442"/>
                <a:gd name="connsiteX1" fmla="*/ 2674259 w 2728980"/>
                <a:gd name="connsiteY1" fmla="*/ 257442 h 257442"/>
                <a:gd name="connsiteX2" fmla="*/ 0 w 2728980"/>
                <a:gd name="connsiteY2" fmla="*/ 257442 h 257442"/>
                <a:gd name="connsiteX3" fmla="*/ 54720 w 2728980"/>
                <a:gd name="connsiteY3" fmla="*/ 0 h 257442"/>
                <a:gd name="connsiteX0" fmla="*/ 2571437 w 2674259"/>
                <a:gd name="connsiteY0" fmla="*/ 0 h 257442"/>
                <a:gd name="connsiteX1" fmla="*/ 2674259 w 2674259"/>
                <a:gd name="connsiteY1" fmla="*/ 257442 h 257442"/>
                <a:gd name="connsiteX2" fmla="*/ 0 w 2674259"/>
                <a:gd name="connsiteY2" fmla="*/ 257442 h 257442"/>
                <a:gd name="connsiteX3" fmla="*/ 54720 w 2674259"/>
                <a:gd name="connsiteY3" fmla="*/ 0 h 257442"/>
                <a:gd name="connsiteX0" fmla="*/ 2571437 w 2571437"/>
                <a:gd name="connsiteY0" fmla="*/ 0 h 257442"/>
                <a:gd name="connsiteX1" fmla="*/ 2516717 w 2571437"/>
                <a:gd name="connsiteY1" fmla="*/ 257442 h 257442"/>
                <a:gd name="connsiteX2" fmla="*/ 0 w 2571437"/>
                <a:gd name="connsiteY2" fmla="*/ 257442 h 257442"/>
                <a:gd name="connsiteX3" fmla="*/ 54720 w 2571437"/>
                <a:gd name="connsiteY3" fmla="*/ 0 h 257442"/>
                <a:gd name="connsiteX0" fmla="*/ 2571436 w 2571436"/>
                <a:gd name="connsiteY0" fmla="*/ 0 h 257442"/>
                <a:gd name="connsiteX1" fmla="*/ 2516716 w 2571436"/>
                <a:gd name="connsiteY1" fmla="*/ 257442 h 257442"/>
                <a:gd name="connsiteX2" fmla="*/ 0 w 2571436"/>
                <a:gd name="connsiteY2" fmla="*/ 257442 h 257442"/>
                <a:gd name="connsiteX3" fmla="*/ 54719 w 2571436"/>
                <a:gd name="connsiteY3" fmla="*/ 0 h 257442"/>
                <a:gd name="connsiteX0" fmla="*/ 2571436 w 2571436"/>
                <a:gd name="connsiteY0" fmla="*/ 0 h 257442"/>
                <a:gd name="connsiteX1" fmla="*/ 2516716 w 2571436"/>
                <a:gd name="connsiteY1" fmla="*/ 257442 h 257442"/>
                <a:gd name="connsiteX2" fmla="*/ 0 w 2571436"/>
                <a:gd name="connsiteY2" fmla="*/ 257442 h 257442"/>
                <a:gd name="connsiteX3" fmla="*/ 54720 w 2571436"/>
                <a:gd name="connsiteY3" fmla="*/ 0 h 257442"/>
                <a:gd name="connsiteX0" fmla="*/ 2403121 w 2516716"/>
                <a:gd name="connsiteY0" fmla="*/ 0 h 257442"/>
                <a:gd name="connsiteX1" fmla="*/ 2516716 w 2516716"/>
                <a:gd name="connsiteY1" fmla="*/ 257442 h 257442"/>
                <a:gd name="connsiteX2" fmla="*/ 0 w 2516716"/>
                <a:gd name="connsiteY2" fmla="*/ 257442 h 257442"/>
                <a:gd name="connsiteX3" fmla="*/ 54720 w 2516716"/>
                <a:gd name="connsiteY3" fmla="*/ 0 h 257442"/>
                <a:gd name="connsiteX0" fmla="*/ 2403121 w 2403121"/>
                <a:gd name="connsiteY0" fmla="*/ 0 h 257442"/>
                <a:gd name="connsiteX1" fmla="*/ 2348400 w 2403121"/>
                <a:gd name="connsiteY1" fmla="*/ 257442 h 257442"/>
                <a:gd name="connsiteX2" fmla="*/ 0 w 2403121"/>
                <a:gd name="connsiteY2" fmla="*/ 257442 h 257442"/>
                <a:gd name="connsiteX3" fmla="*/ 54720 w 2403121"/>
                <a:gd name="connsiteY3" fmla="*/ 0 h 257442"/>
                <a:gd name="connsiteX0" fmla="*/ 2403121 w 2403121"/>
                <a:gd name="connsiteY0" fmla="*/ 0 h 257442"/>
                <a:gd name="connsiteX1" fmla="*/ 2348400 w 2403121"/>
                <a:gd name="connsiteY1" fmla="*/ 257442 h 257442"/>
                <a:gd name="connsiteX2" fmla="*/ 0 w 2403121"/>
                <a:gd name="connsiteY2" fmla="*/ 257442 h 257442"/>
                <a:gd name="connsiteX3" fmla="*/ 54720 w 2403121"/>
                <a:gd name="connsiteY3" fmla="*/ 0 h 257442"/>
                <a:gd name="connsiteX0" fmla="*/ 2403121 w 2403121"/>
                <a:gd name="connsiteY0" fmla="*/ 0 h 257442"/>
                <a:gd name="connsiteX1" fmla="*/ 2348400 w 2403121"/>
                <a:gd name="connsiteY1" fmla="*/ 257442 h 257442"/>
                <a:gd name="connsiteX2" fmla="*/ 0 w 2403121"/>
                <a:gd name="connsiteY2" fmla="*/ 257442 h 257442"/>
                <a:gd name="connsiteX3" fmla="*/ 54721 w 2403121"/>
                <a:gd name="connsiteY3" fmla="*/ 0 h 257442"/>
                <a:gd name="connsiteX0" fmla="*/ 2302132 w 2348400"/>
                <a:gd name="connsiteY0" fmla="*/ 0 h 257442"/>
                <a:gd name="connsiteX1" fmla="*/ 2348400 w 2348400"/>
                <a:gd name="connsiteY1" fmla="*/ 257442 h 257442"/>
                <a:gd name="connsiteX2" fmla="*/ 0 w 2348400"/>
                <a:gd name="connsiteY2" fmla="*/ 257442 h 257442"/>
                <a:gd name="connsiteX3" fmla="*/ 54721 w 2348400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54721 w 2302132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54721 w 2302132"/>
                <a:gd name="connsiteY3" fmla="*/ 0 h 257442"/>
                <a:gd name="connsiteX0" fmla="*/ 2302132 w 2302132"/>
                <a:gd name="connsiteY0" fmla="*/ 0 h 257442"/>
                <a:gd name="connsiteX1" fmla="*/ 2247411 w 2302132"/>
                <a:gd name="connsiteY1" fmla="*/ 257442 h 257442"/>
                <a:gd name="connsiteX2" fmla="*/ 0 w 2302132"/>
                <a:gd name="connsiteY2" fmla="*/ 257442 h 257442"/>
                <a:gd name="connsiteX3" fmla="*/ 54721 w 2302132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2132" h="257442">
                  <a:moveTo>
                    <a:pt x="2302132" y="0"/>
                  </a:moveTo>
                  <a:lnTo>
                    <a:pt x="2247411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63" name="btfpRunningAgenda2LevelTextRight456905">
              <a:extLst>
                <a:ext uri="{FF2B5EF4-FFF2-40B4-BE49-F238E27FC236}">
                  <a16:creationId xmlns:a16="http://schemas.microsoft.com/office/drawing/2014/main" id="{CB7AEBF0-AFC6-40A7-80A2-38E62B161751}"/>
                </a:ext>
              </a:extLst>
            </p:cNvPr>
            <p:cNvSpPr txBox="1"/>
            <p:nvPr/>
          </p:nvSpPr>
          <p:spPr bwMode="gray">
            <a:xfrm>
              <a:off x="2495906" y="944429"/>
              <a:ext cx="224741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GEOGRAPHY</a:t>
              </a:r>
            </a:p>
          </p:txBody>
        </p:sp>
      </p:grpSp>
      <p:pic>
        <p:nvPicPr>
          <p:cNvPr id="64" name="Picture 63">
            <a:extLst>
              <a:ext uri="{FF2B5EF4-FFF2-40B4-BE49-F238E27FC236}">
                <a16:creationId xmlns:a16="http://schemas.microsoft.com/office/drawing/2014/main" id="{6F67EB01-2F72-401F-952E-E439788AC47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646654" y="6191366"/>
            <a:ext cx="1261892" cy="353608"/>
          </a:xfrm>
          <a:prstGeom prst="rect">
            <a:avLst/>
          </a:prstGeom>
        </p:spPr>
      </p:pic>
      <p:grpSp>
        <p:nvGrpSpPr>
          <p:cNvPr id="67" name="btfpStatusSticker149086">
            <a:extLst>
              <a:ext uri="{FF2B5EF4-FFF2-40B4-BE49-F238E27FC236}">
                <a16:creationId xmlns:a16="http://schemas.microsoft.com/office/drawing/2014/main" id="{EFF9A0EA-2C77-4E07-8F5D-02B69FBB4F2D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632714" y="955344"/>
            <a:ext cx="2342950" cy="235611"/>
            <a:chOff x="-4859410" y="876300"/>
            <a:chExt cx="2342950" cy="235611"/>
          </a:xfrm>
        </p:grpSpPr>
        <p:sp>
          <p:nvSpPr>
            <p:cNvPr id="68" name="btfpStatusStickerText149086">
              <a:extLst>
                <a:ext uri="{FF2B5EF4-FFF2-40B4-BE49-F238E27FC236}">
                  <a16:creationId xmlns:a16="http://schemas.microsoft.com/office/drawing/2014/main" id="{D96E473D-7556-4485-A149-A1C61F71D3D2}"/>
                </a:ext>
              </a:extLst>
            </p:cNvPr>
            <p:cNvSpPr txBox="1"/>
            <p:nvPr/>
          </p:nvSpPr>
          <p:spPr bwMode="gray">
            <a:xfrm>
              <a:off x="-4859410" y="876300"/>
              <a:ext cx="234295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TECHNICIAN ONLY</a:t>
              </a:r>
            </a:p>
          </p:txBody>
        </p:sp>
        <p:cxnSp>
          <p:nvCxnSpPr>
            <p:cNvPr id="71" name="btfpStatusStickerLine149086">
              <a:extLst>
                <a:ext uri="{FF2B5EF4-FFF2-40B4-BE49-F238E27FC236}">
                  <a16:creationId xmlns:a16="http://schemas.microsoft.com/office/drawing/2014/main" id="{30CC9C0E-5773-434C-B4DA-3108F72663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4859410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btfpNotesBox194876">
            <a:extLst>
              <a:ext uri="{FF2B5EF4-FFF2-40B4-BE49-F238E27FC236}">
                <a16:creationId xmlns:a16="http://schemas.microsoft.com/office/drawing/2014/main" id="{3D960D64-B5EF-41FE-8C74-58549A63901A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90729" indent="-90729">
              <a:spcBef>
                <a:spcPct val="0"/>
              </a:spcBef>
              <a:buNone/>
            </a:pPr>
            <a:r>
              <a:rPr lang="en-GB" sz="800" dirty="0">
                <a:solidFill>
                  <a:srgbClr val="000000"/>
                </a:solidFill>
              </a:rPr>
              <a:t>Note: Bars represent job postings in top 15 MSAs by # of job postings across players; Players with N&lt;15 hidden from the chart; series represents respective MSA regions, for e.g. ‘Los Angeles, CA’ represent MSA region - </a:t>
            </a:r>
          </a:p>
          <a:p>
            <a:pPr marL="90729" indent="-90729">
              <a:spcBef>
                <a:spcPct val="0"/>
              </a:spcBef>
              <a:buNone/>
            </a:pPr>
            <a:r>
              <a:rPr lang="de-DE" sz="800" dirty="0">
                <a:solidFill>
                  <a:srgbClr val="000000"/>
                </a:solidFill>
              </a:rPr>
              <a:t>Los Angeles-Long Beach-Anaheim, CA, USA‘; top </a:t>
            </a:r>
            <a:r>
              <a:rPr lang="de-DE" sz="800" dirty="0" err="1">
                <a:solidFill>
                  <a:srgbClr val="000000"/>
                </a:solidFill>
              </a:rPr>
              <a:t>lines</a:t>
            </a:r>
            <a:r>
              <a:rPr lang="de-DE" sz="800" dirty="0">
                <a:solidFill>
                  <a:srgbClr val="000000"/>
                </a:solidFill>
              </a:rPr>
              <a:t> </a:t>
            </a:r>
            <a:r>
              <a:rPr lang="de-DE" sz="800" dirty="0" err="1">
                <a:solidFill>
                  <a:srgbClr val="000000"/>
                </a:solidFill>
              </a:rPr>
              <a:t>across</a:t>
            </a:r>
            <a:r>
              <a:rPr lang="de-DE" sz="800" dirty="0">
                <a:solidFill>
                  <a:srgbClr val="000000"/>
                </a:solidFill>
              </a:rPr>
              <a:t> </a:t>
            </a:r>
            <a:r>
              <a:rPr lang="de-DE" sz="800" dirty="0" err="1">
                <a:solidFill>
                  <a:srgbClr val="000000"/>
                </a:solidFill>
              </a:rPr>
              <a:t>slides</a:t>
            </a:r>
            <a:r>
              <a:rPr lang="de-DE" sz="800" dirty="0">
                <a:solidFill>
                  <a:srgbClr val="000000"/>
                </a:solidFill>
              </a:rPr>
              <a:t> </a:t>
            </a:r>
            <a:r>
              <a:rPr lang="de-DE" sz="800" dirty="0" err="1">
                <a:solidFill>
                  <a:srgbClr val="000000"/>
                </a:solidFill>
              </a:rPr>
              <a:t>may</a:t>
            </a:r>
            <a:r>
              <a:rPr lang="de-DE" sz="800" dirty="0">
                <a:solidFill>
                  <a:srgbClr val="000000"/>
                </a:solidFill>
              </a:rPr>
              <a:t> not match </a:t>
            </a:r>
            <a:r>
              <a:rPr lang="de-DE" sz="800" dirty="0" err="1">
                <a:solidFill>
                  <a:srgbClr val="000000"/>
                </a:solidFill>
              </a:rPr>
              <a:t>since</a:t>
            </a:r>
            <a:r>
              <a:rPr lang="de-DE" sz="800" dirty="0">
                <a:solidFill>
                  <a:srgbClr val="000000"/>
                </a:solidFill>
              </a:rPr>
              <a:t> </a:t>
            </a:r>
            <a:r>
              <a:rPr lang="de-DE" sz="800" dirty="0" err="1">
                <a:solidFill>
                  <a:srgbClr val="000000"/>
                </a:solidFill>
              </a:rPr>
              <a:t>job</a:t>
            </a:r>
            <a:r>
              <a:rPr lang="de-DE" sz="800" dirty="0">
                <a:solidFill>
                  <a:srgbClr val="000000"/>
                </a:solidFill>
              </a:rPr>
              <a:t> </a:t>
            </a:r>
            <a:r>
              <a:rPr lang="de-DE" sz="800" dirty="0" err="1">
                <a:solidFill>
                  <a:srgbClr val="000000"/>
                </a:solidFill>
              </a:rPr>
              <a:t>postings</a:t>
            </a:r>
            <a:r>
              <a:rPr lang="de-DE" sz="800" dirty="0">
                <a:solidFill>
                  <a:srgbClr val="000000"/>
                </a:solidFill>
              </a:rPr>
              <a:t> </a:t>
            </a:r>
            <a:r>
              <a:rPr lang="de-DE" sz="800" dirty="0" err="1">
                <a:solidFill>
                  <a:srgbClr val="000000"/>
                </a:solidFill>
              </a:rPr>
              <a:t>location</a:t>
            </a:r>
            <a:r>
              <a:rPr lang="de-DE" sz="800" dirty="0">
                <a:solidFill>
                  <a:srgbClr val="000000"/>
                </a:solidFill>
              </a:rPr>
              <a:t> </a:t>
            </a:r>
            <a:r>
              <a:rPr lang="de-DE" sz="800" dirty="0" err="1">
                <a:solidFill>
                  <a:srgbClr val="000000"/>
                </a:solidFill>
              </a:rPr>
              <a:t>is</a:t>
            </a:r>
            <a:r>
              <a:rPr lang="de-DE" sz="800" dirty="0">
                <a:solidFill>
                  <a:srgbClr val="000000"/>
                </a:solidFill>
              </a:rPr>
              <a:t> not </a:t>
            </a:r>
            <a:r>
              <a:rPr lang="de-DE" sz="800" dirty="0" err="1">
                <a:solidFill>
                  <a:srgbClr val="000000"/>
                </a:solidFill>
              </a:rPr>
              <a:t>available</a:t>
            </a:r>
            <a:r>
              <a:rPr lang="de-DE" sz="800" dirty="0">
                <a:solidFill>
                  <a:srgbClr val="000000"/>
                </a:solidFill>
              </a:rPr>
              <a:t> </a:t>
            </a:r>
            <a:r>
              <a:rPr lang="de-DE" sz="800" dirty="0" err="1">
                <a:solidFill>
                  <a:srgbClr val="000000"/>
                </a:solidFill>
              </a:rPr>
              <a:t>for</a:t>
            </a:r>
            <a:r>
              <a:rPr lang="de-DE" sz="800" dirty="0">
                <a:solidFill>
                  <a:srgbClr val="000000"/>
                </a:solidFill>
              </a:rPr>
              <a:t> all </a:t>
            </a:r>
            <a:r>
              <a:rPr lang="de-DE" sz="800" dirty="0" err="1">
                <a:solidFill>
                  <a:srgbClr val="000000"/>
                </a:solidFill>
              </a:rPr>
              <a:t>postings</a:t>
            </a:r>
            <a:r>
              <a:rPr lang="de-DE" sz="800" dirty="0">
                <a:solidFill>
                  <a:srgbClr val="000000"/>
                </a:solidFill>
              </a:rPr>
              <a:t> | </a:t>
            </a:r>
            <a:r>
              <a:rPr lang="en-GB" sz="800" dirty="0">
                <a:solidFill>
                  <a:srgbClr val="000000"/>
                </a:solidFill>
              </a:rPr>
              <a:t>Source: Aura, Bain analysis</a:t>
            </a:r>
          </a:p>
        </p:txBody>
      </p:sp>
      <p:pic>
        <p:nvPicPr>
          <p:cNvPr id="5" name="Picture 6" descr="Caliber Collision logo">
            <a:extLst>
              <a:ext uri="{FF2B5EF4-FFF2-40B4-BE49-F238E27FC236}">
                <a16:creationId xmlns:a16="http://schemas.microsoft.com/office/drawing/2014/main" id="{7C7B5FD4-5E79-9417-CE7B-E3768242CF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491" b="22714"/>
          <a:stretch/>
        </p:blipFill>
        <p:spPr bwMode="auto">
          <a:xfrm>
            <a:off x="1020236" y="5376331"/>
            <a:ext cx="551810" cy="30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2" descr="Crash Champions">
            <a:extLst>
              <a:ext uri="{FF2B5EF4-FFF2-40B4-BE49-F238E27FC236}">
                <a16:creationId xmlns:a16="http://schemas.microsoft.com/office/drawing/2014/main" id="{DD3A76A9-4128-5C83-AC47-2692672842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0650" y="5421193"/>
            <a:ext cx="792601" cy="215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4" descr="Maaco Corporation logo">
            <a:extLst>
              <a:ext uri="{FF2B5EF4-FFF2-40B4-BE49-F238E27FC236}">
                <a16:creationId xmlns:a16="http://schemas.microsoft.com/office/drawing/2014/main" id="{E6A8A3ED-B5DB-EE4E-D34C-BB32865D86C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411" b="30469"/>
          <a:stretch/>
        </p:blipFill>
        <p:spPr bwMode="auto">
          <a:xfrm>
            <a:off x="5129779" y="5402829"/>
            <a:ext cx="645274" cy="252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4AFC1B-D6C0-BAF6-B13A-A91B32213B0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808278" y="5434646"/>
            <a:ext cx="858188" cy="188800"/>
          </a:xfrm>
          <a:prstGeom prst="rect">
            <a:avLst/>
          </a:prstGeom>
        </p:spPr>
      </p:pic>
      <p:pic>
        <p:nvPicPr>
          <p:cNvPr id="10" name="Picture 20" descr="Download Carstar Autopro Collision Chandler - Carstar Auto Body Logo - Full  Size PNG Image - PNGkit">
            <a:extLst>
              <a:ext uri="{FF2B5EF4-FFF2-40B4-BE49-F238E27FC236}">
                <a16:creationId xmlns:a16="http://schemas.microsoft.com/office/drawing/2014/main" id="{AE57DAF3-20E6-CE77-69B9-50E0CA938D8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694"/>
          <a:stretch/>
        </p:blipFill>
        <p:spPr bwMode="auto">
          <a:xfrm>
            <a:off x="3646869" y="5430029"/>
            <a:ext cx="858187" cy="198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EB76E133-7490-E181-7D75-D613B139810D}"/>
              </a:ext>
            </a:extLst>
          </p:cNvPr>
          <p:cNvSpPr/>
          <p:nvPr/>
        </p:nvSpPr>
        <p:spPr bwMode="gray">
          <a:xfrm>
            <a:off x="10661139" y="5412762"/>
            <a:ext cx="691946" cy="232569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>
                <a:solidFill>
                  <a:schemeClr val="bg1"/>
                </a:solidFill>
              </a:rPr>
              <a:t>Swerve</a:t>
            </a:r>
          </a:p>
        </p:txBody>
      </p:sp>
      <p:pic>
        <p:nvPicPr>
          <p:cNvPr id="23" name="Picture 2" descr="Classic Collision – New Mountain Capital">
            <a:extLst>
              <a:ext uri="{FF2B5EF4-FFF2-40B4-BE49-F238E27FC236}">
                <a16:creationId xmlns:a16="http://schemas.microsoft.com/office/drawing/2014/main" id="{09D60E86-1E1F-26D7-6C28-25751DD1C0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4443" y="5440161"/>
            <a:ext cx="669349" cy="177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 descr="CollisionRight Acquires Repair Shops in Midwest, Mid-Atlantic">
            <a:extLst>
              <a:ext uri="{FF2B5EF4-FFF2-40B4-BE49-F238E27FC236}">
                <a16:creationId xmlns:a16="http://schemas.microsoft.com/office/drawing/2014/main" id="{705BED59-108E-AF8F-907D-810C277C9A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88" t="34059" r="19297" b="31237"/>
          <a:stretch/>
        </p:blipFill>
        <p:spPr bwMode="auto">
          <a:xfrm>
            <a:off x="6604224" y="5429934"/>
            <a:ext cx="511698" cy="198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2351DB8A-78CD-BEC0-8082-8709D9524AA8}"/>
              </a:ext>
            </a:extLst>
          </p:cNvPr>
          <p:cNvSpPr/>
          <p:nvPr/>
        </p:nvSpPr>
        <p:spPr bwMode="gray">
          <a:xfrm>
            <a:off x="10603607" y="736640"/>
            <a:ext cx="1253430" cy="43007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BCN updated 06/08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89172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mpanyRatingChart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r0lg9IPP9y8umrse/9AoLT5R0GKq+XM9pr/aTyOTf0wptcuHbHxeyqBm9svU01qeeEM1v0hpSHUgirOnAK/wur4Jr7f9HfWypFXtqll0DxkxDrKUBb0bJKAa5TpGg5X2HfNqBDfH+ixdO7sNEN83Y/SqzrMthJMsSpQvuSxU0mXYKEf4NMkoDLd1HimFX4zHM4e032HYVth91O1THCFXJMGznKnSICRwjIH3VAfx9nNjTHRcdDKQ3kqsDxDRcmNzdVq7iOX7kShznT1+/MJlw5yYOlDPPtAsFWCYIPCcmDiIlljrZzaCWgvz+hRloe1cka6QkwBCZraX9868WqJ7ZRwhAQ73EwGy5bazG1Egl9/h5VwnPnSIY3+gbkjaaKTFIIu7K8tGiEHjlYdYE/qeZyRQxn9aL18/XoQW5K0BUChSIItfpIOy0leQWBHcjSzJkOa0E1vUUaRvzgani4KsnRoJc8iucQ48RnMFb1mHGbjWbb7sWE9NUeEB8JooqmNhMDL3ee/p/eZBO+k6b0bB9ABwetdf0djRgchOJ2Z4jrXzAasANZ6aLNmDkqmPS+EWgZ9i8Ka1LRojw5yhgfsp9oprHtLMnzRWqbBYoWtABAIs7SHOM5G2cseI7ekxJN4OOzzl931wwur9V1f+L5cRWs2BYHYQD5IZGOqki3lpgqkWzPHKZr7GNFCzC/Tbtd89x1Krb4K+b7/4/7boHBihzlcFUvj1CxrG1cei/QvUDXEBDs/IQsHfGszXq9s1eYo7qFTz5EK4/KtUKOODX/bXHsWlBiViu95iXlf6MhOWvkODHnEIGjTSu7wrykdg9VcWwnlvBD/+eJWySIfXxcyUw/Ya8wVfJ0KBh5mfHajEZYc08zxZN8MnHKXysrEPGML2MPJpug1tPSglwcjzP4wY5dbTqfra5z6ByavUr9bSYG057u6hEHirRSeOJJ/o+vEMwubIKuQD4Ez+NoOzmv8wQ1XAmokOldaYctu2/grkYhkaYK17u8w9pr+uomhFf3tuDQX4Rx6oEnEZ1YyZOjE/cVxM/KRAjE2yg4Be/DEC/caGiK2/wBhTdwHXsfznVAHocp+23gFnpTEw0dYmaGBUCSwa6b92lTQoajVyGSsWN3KXiI8tjIMA+aeUKVA6/EbO/LkXMffnv9Gs/l3W+4UKdAlmZGeMFvfEYCXWvM05e7zxLzI+psbQwaSDz/Fm4mKOJ0Qt16E3y6ufWyTHboQ9CgyRzeW8kg9oFbtUuDRqDn2wzF7LQRmGwPZYnS1MOBlHi1gmXQpDBcRQPjI0NtA8/X4l75BVlLzI2y2qkOVt4NNH7ImKaKl0s4jc1w0VqD347TDvd8tFSbvou7n8/zvSFJSf39eVRaiLQ1Lc+RzPP4iRdIopIhIduBuPzEwjj8H8Iw8yzIoarpQm7L1r9ux3mEWEKTMi8xxEn7yON3/HYseEXJcqBeVr6bWQDId7jLYBfQHNKGLYzVnW2rSRUnnPPhS21aOW5Cpur48A8a+lDLobq1cFcguYih++lbN6A3jq7R3Pkn/+RtSFRy3fQ5ZH21/43VINGrl7fyClt5oyybOnwZo4RF9w7UzEMp7IRcbOnNK3ZGoq8aH35wlpbeb2di3z9q1hW9hDN9pb/uae5lxMOYB7/+JrDeOePV48sZu9XXIbdj55zVJplW5AM8L43NbxjAJjt/XiIgnVEg1mGtkPg9+6YOMO7GTHCm+zbrPiZDURkbUWbZjqbOjEvtrUVjGuLk3VAhdh9N3twbzF4krx+L3Z4Zg0rt+MO/mpgy8ZfB7s2/hJ+C0nMxVV3RYWCaVwqExsqj7uNZ00RRajO+Uiq4M0TsPDVHQIgRSwDM3+H4MfTIZDbEZuX6s9rObZs2w2O9E15MbTbvILRhxuaa+MoHvug1bj/ORc483GvffCJtJYwFGwwRyCfDGd8VR0V1ujdu2qfBTAD4ao4TuWUDleBivSWhNjFBr29XLaC4i9M0n6jQIK8zaElcs5oOtkOexOSCPgW5ZFn+LJi7rEVxW6/OJEZXT5Un9sOZgDlfCr9EjwwctW7730QPHqwa5riJg3WRQU+1nayaj4HQCXYX2oPPCnrATLfxrFR02OwXHLLd8UuVwixyBH0MUPn8PZBVK4HqwRfxlUqv1SRflxEqwg5tl79wHDGbRWzhTTv0nerg5llMnAMzj3P6O92XOHeFaJADVz3lYTkYB/T8m5B2/+z60X2aW2dN6IwSTk5w6GBAry0sHX2NyZPoG/5QlQ5qgZNxCSFXNzbp55/UsR6n46Fq3BmUSWQtrOHpPicwCoxyJxCGgEo+U5BEd6y2gUqFdyM0MtL2ImL+X8Xc+Xm0hus8m5TcYtsCbtYZX7sfD4siuoJp7VDa9sLsMmJg+AFEUpqYugnhxFkD+p1rdtc2ERHWFQjodSE5Y4SwV05feIdB+/krk9uIi0E/e016RGQvSQk09q1hA5FGDMtO0uK8+pe5CzJUjnSHi9OoPJYaSfvZexBQVqF39WMlYiARQhmX8x8LWWurkVAdn5dLr8G/4z7fGoHAWKVzQ/Utf/JPJUzpy68x1YsUQqc+3mNEs7trbkbT8445HRUL1WeoEWmrH9cA8tEB9/7jhLn5TGjHe1RoFBYwO4K/ICVDDxyzLDtRZ1Z1+jx4gkjta3A6hT5eddRvdeM9IsPSuV4ONcXgQpc5tmwupDehHv06I2mtUxXwg9O3OLo6YISqFWWTWS/8LW8shNM2khbnrs1WO7HR99zWVIbyoNy4uAyu7dSpUCneZ2t6EvrolxGO4YVdto7dhDAnZt3ZbwRZHDD9vdL88mcFlwG9QFkJF7Rqc6hp6oE5lUk7MVyj75gIPosc7jWJnP6KT4OJEch5utnADwar9TftzlUFCxzAW6gAs6DV5hzImvLjjYQMt41rJgbDYtt2aTPVIKZuT7H3BVkCyxhirzS6kiyke8Ypt3KYElqItU8g8jzYOHSaxAzAqbdrWfnrLOnL+65Jp3A6uorSSv0ba4+AMoAq2e4wITQLWZEHVCeyAKT0OmA85ogxsUzme8PKW5hr4QxInF6ZPMz+iX/MxDvwo6RNwIUYqySwdPviP8IRzfMxLh3oFhptMaHuF4fpK9vIVuFwEX8e9rs8D3k90+QsL1JYvEQNRf4LEGUDCxjUY+sA1nwN6SK0CGHDAc/yeCm/UN0oJTFTQiwEq+GMwBHC4cQgdjwQQiZ9gB0htK4p8FEEESFcEgiJ3nk4EXcrSODg1W74zLZl+ar/6tCjkKl/OAQwbD3H/J5342+13SCwjfEpcG9pAt+kJAojCmVS/YmDkH+IXl2J4OX+JYqo4VnohEuRs8uLC+cgTJzCLL6ASzb+03QnoI9TJhqxJcf1AEwgLK3MDoMtejoPsCshF2ts783Qjf1TF2VI2DkzWGmeMabcaKCcHmMqmY+DqczFYRSQ7LmtMwNp1ZUTAoTusFTSEH2DIrDCrOdqVmbpeozmgSKqAfjqbBc84Ubtrkppx/Ye9ybBNJkQ8x1IQCYhD6BHlcaV+Miy9KirvO5BfEQkKPrgZYfOcps5ls1x4gAWrVUaKfBvSxBKXpZyatdofprFPesIB9Lx+xzaARQxZ13snMGcFTTebum7ZvxVJIxsxXWhWg5w8qVgSzGkPp1pHHHXeMOhOeeBYGeTq1F9Sum166I8mtKOc3nXA4CDttwEDjgWWkeijxVap7huKJeSFf4KOpRjK+noQ0smNPcCTVRPet/Qp7IfdF6V27+pWaGuItxwPQPpxHJjldkg5K7aKu3Bu8Un6KX+nJ2LIQmu6heVWJnxX3z0KfJbGdlboqxPsfG9Iofik6b/PsK7A2PMqATpbt1Dts/ZaXBtZ18ta8c2ZigyM0OUNCvb5x7jnJoG6cC+rnQd2ZW2PtyKZkSaoUerjznF/+9ysEjRPCdey42LjWk8oBdtuJZw+1fQn4Kz7/K+2v0iNHHUrxehX0Vpa489C5uIUPX9lvyQuZ+WHnjTuAyAjyXx4sPcI8VSi3H34o3dn9Ks/oNFSS6KCE3xEZFTVwmhmcFj10IRqXFdLdD4atulGVwvcqvDvWRQ2FBhBkzS63wTLYly9o614MPJPJ0Tpzc/Ev/jdxUbRbnTPefTELM8xjJFHLjxAyXp1tZvRwKBYGmk4g0fFWIfDqc4nb+bcF7MARQL0gtrbOJr3e2tadqDbcpIbt2aCeEq59xiGDmUmt4Dw2Cjpk35O5O9Hm3NEIoh0Qg7FNOe4+ZfHlmaClhilUZijB+GHX3xIxPnvnwn66GMgW6qf+ToE6zhHGqLl7JR2sGNJ0mURg/5xKq0QjoNUtJpSgEdyClyT2bO+vVBfNBwEBJ9zRooTvXgjRI6sJRP4HEJMB7nJr0T5dncXcHW1FzeDty9lgDJvr8lFCgBwX0C8PgBNVrT1KJ7MGS0G3Cbrbtu3cJgSWbeGZnOtl5qb3YGV8ivdRpnig40e1fgkExI948PibgFbYqe45V0Y/nEJwkJ4KFbGacZDrEDp57Rs1NG7gzK2bE/ZREAiNYOFy66AF8vcaGwjrx56oT+lhmFOi5iVh58F6Y+EgbKmlsxjUyFL48y9I5u4EsQLuoTSi5/IMmEtanjEg+T6wNjgjrmsdvG/y27UFc+CImIM3W+EJAUIDqzgYqCi0iA11QIlFmyaeC13RgsQQ1Oqv5RYp1wnV87QrsXZjmE0pSvbpjiPYVN1vnkAt9nkSPlYnA6tFgd6ewQNAoM7dmojoDAF20Wv9BhXyIqQS0werTXEfuaGaWv+dyRA4PzrWsx3oCAszDh7HTAASPrz++/PmZhHZHZ4JD9sRlp2JNAJMs+z4Q4/dfv0cuBa5SO8XXkIHZ4EpJg6KvNrJy453/N7BI60Gxtri7YCPzsJVgDjYvxP9LbByxB2hAWGMS28wMso5ZMKkxi+UuSdLS8/zfKDtnw43J1znVOzEKR7fYmf4mceIUUcFXuLiAZVx6+oYd5sVbsAgmpBzvq/iQsDLt2NZEW93wf5u0b32zr6+mBwEzbz7UvCYUqyt+5enYn16L6OjG14iDaPJID0sezq19W436wjaAPAR2LI+AX98V5atygs2NeNpqgd4xjAFTlQNoii/W1qPiP7PulJ4HPz2bRWeiMYfx3FkEHzkEwOWmsK03KzGdTvRz/C+rqGpIQ/o5Q2zeudtfKDF/Y34IDawSB9cWCudRsjRJZKc8riMfdc2peMPwT9JcGQtH7XhWFNUfYxzbYF5rc6WOgSUJ99UqbZGc9n38CQEGKOf++pKcXguuBhm5++8BHXXaJfL1zvwb8vAA+SvIBff2RS2DeFRo9HtrimWsHiPV/Psf1PAgDfBl/1BpF9MdXcAgmMDQrAln9JbyWri0+Mj2Y0vRPGCey8fDIgsO3WGwLYc8F58ssXEhqjYQ6wPxnXWR/f0ty56pOSmQ+0lAbdW3Ux+AVKEwMELIOlI7JeVux6OnbniENFO15C0zITx9tWMfuVIlirHe/zyVzi4/0QbopMtBKnDor2VkrGfE/a0njUseIogrjKxGWeoaUqHnGuIXXkT564jUgsXymb6qsjlkisiRvog7Xndjn5uRdz7gW64Sx5l45cTLbCZM7svO0m4xUtfeXyxozicgP0l3RwBKzxpaRu/Cw2mNVz5HFp/uPb4fOr5Ke+ZafSkKYi8lRwydET2NY4TAzlIcLueQ6b1vLbUFft79qEPoo/7QdoBkCCbzrTCjTLFSOlsmhsrUfHkQiAMILSsVKNvHAhe2hNSECVtH4A0LURMUKGjQsbbdzSr/HXQ3HjsHgkmpumiJTmyFUz5MdFVvl9+fVXShKrQjYzKcU9xSctvwSh+dvv+lAKzrIZ8PYbqYW9uvieNmAuCfGg2STGG3XOF2RkWFCdVgriPCqZKyPNXQp15xwN0g1AYT8c8FcwQBrd5Kl8CmWrDbVTYXnVW/uGPpH91pvl+Q/sQaTZp+Gv/qxZ5GwhNGRrytl2wgQvvDDcWyATYG3AUnmzvaE9GiKZEteNdHYwZcwDEXIgXmyBMq0g9iwpmpoj60cB9mTzW+FEtvU6k6MmKk+uUPk9j32CS2wsSiR8aBNGU50FPEdLjFfQrCClczLpNqV9BFAmtIPa5gPMiclADuOdOZ2qGT4lRDQJDVuFYgH6s/kMZswp87Tic/rQaRBb9MtBVIQcCnzS8FsVZxynR6sK8ClMMR7uhEcjH+6WBI7CqAoluuLToynZzle+Wjq2P1ix1iW+lmctWhYplzUEkO4XIn+7v3x/bfN4ZOnxyK8zoAJreRshLdr4FozFdEgZ7T8NwUc+0Rtj9SxVyhfzDlz6tbNjzGAp4nwuV+2TtjfAkSy0OJEZAoRKc3K8qwQGgXyxHGCsfXNLbjJegzbw3I7S3ytxTtiFr4GBzXulN/AL7eOkAeqQS/K6ra3vkaTm8XnhDETDoKLkwRtNv+zNWe6MNJ0xe0aSwyHvB5gxRcAgwOi80dIJxLboNH2TCIH0syD4Kcv5ncukqfW+IUc/0td08WtA2yUR9rE/qu2ntXMELqTFtZbfnZsNIJqjyUxt07XVVs3aow0bLw2uweL+ke+dl/6QntrWmsF/Qi0FCJ8pWQlz/lkfrEhK0dskVtuarpoPo4bU+Xt2nWqKk5OgrPliDue3iVkWWBpGB2wFNtppR+nOyltgnXOMWdSVY8coJ8FCnEGpQsXDaX+L1iwUDfsEKhip8ANjXYyzk9ZDTM1AylmoV5apQfhOp3etOdzDwye/HhDRrW/EyvUb2gDRRPhSO97z9Z1Es+EJ2WC5c3ZYTZA1TZ5GgLdX922t1skcLZ6aNVi2VJWNLlcMtRnFcXklzO/kITpn/PJaYYZn2gYi0DZilNrMeUn/nQAJ1gEDbuCYucIPCtTjk9ewDZgXuBqpYTe29bjYVEiJZPHDu5h6s9q4/Ql7rDM2W1LrRFoonBS/7KMM3gQLgbSvsMKPdFFaYkAHgiXIKbx/uGpy/aaTsBk3Z52feYP8rML8DHbv8ZqqzPhDGuIvPwk36/X3bJMrPexupj1BmEWosRnd1q86chbksfBBnKj8pqTs2wm2WzotDOkW92/TyLUP/+JNohhjT0hlt/lI1ng6v6UFPpJp267FpLLfd9O3fdPcmznZq0I2Xw2xdVKFxuchPo3gzs3qZa6Lf2mih9T6/J8nsj4+WatImsFHEC0eWMWncVk6+SCEqzrs2rRMAK6ZdN7tCJqthGgylJ9GPzqmWvh1aSKPKRBkQJ5I7LVIuAUlNs+wTR0HbFJ4IgQuvEgLyduDzE4nC0Z/d7xxR6fvxy18plBGlAihBKSLIcujHHU/PejEXLPVcxBYK16kJMKnUjPkDSD1WrAy5l7reKO7oP3/8wkwHcu90mVvaAYxxzQbQU++Mo6w2IXWU+FCjsIX4VoofRTp4IAzuHhGiKQ8N5/4/1zl/tstTzEo0q6kt/cEZOsvnEjwdBVpaihFjNL2JUgQMXnTfLx6N0KxqxELIKNnqzBKbmNFIScn8CRBMmhFcRPZKMRkwZqFn6WFAH/mDDsHTlkLH53R7XfnPmheCAXIg7JcBnvrfweSMEnfSdD84r+8RHBBKIhcJmf1Kv1AVH4rAsi6V6CZ6dOYxt/etkUgjYNK/fOR3Jb1Vag+T8E8p7sN72lRbnWf/QZFW70mJcRDtbfeP3aty9YidZfP7v4SV1yfPvULhuXeWzyJKZj89yCpvaoWqYt7XGdLx5IWsenjR4vjRQsmD8Ms76/dk0c4tKsenPz0nw5w3Bp1oyM6Uwhq+niu+xuXSn+PDeXtBDQJmpdEmHF6G68uacrPO69BdzpFIMnmdBSwmBZhg6rpMAJO3gpv85j+3B168tIwuwzeOeS+dM4CvuEbvp741fsdk3dKIuzcS6YjtqapdrDv8dzY9X3Rqgx+Rp5ZQiIqNEDe8/44iuxEvtHdVyh5JdP8VktjLdqwLiTRZ7kn9F3TyCwxYaFPLFvj6BB6FxX7WJNNjxiqGyjTM9FUgzoc3trSN8ErCZmt28yj3aBBQ+AXYmsp5Ys/GVZ/79gYm0kTtQan7N7Ej1JL77rYx17Q9Jnq4C+4+0ySFRg/gGJmdQ0jjwMKqFJY4xHwF0u3iA/68jrFoWivsqS49XTJ6oCJe7psXKydvqVaWYJXlBfB0YYvGhgmucy/bN911eCZNTea/GFuYG3ZGLlTgFy3GAT7F9wgU0DcJrgsvR5JWMAE+sYd3/HWcvxwgLxvnf+4AL+BMLYfdIVrtf0xoOMpMFgv8L4MOfyDuKqji7g40Lc7WbcJbkFpa2//V8FlteNkZEwnfIOoHRy1bGJScUC/EOy7Hv9sZ7CJcf+Ez/P9evXkQb0v3FOFAUcGwmKFcbnZDfGjEZhkxdPW+sAMoVfdJrGkifBvjaGJIqFJzu6qk/JMk/7YzrWKDstM2kePIxlinJPvyEGsEvvD0tdhwRAXVVHTG7Cl6Ebfyo3P44f+dLXsez3d3xdKEeVbuu52hmnY6wxQSc4WSCtF0nxGbtI93bgv5eIgR/in507Y/glHTxjxK4BtgbJffhNRcR4RuBeJ4c69/j01eN1vNbo/+zo/yjVLHjCRQkGPwTyoKDm05zTW5Rt/Lc1WfjiFyVuU8YA8Gd0sjfsPBvtVpySxX/t29PBB71Hk7Zj4ELDbsf78+arj82VQfw+YQXhv2NsSwPbFLEkuwbTXjmeqLzoKd28RLDy0m0/1GVn1hvWrZlJUBY6KrBbwSRXJgrHJpdbBNYguriY+kDIsU7O9xc5I4JVDipOH2FQoaOqolkTw1opjSNHIyYhKMUVjpO7IZ/IQ+fJfGujNJ5qBKtBxP3YTfeu8EluAxc0yX1hjan1jzDZqD6UbmluZrKMyDHOPqTlo3jkzDc2FYi8neRFtz2iOdrglAX73n/eu23Gd7BYaaK2rVnx0egCzFWUFalzmqbDYUYaSSKYhpgz0IqUU3ah1WxEUH4CZvKEFhyDKkmOWEKgCn0OEYmoipi5hLE/Oc4a3aSp1Mx2XladwyJ/mwFXN8yLp4i3R5mpSP32MG8rWQ55DdNkZeURx5DxeACvt/8Pcmme0S4ZIOUHZ/SYPOuBc4n4Zgd8/p0EJl3Gn4kcUGa50y+CwK6eQVIH0BAJwGvOAbDnXAfuH/bVm3e6EQFfMM3s0rLuyrv6QVHko7chQYroBUfvDjL4MMMbdTrMljXs9IHoEqaYEBCQi6cbGUJWtb0G/VVtLWttMajVhI5018r1uM/iwfnnuTo00XgVL2BJKvsYQmMH9OMe2K+fsKiGZu86SwAaa+9e5iwiOE2cPJ232BGqS1NOEg9H3suwm5zLi5kEVlwgDpv5xyPZc+CkqGPWM+TbeWOTrLodH5s56eAx25+OeUh+emFAaw7JzYFk96is/uG3Y3z17IMeICreTGtpjKaNny89tRuRa9zgrWRO/AyeZfyMyWlTTJ8WL5BUem71JpNhSuMXngxQvzy5+hH/0U9+NxS8CiAMqssDUV93nk4WgjNlN0VBLpcK0Mec7LSg0fMIPCn45Ql3kWkpUSbo3s3QKGHKbXIma9BscUdLhp/nr22kPvO1c8E6zFP+UGn4NWIyOMQtk8JG7K/Rt/AKFOUva5PlTMEQQSEr/SNMZpUiAd5BgJ28cgouIvgOsmvVIq9hZwb4IN+sYGoBGxn0tMIYtZ2NMtlfbxabBRlBP91L3TMprT//BLIPrhOA5moiWiQJf05T5sJ0+hSqtifWBhTfU9W52SAoLjOupa+/MQ2/Owcd09+epqA+Ij/kqk3UaWpPy3+ftYBOEdpuRYbwr7CLVkoPSVsalgMIl2pCM76KlSTLb9ieCAmkZRJ8swAc55oBTwJ1Ju/YtPfdJ8z9EekzZuV8MYfPH8FJ7mXwfCT/mkUEDJj6tB7jUPCHleMACG07cU5fsJ2HB3tEIRvVHnYqE4ut18VT344DqdKnCtlyt1f8l1LqGWLraL8QlVqZMD6JN7rFYD9mLfiO0/VpdrLrKpT6mJfPIFItAXZeiJBPIb5Isx19fonCChQ1YVNN7wOLuw/Yk6l9+Phd7MQWlpkRYQIoP4AcWT6FIoI3BDpwk2yMAvKXNYckHXqhoDGBV7WJO465mkteknc2DTsq7jhcdnMJT9lBXS/Uui39VtgQGQkwKX6jnbcA3EbMkCgQSdGHbtemZ3ej0PkKDjvHUMhV1YFLFkLTuS3x7QRwJWyHgb/sS3zX4rNNzlw5WGtIW785psw0bxU8aCcQrhEBqlerRjKIlxHMNDMqQViTQRxUN/kSNTYvzO7DFE8Q8uFD9rjbeAkyyPATVPx8WaVlzmta3jl61jhNOU5fobIku2I2B2dqfoOU/8+FfW9BJ0lJ8IzkLM4CyJ06wz8Gilywmh2nlOkrjfbuOESF7AkS68WTGBZzocYF3WtFiir5utQWSuSrZFFNBfXmdTNVXmIN4kPH3YVZiOxf4fFCLHSEXhIzTBloTqBG5HAXOUUVMRlobQKy3WW2U4tIVsrjcR9hYwUU+2jJj8he2fbeSHZ0chcx8fRvwwQfmTlyGSZ3PjyvuKKJkB/t0ZXMT0hrD1zAoQZPYFs2jdUQA8TWP7ftsvzPrX7duBZzLFoLijR5MkLo4Xyb4AiCFtFHPnGXTjND6dBQ7lR6oTC5H0vL4nER6AGsv1n0MRERlh2zDpg2rzvYTrfOW1e2yLAOf83BHVnNhA0lY9OvjFSYIqTxkAk5pqlMXvlzAfKGrmgkMpCu8fPIYdhrNgW1vr4Zuhy0W1/CbjCEU4PtUf2STdNvkyrrLH7fUQ6sxApq+NpBsmg+4ITI0SsEGz9UCaNh8jrXYjyVprF7EcUQzH76yoSuI3n2kIL0DvGc5iu4A0XnEDFfku6ZinLDK+ztzVvvsMAwU0Pf0lMZFiPCR7kEHXafnQPCUZkc0CaVQfdTjBo/P8KVahOKd06+0iizAabw2t73IHAs8x0n5Dj4tr8CzBlAbgeQ63bA56brNCadmVGRCrOiLaovtH2+3FgZVhD+I2KwffMIlQYZnGUpeUoLpZpQcbb3x7/hQFUlE1CANLRX8meVRusXVOeEGI7NdxPpuTh+jWzxLU8Z9w7TS29+MG+NCiWQw7+7pC9BgEkjEzPjNDk/AI7ZRuI21fKQ221mBPVvD1IYJrlHbT58BJVIHLS6wq/MkFZBfKptjFmVhZB74pG7YbyBA8pRCBlC5GPufRUEQPHbJXqzNbVfpLCbxVlHgd8FSeSTYfTT48qbwrtz4XOo9E6tIFqSjE2yxSTfTSAj3UtpoTIRf5oTBU5WTM7fNJr3dR9VgrNMcV8MaP/R6NqnXYIakcJVsusgyRH1NS/80FKRgHoM6wkrdZ4pf1LjPjQm3WEQbSXtubqnUonB9QKZvfSk2f8rQeYYXqGk1/U0NC1xcgocCzRYnO0qbSOgeo7m4xrRPTNIKFQEQdziW7zDxw1abLdJlVtLgkkonmJEFK/+nS3QGcnPT5n4kYkK+RNGXqlXplkrZjelp8aoTi0dd/4bhZkK9ns78ruuN88ubvAFMGK2HkjuufIUyU/fFkhLPuqyZxdgSpj79emHVjQvTt9lk7hBI+BYKaaFknOwu8iTjc7VDXsyUINC2I0KYUBMY2IMjx7SA3mtMPTdR3uETdx7HWPLtd4ggdhCpYLwCGzJV80BMSnz6z6kCJ/mi7DNYtJ3loOPNjUG3YkgQtxgFqxYBAptnSfWf9BiKOdrzgYuDiVXAIT/GsFYEb5W4rZ+SWPGOUL1pyRH8hrtt+1D4n4CBvTf17sUUC+Y9fM5KgciLaLv4cU8iYLbmbnJ2hrpYb6FLOx2ydOu87CTepB13oOh/n/2lepu/z9UCCY6i6+dEzvzuUwdEqqS6nEF1XxlxZ2wBC7sdb/7U9TRhsPswW9K74WOq/2xnX7+/vSje+b3CSPp9ZnnGrcoN7QaK8DRGECYNRV+0t9ShD6JwGfeavtjI6gdZnpfMbS02ba9DWg3apsO3T2N95bIBLgmwSoaWJYOO9U3lWgxEdoEgB+SM4E/JxvLm9TAX3AbA15/6rGdap7r5BbKO/qMhM0sGC9gnnnd0tR3gRr6V28pQvi8a6at+eGNdtnkpiqLrug+nT57mGMYfvoswG/ht6IquyoaxwxeqF73q+6B91pOdJJ5kKLBnl3ai99YiSv4T9bUH7BSgMEZ7K9ySJrhpbVVJUyq6QhCMNTe+4NyY4T3M0CSxtEGBwRnlO6xmFJQwTlKFBzmjtzyfjnt+kMI2rpifeH1tK8DODC9/WdoUD22tuKTYFdpawo15ZDL5kWYR5YDpztX9w+5Ls3FcDNmnxNe7JnYozIIZe6GAvZa+QY3Y3Rzp5XNACvQ3F2GMBvhL8NQPMk4BGGSCykVkXs6fDnkpO7YldIDbVcLxFafcNuBpF5ITtgxVXZ4sAghgaewG6j+I9jEySknDhtOjqQGBIIQnDRAUVH3vokG+G5xDteQabVdkzUwsvWr+qQgFmKJmnslHD8+XdH/hLtXKCMIp3Q9GB+9dbS5HuRhr7CPmvJrCdpnGx2h11ICc940Q6o+rYCtLkd/1XABCjRWV1yW9e0AnM2PYAXk8fF1g1kn1rI/6ay94EZjvBGIviB0dykOSFqFITspk1bHncG8ZchcMYbF1yGhIMHfTd/k4N/kZBO080x5nwLyjR8gkZGKqK2QavAsxnjawGY5OFunqD5DmI61uB3amiC8QxmXNdDIBIM3gU/As4FZPqCl3QUCTRCdNlS2iPyFgSWaLgwzEukwt76LOWIecMdR/jSNsDEWc3NqKvZJuPUHf+S3tJcQ68W8SztzW1YhgLPaJaHA8SXlJ+tqn0Gjx4weV/GVyh3Is46wqUj9vwHnsMXUCNxopcKvhDAMv6IVvUN/fG7oNz07fwCJIJZC9eH0VQTBpzNrqkZW+/ZKCNi2e4s1mZO5UmBp6lKKarld4TedNsf7Ozyauidc1jMcmEmsew3ulqjcDicvhS0hHHYJ4poPTCyclcBWOEd3EYsRSyqRgUmnUcIenT4sNg1JaRg5WULVZQySK+pyIt/umumXFAbTe4Ny/loDfPihRbvuhaECnS0jS9B/CWEWwbOZrAYJWsNibyi9VQPERwl4Xee7/HHR2+5rEkgOO5Nif191+ZU/AryF4mlfY4TZBizFdAwoN1WrKimLk/ECP8ZKP1SCDqhhXGDniczF1eJjpNmYhVHNI8/ocQGcv0OB0bu/KV6kAMknp28+Pw+fYn5A0/YQuFIRCdhnghEPYfHzmUS2W/mnE+8dDUKp58bkst3UOZ1xb5o4VeIXZz1coCrdBBFk21SDSD2Zr+aEjFz4l086YsBQ7uBLfhkXm8iUjL1bieOuunS/KYmFYrAGZG9vY8YoFbdmoRxhWAdK7iEmgqJTBfwwTKX3p5ud2FFOxCovpARKSXKc6KjIw04XicvS5rKiYO4+5d/5tM+HsGpxsu6/D1jQ2ZDVFBcKpomTsAD5SQpyCT4R9Pjm3Sc5TqJYVoc2Dgs4evcYI0kR0vpzS2E6qk+m5RtQttXJtj8TV2a5Px0qGfDE3SieUe3NfdLz5sBYIyPvnmiiGK3LKToPrUHP7YXBhw5uuk0zekdIZyW+IRpl86sdIsBLgR7Af09cSKteu94iNrR3CpQXXCzAAsymtW/hfY0SsduD6HoJD5tJLy0lxNnZG+08rM5Y7WG91e2BwoUlc+e6EjP01GaVRcWvKNxyHL4a/GrPhgR5LUEzQsm34eRf5ef3N1iAOTW6y9SLKYW66/ZUvQFaETsW5ur22XCmu5E8XMqY8EtmD/thNRkL9lRhCscUYZL5ez/T2iM9oMAthUCjUDCFvEn4LJdeKMc5fF1LKpEHaTfJ/Qye6+qKH/ayIF79KPH5wCl5oxte75bwBZvbqeVKiZrUTx0+P79WB+GL5CxiMb3MrK50GkQxSBlNFTl3SfnlwXHW3IcN5CHh/pIuFH16syZpyeaoR6ygZTwiqQ+d81tNAN1tvE6i45Xn63N1QwTwmzDowPYPgK22lmeexvSedGW4m9FAcNpFBFhGd5dj2ApP9raUgFPbvknw6LEp0i2bfa3AfcXRLmWPIak6nV2QJrI414DAbevYApNY7Yguonp6DRynlWKvPbUr5PVkAHl/tkV1XNmSs/Ny0cB/0WLJ7V0mCvMtmLuPUnfNXEVTWGcoBKXHztWUMT/PaNJpPZzEffO34yfrEfd0JzGbP0QKcSHo88C0WFqQBjmwKEtx8wGBEznYp3Dty68l7sFlZKj+b9rWyofk2czyIUqPzDWmGD3VdnaUGqrt/3IlHY8GCIC1/3vOQWYWqtbrd+u58M29dyyVdhs5V+HVH9VspsdlZNwus9j2Hpmzi/c4AUA+kp4jvXHSlnheswCR49/lPbL6o2YzQS0JeAWbJB7avp00rEtNEqDETGLy5rUIV+GV4rW8zSeZIH/7fq5NanKy/8ERtlSYM7ySDQbcqgBYH2sJ4tndLpsFCbE55kgGxvtPEKDEwC1zYMfSLJbjqquqKwfnXlZuEJFHCiuwXKma0691B9qnX2nxZm99TnGJ/0qcWW5StufXjxtdbIvpUwYZfcYjC+EouJKB00q0wmkOfJHSKiN+z0AFk3vbcjBGiD+Yd8guDsUd6MU382u1fMvTqV6n6ycTnKa52f8FKBT6xZkgufVWhCO4ebWb04yybaq8FhGJkYasD4iychRFKRIDQg+CN5kdHwiwjPmm8HzBE+qQ6k8mWnsSupVNBq51ledO0AK5kANjp7xRbJ4Wnr8Slq34WIcU6GUh9ayX0v8u0I9lrqFy2hbVt4vjf1eE9/g/VrCn86+4PkWo3boz2LxeZZseV/sHYbqu99shqIdjq44Hg+S5BH85DjlkXg8gIXnECud667usNJqHbJbIsjxBNg/ui16qZaCW2dairDRCcAiqi5nbLs5giFoBEvPEHCdGBgw4SF3HkQrrNY7mNHnAvvlqMmWrTo3vGDZYCBYWuHHJTsM0UOabHfcZxXSWKmipe3KKuxjQFsFgkBnPZ9hgShyzgSToVptKNrMKe6xePZa/HOgyYYCfwkX2jYAr+apGKT1+0WiBc8FMccI4ANRlh+wfdrf/c9ZlIUxUsmATOtgU9N44+7hvkT3M1Xky/6j3xx5vTHDrzWzpLETkj6oTl9/QXAOQvSrbRXMxcsBAJWmzYvV9KBMeOZCgnr1v5tTqQA8qwzEYUgM1RM8Tp9pWpv7Yz0t6wX4n5/afRU86FxQ9iWgZS2vc0u2V9VtYJn5Qdh1IXYrP+DPN/TuZkOagk4ZMEKQfHKdN0YG+mnpQcrfG/IXabGjgPetQ5sQR+CHkzwhKy9of8E6KwiZBJ/E3f/7Kf6Ma7dk00QZ5IJzSTBQ9YrPCiSTGHPyuAvLAm8CtvD+jnP/o3yUm5f8zfYUCVz0AlEvP3ZxAhbR2BolLnwgggWnxyIcf2geDRQI0GQmdGH2P8zikMT09MbQPeTZAoUYZbqBaZaDJ/yH0T1JIX7qwx8RhFrGxBitb2eV4Z5GPIfhWdYT31SmtNabNEE1PGLRv4ovd90r52RR3CCdEH1gVOpy3cKUd6HxmajbMV+zYX/WSRmjJKN9efJyL+S5j9R0ACkFB8UsyGj4DZB+jCwgu2X58tyfT1BHE66PRhnBqZtwTur6RZMHDHOm0HKoAenfIFNH3ALAXkIc3KN+CiDnFzJyPiq9yGhKsTOqkuTdK7kdzdsxy13x2VnD6iX80bMdIsi8IQYn9yqMOPDGd32VUmOah2UYxy5jNGFX0QnYUDfNWTJkHooxpZbOsJFkocbjqw1MblgM3q8df+difHynXITW7CEWob61Q7x4qwUwS9a/xcuhgaAwOQ3k7gs9sZU0DWkLaOtW8IZmqtg4CWety1BZEQLX8jjYMbu2UDS1sSgfHF4APs9qjR+62VMvQo4DuogVcF02CjVpHK7fZuCHI5aLRyo5JAjyZq8n/micBvOGvp9al2o26AmRDFKUAAe3bVo0LqEevkPg/wY3xlwI/1DlsDj19NJgW1/47K5mH33a5poW9bTvtKFguIb+xedRCz7loSSOHRtGYHuY/ycF0ZUu6dz1doPY5XdUxQwWsli8+oVzBceEmq3DzoARTjXr5T/5XJQt/JUL0PMTVcgjGFeO188Wz47ZiyheARYIsY5qNdcvSg5s1IqHSOZMkv0/OR4PGPSsYvre76LTIbNfXdm/WM7G9KaaWUsCONfuQptdM3uh+YD7jzwBmPTkDxJWXtn0OWIAT9PWOXlaGliPZzYtead9TSNH3u/atEXeZ1lJF8KqrzlcyowXtkS9asJvyY4aSIYpgCOSsDIRDjIq1Wvi5brlSeL8IZzLj495HMUob/5U9eeNniHaDVhWFhmd3ZJuV97d54jRCAJwqk7aGVhBlOXjKAxjRhtP7jJyxSK/3CljQhTzNGY+4SDuy6J0H2g5Ldw02N/8H1DGbSScxZPeKElJpsyIjaECgE+sq/cZS5Zoajj2yvZXo9FHluy1wRtet2C79ks3mSQRSQt8fti7VyZsTVOdwK05w0Rm13rWSTK9lcRJiqhsXMT4uQVbfuDMYjwR/i9C2r06/yzBDy5FUJ/RJr9zuhBiiASeY6IDUUd9yhNv+eE1U36gyqA8csb0Kh+4eqWslUdRUubmrKOnhRQJr01U9FuS1yHwXaGXGPFYiKUkrpb1bIwNkQxiPUs0SCFTD34vvnxvFNeDPNJ5pHnG6rUH6ZGljQQgkSFpWrC5YoQHtiCMkQ9kO494JXqC5nt71z4x1dkPYse2bo0xK2fm0YiY4a6FpYpby6UHna/WupAXPpXPJAoMHytLIgQj2d2ylP3IDPLH+KJcYey6JkeulxAfuVc3UO+aXYW1HmWef9ij5jf8lc8Irl6QZol+dWRv1QQEnYYM/AaAJQksR0V2Dh7LashJniXI4YjzLDcSGyTcbfpjCNMcI2oHaeJHPEObtRnD2L0Nq1IXAahzqbRTrLIJv1Mv52mqvFJ6nEoCIKGlE+FXTO1+EKqllCuRKjtK/UW8tEBG1c1YHJ7xYjlqWwfn3+ht6z6YAJG9AEQruRAyssrv8p7eTch51w/PfsaxgHSu1fJGrdTEFFngj+lFgl6D6rg8QFvJ0FEPIu8bW5G8UBa5cNVSOUKWanCENA5AH+QCb0wYSpTIyQ/13hppH71dgJ7uI4ExEWwCVfOZ4Lh3efTjBLcfrQ2fhvkdWROpktnFfKS2iKd9YXp+6m8oLYvp7QMxQdSe+jY6l9Vz+XFbXeGxfHKSU6/QxgRGlPu6HaUJobbwH/VZ2UfwerOVwCS5Hg+yfQEPbyBlnve92jE0xNkqr4/9yxxXFWQvKStZN+5oXnGJB6E1JgXCCU5sglZmEZ9RqNC/6nmLSvi8UGE5GjJ6iLjbIy6xCPhQ6rZnDAZtsVsKKPzsn3Ach93IAXZYUY1oCOqER5l+D0Zvs+5INL1b05Ig7nxEY0lyHJcjwZVbEQul2MC02i4ybf3DEW6G7g2cMnEOrmQ+6IzxlRT6lYX1MAUce9sykRQLH/O9CCP6WYagtpggA81gE7PR6wPq+qvMCOtWIIjZGruhQKX8quSoJQWnmL+G7Atiexe3Cmih4kq79yZgizt0rMjCbEysE1vZUHPS87LL826tD3mgrRO/EeV9jCefqS9e7Q9Sy7TabnpbY8dWo78E/aDmXWS8b6on6CBtqzaioEgVvxSI1GDggflnTg9gxIGmzydhr788kok4psD/Jp5KXfegKfoRo6dUJILoPGA0a4PDz5ovmPXOImXj9jyyxX3XvzNiL7mSgOKgQ769VnQItrcfs8aohu7CZatjQCu4VEqDwqaNPkGrd8iTde+Na+9GGB5Gxhwjuet7iFExxoT1sRR7MwLBdgEJT4YdgAeOnfzvU9A5KTOAaI+ODNaGiIVWML0x0yYFwU9cyV97BZd5jrjR/6raDNtqKBKSAZy+iYx12H+pSjDoNcJUJ+H+amtd+yuuVckIrpVWpsGALz9e6hTZdG6UXVQGExTKJbLyS86J25uetp5F+6kQNK+cXzSW9uRrXDovCQs+P7VQVjreTb+GS10MXKdt0aTJZ6YPvkB0mnSdmlO5ezCwrfUYCKY0lxovf1ZfG6tft3hUnVvQPjLDddTdbSR9ZVGjmPvpf6GBKt9Xr+X/bgsM8Eh1s049563AciKCdgPYgqHFTkawRuatetWIyYNYdwDwt4mLMME4EYQpApG+PSAnlUMhKd+pkEZ9Zl4ycGY9durxUEbzsq6R9uNK8fA61BDO/iScG/CsJRUAX7h+H7cKYComnT+3sTYu+Rwmu1fLJ/A1/iUfus+qr0G6v5td7ZMt1PZnSa6dT4Lk2lyf+5XmeQLPujckWWRsb5PpMgPo12Hu+NuzHhEdObW9VZq7XIDIwzN/jPw5bqzKgRLwmO28lyLIA+jETFvoGgDcp+AIl6+luVRqu3LSUG7RwZwVojRACfHud9iu9wfrw/x33UGVl8ZDJOobMpaWXU09Xsc7Cmyk4IGleIQt62mvbYwA3p8XvcpNnVFowdvFv1PR9ROIjf8StJOTa1gYXv0grACzhEVdyGkHHg9vhq1KP4RizM06OMRibYzdao0P9fR5uH6LlJJ9rWX4msAtyuZaf3gCv/6+CoAOMwuhahzZfOQ0KzMKMFcAT7HxvOcQj22emsKrn204Wts4xOM0a58gbWLM5G5VksoQaub/Do7e4/BbpMtTjzlshbERgfAGiIDA57m8U+sPVzxKszzNyPLOVeUFVQq6yjCt9GWWIL4KU50H1fBG4QGhB7yWWP3zlDTC+JwcuTtVPssuKgyVw+6jBGGMEJUBSK1IgD3L+1+5LzvL1MqCsauytvNpZnUZYKiCm/LguJGBTFZJ9h3QnLsRRQmh7OZHsdlHCm2qlRh5UllLPeIyDuM1cjV3dgvb/6oqitYLytZ9JCsG/J1zHOyZ77uO0ZzLGiw0c4gnp8WwCsCyE8z8zzx9h0P+Qgo8iBhPWF5ME0JgmZWUYAJAed1FvizuBqsdU7vnJa0/Z/OXRaZ3tHYFZ7dEOHRIyNtefnPmS2s5aT6Cq83vVVmwKkif2p4gxlxdu7XBKB5dczvyU5RFMziAMs7Mq+FE1N0drtxxHFpDGGt2AJeCFuM30W8AJQNw6oHtypt6VqnYwJJhypgTRxULPq4s2K8bU/Hz/23QEq466e8pNC3NPi0Ic4R6Fr475NLut414xRALfAFU5nkPkwS3BbJntWNoKmf5StPRmQOwEwpEevRSvUgfbhxp0X5e6T933TDQ6FWjw2tIZHdKo/LFx1iY84yWIlm6W7RxzRKhvaNmTT/L9mHmIgfvfbrQ9FjKZGdyTDL5ZoPlPE2X57OzkUgkG2yXJ5Vx5fBC2V1cdFKZHzaWCXNhhuDH55vUs3p2NMJNm8sO7yh9Y5hoW4UWIDMsibvp/YAsKmaO2pVP2UrckPHhhVZiGhEngQ/XdEZfLbGHucC3tf/hxqMqXMdci7QhMajRGyeevhLmTv9MPc8osh8E/1h6LZGXmsmoe2R2zmm0AvCbiNQbuNCSDLvz4lW1bTsxbGSizhmcvNqjF0j+Vj8M4u1YIzzBesR0f9VTqpzx5ky5J67pAIuTkYTgGik9W+hxo/eBVi2wwBu3+JWnbPKzet7I2jCtcbZl0y3JRSktxjdu/jwIHQM9io9viSEErR9sc5iV3RZe8s82tOBoP6pvLHaUgR+YPfDh+7cYpGe7Ao5x9Ms0ZKDFnK446/4IS+Z+X6BQwc5tT9792/tkNGvvytAFYLvHNxbHmMUvG0U/vNOpesmhICpjhsEAvw7wh2nSktCFkMaqai7wDR+Yx2pqPe5CHew8VIu0P4NMKKgixXqwVYippPKz49xB0uHTW7O8w0XyosYv3CtsYLeToKW3/e/5Bwbj331HbrgYSFZjijhEJibuOPC0nweEpM8KSr3ajS3kzOPCu3HleX6JnZ8tnwxUjEfnyFipbHfwbl0iaiWH0C5K5zNTkyseAFjVP0EkzObfFwECRr1uwAro5luyD/3AN6Rk0EZGGiNtyWn6V5riaeDWEAqCtioRrQm+5csnSsSO+LepBfjeLiVPYYMEAJT2b0USPJZKeclLWmbwDfLgeJCNV/lK4BqKPrONFSmUxd7izi4KBeZ6alXyByfM62DvLQCqiX/uaNdHqiPOAMT7jcfx/WHFPOPNYHZbX/8yGk2q+eIKDWaPbDhi/T+Y+Ngb44kMZPvNmsZyUJOk0FErF5jQdENIFVLX5h3tivGfxcA4vxwImBt2MphtLFyLvE/o6tpNOl12tKVNTlVluuqDb2sJ6Z5yFTT3OS59LNnl1tTxY4Icnf9xf3pmfvg6jrjp0i8EkVH3/dspIow7YrLb2Fnk1hrhuDE7yZ3JbuXTQw0tWCNBozcIwPWSS0D0ktjDK0S9oUsA9UK1iUbVErcR+2w6cW2bwE8VG9iAKYZgOtwzOoqbqY9XFJqUMNJMODwqjf27ieszdb27+3EwBl11EpVWNAUBhfeZJzUigvkOpJBfSKumupfclD+Qtn91+QJj/k0qeAi3xmUZpNE5+veQHy3ie7xQ2mdkxN3dhvDp9tHmcnKl0twTZvtRtNOsN4t6yNxQhEOlMeSQLGtFH3V0ahUb4AiW+LZVUpHAbz6JPGbBuqLLnGjuy1UNMurKPJI/8Nx4nr2PViWiebGe57YR4gNYj+f0lUUj+j/clhrnRpIpXvVolnoDymVOQZTAHZsaynRdzWQcjhHsETe7ZVn8unwq5Mb0nL40i+D552f8eLtUq/1yPMUC2LSV//5D1m8KtJx86AyDFFfRC4I8KfcwyVBBIL56QdO+L6obMJH7sU5GkSS1I2wQ4ky/o0PPkFBI4jKuLp91lyOqbBggUIF1GgLK7QOFiJpk/xJR2mKVt8Ygv+qHHaBSoPBkhhKG6yqRxW3BwOhu/D587J08L//ibxUD31bfiSDo/XIiawbCSGewImhtIfO/auHRSmm2GURHKPbQFfLlks6n6Kha3DFbnjeX9rCeGzoM+uMqaia3MS8ixRVWSZNcZmlmyxUJZRxgn8HT0VDnKWq0NbsSnzHzJV+3Fe+5A9IBsoOcZnxNhBVloDxW/nPH2gHoqDkwAcyS4owXSJWL7mkvubjsXhg1spKNChqR7d0LPnYaJvRhdJXS2zv6B+2dxq9LUCO1T8wh84vKSROwIt80XWjKVeB/BhYkXcrtuv22n/6FsFntgLaYpB5r62/wLdJHnIbIxUWV5ZjYgQWvicwmU1o4lLD83ChDMz2xqKY3PRRuyeAfXW9C0zVFAT0PYhdqxsBn69Uhw8hF2v8wkW6AZszkSJ3zqy3uP4jS1zlmPIDELR4oa+2cCfvwQu9/h28cau5r4YAUV1wr/QAGdLfYCFC37mG9tD/oXu5mnsgSTkl1iCrNl2M8EPewoTe3ok4DxHoliI4CXIEoz74aSwKK7Z1j3Xd1c2CQI7gx21Uu6ZG4dh/ZzF5IuUWX3jhWRtDXBlJLtEZYa6N7q34pjKbJLIz5zNpu3/odaSX7NUuPf4lXfGlIwI9NCW4osQJbqESOWx/n6/1pIJFxHjx0RgvxxYvh2aJQtIGz299rpjqBhoCJCOmDNPms/ey/clmkGszguLOZ7InljYipg5kP7idE3vavq6FRrt3dcACac+afHX8+oCPqYgilhgzyiB353Uw3rKG2lsYqf4q3jcrZ6ZANuFd+pa8n+wdWO/ttczhdOGWE6gOnU2ps0AoGUvg1T7ZPv2iNPd4ozz1UGzIAH6x9IVwQWL452K8bt2Zx58Y45otwFkFXTu91zKPmDqkk0GVIOj0jBAAnEf7NQW20Pl/GBQMTb0yQ0fxHBQovK2vGACE8QDXvqJvk3XOPPs8YedI8um2SrYtWb9ko9QAYJO/SuWET89Hm+HliuK+DUku8tZ0o/iWyNUzZ5MNf8CyaTYqouQLkTK2eIL7UASuPbbGxfLtA2ASA+Cl2WICzhOk7o4bUt/ORu4psCRSygRH4P7Y/IwJVlSzdqVh9D2pzpW8rs50dRTJ7PAE9fuxlH1Pp5vyts2VSHceYZPOVRkVYjHZlzSnP7JuLVufV/uapgdN8SFL9mqdvW28Zz57dfF6XqbYQ9vVtQ856EgwbsCSHE5t8jpTNzCGpfR0Amf6cmelbemWOR4L+PFUgVW/VYWIxkQ2vFVCcTFYS2ZJEaL79mPavOhomWPGjdUC5p3u8OSLrJUpwxx83saF9T6vgNm+ntMlxLr5cR1WFKkOCDlezM1ajVlaVQI+sKd+gFBevsRSwLAzibCSP72vazj7d4jfyEMSxIuJikYLfrAyrzT5EMSfzyVT7OafNGv3X0fG1Ya1N9PP8eb98xE/hQaPOG9wooqRCr6qhaYzeBffTWoKkncMyxXbqRVCUvGf6KpLY3agmxz8aoXTmtknIbQeCTT1r6Mii6PIozXgTt364JYYiY0m/+8tx+r/skvT9HXFIdyU/SjRKQE/qtyfb/lHYImFQDPJ9aX+2lxn7BiNvJ9hYHIy/EsXLIiZrlWdbuksWmGpqqcmSyZaKpqx6VdUyi76QPnwbw539zkWsMcWRJcVIs7ZSrw/YDSxTBmwJHbStxtcurDEhGr4GOXvj/NEHJy6aZSDo5fq/lfUf1MU+dE7A4c+nRVfezW+2wBZodSZIaKyGJCS/SHMiGkeZzfi4JgBfvApC0zr2M5rq62nAn7aJetaQuEeFKs7lM0m3FU6RIaM/eb4bJhhgI3i/l9T66bq9x+v8AiEqPPEilOmyUlxAK6pGR4eukMgR1xqjJS9buB5xPilKfdLfjLa+fWs/ODAR/J42zd4YE41PNFjtEHOS/Ygh/1Q8uanlg+KDHFRmZLMQaqZOdSloV3njgFDfs6vEtoGvB54BIGnNYrGIl6z5pkv1rPB0CtzlXa8uPNhnKqrlCuAMpib5jEZQAlEjUAFiahjNTJz26SuFBp3ql+oJbPgDwO4z+ZGevYodzhl+R1o3ScL5X0K7AszgrnKbDJYiZUofIU7x66MTcRQJkFP38UvC4iNAskbVSNULCpzxzlHxmd5ot63uRXUm0OZsmx2u+xeoUAv16sPiaStvQrd+GCD8gRfHa2hi3o3QMYovduQLr+3WyeZ2utu1Xm1fRXwlypufgXrUpgkkR70wdWKpU7dqMCBjuvDRDH5QYKuozSep5nWnMqZr6Ml9+K3TaEMqyNcaHRDu92NjKOElyr57zeLSntp+yb4ClvzWOHRqmNgsUrZjURsORDATRxnohzLSXaWIlB7BJaxMy72ho+YffcVdLz/PG+b8sQhLDq15xPQnMGv2su9vBmpK/3sQi+r/6PhKx0EQed42I/zWOOOkdlWteM3mE3W04iYc3uSLWq+0nIgaDrrqulkOSHy8SNJkwxQfBba+CysjgcsTaPMaq/WdymEn+azIysrfC/dXAikF77+XTNaoS/Bpyy+SjP4ielp4htsJdalozLjjUV6XY4Y2McxsnMVw+F0obkdmFddyjk2JuWddL3U5TghUxQhQs4wjEAvFzKmudF97scVEhxQ5AMhffCqFbsDu1yQAxeeefy4Trslk2TET92Vld0Cexoanbwe0BhJy17Q7FjYuJYbv55CWK67jALOLWAcQkzRR9MRF76T0nli9z/uLag3nGY1QL48PcCu1y7yycR9DNdVCMSZwrSHYewbK3n8tZNskn+/KUAgwriEliHNXG9PUpBz3q5VbwfjeN40ZaUCuaO8BbQOfhfAKh9+TLq3mFGZ0fQymlJam0LjbNxjjk3RkrBbgNIE58pCSF8RvYT/yy7yWpWustLfrBSr3J0lTitAKJD/u7VaGoUcrVU4nrUHFEP4mRh/uwnB67iNNRWBY3DKQFg+V+mY32fbHOZQAf1VV58BGWkLFTPSdMFlIqJob2xXk2aAvUUc+uRXhaTbT8iUrVq1RTIsXITqJI1Q0HH1wFiegTxvfAeof4sQJdYeSfa/IRjDBz2cOmBz7nCL9v0/B/ADDxKc1FCiHOX1q44c8a4EXWy7dDwbyaWmT6ajFxmQD4xOihkBK7LFWgero67UMkrUtHlG4nXvADQGt9H6ieppIVruSVuJLnxetnZL5sewrfMgRBaiqbVRFF2O7pDbNioePGsxuJCsGoA264h99S2+e35RRVMMOF6VxvTBD00kAjjZR8cLXZGy8kGKmNsmlEk5wqhHCr3+3rxgFuQTEt/KhA7BKQgFJLnmot2GR9nPuGFGH1ejv4eee82QgtMiJzz4Zw4+f+lYOQtqGWDIj31wIPpNY4ZtQlFW5hiqXfEoAsiGTmg+Uy7Shw9TZmczH3oYMvuHqjCqnkh6ZNQGpKKmLQi/TVZMbpMYgwkv5zvT4bejejAndt0dNMV6Ud++nGIAHp3epL6nYy49COBVUMa8sMiXGT5B6WMUlXQUr3GW8kuaW3FPjR/YBGDn3R2Kv6HtF3+Ox/nnfoCYsr9GB5Sqnkgl77ZzJhZc12pkbUDpAOQdRY0A42n+a1BAS3HeWQrw83t1Ut2doO7+Fe0fFN5ernoE1ousuPxri/KGqC1f24g58KDojO8nZ/pr9aW3bLF/EUh3ybAVdRyv3lSuMcZPAGFXnQsr/P0+nSEzv8fu2aUCc5SGv60uT1dRWmpG5arasSwItMhbQaZ9/gjbaq13LramC5ZY1q85StjBgqXxHiDVDFoFjqFmJFKSp70nGFTsAOHYEDZMENhbqwzrism/u2vcnD85QrJqioPwl5c2pLoBWBET6PLrts3XZ2rEa0juwDoaDADf/vxKf7ajKqGCzDFhCh0L6hBaRld5sFvPqjf5srDjX1TN6aycY+H6UsHxJwJ1YpjQyGSkq5X5a846GLgBztQY1k3VHA8Q5YWEgo/xjoUTlBxaz3qyN+vlwysHLWGRhnHbKf4eXHCiThzKMuXTrPeF1qc9rEptMIc2aC9SI6SP+fjoZEtYg5uInVuzKm1EgmHxO7+4b3q+kHIXJZE664nmXpBHBs4teyohj8u260ASzjoPJb8OZPbbrBAfQepn9DVIv+StaJKRvOc81FxYt6tsN7LuyE89ccIYS4TCK0qtU+anQzU3u67nTqaRVaeNL/rILU86J+Uimp0AkANHTPge76OTAY5yRqsIJgSg1rxqdC4VHC7Zs/euuHEuT/lTvypTD9mlmIBynrhhO9k5Lwp40IDSyAU5reNhvJ475hwqcSlHHyNynQ7XDFoB3xcWIOWfMXVtlUZgJbablzDjig7NQ3XhVY2bdM3BL3F9HSp+RYRFvG17LnTjkz9D7x/2wo2UBnlauje3w39Leuzb6f0jgT7E3cpjVT4d00DCVuBJ9NxWG73JW/cF86T2Ygj4br308+m7djSkxncTL20Er9ZMo/QbWrFqgrxAFhBODlm0GaCLNiFMzdxsO0+Q1r+GEnapjX+DxcbgW6SS+K8FU9B4SASkypBi2UsgihBcR45pJ5HczXkn4pYGhI6zEoOUE9bTtGWMtHcedspZznxtKZw8r2DbsABGpeeAgzf7JkA5coGSWYQWli/JPwk54+ROqzQVSQ4+JIAq3VzLDNKAO/AogU9bRuxDN96INpXeoU3+GEJypYv5xCLlFa66ijRZsCO5BvuXxlEdGZbMowAc1sNHn4SxynvJCV8ErSmJSPFzJX+r7Techdw1h8J67pWWMowoC4FsnaJX9hsE1OC7Ik+v6VY884sold77RRk7obMT3XUqlRSd22x1zOoJiAzUXZJX2VFDMXedFdZcOyvQL8nloHWswkepRZKK6Q45i91HHuHMu9F1H+ZgExhOZUN/POC2ZAPDC9bi8T7ENHif5e9sKXV3F1dumUaeLZ+WstdOY3GZLJ0PsPR4+KreIZKtFKOiTjDRJbvl7ZtkqOx+VwFEwAIawmibhtBvQpQdDVr4IrUNjAFdEpEc7kCrs7RRhKSSIoDDGcbmnOwLHKUvb22YNyf4cgtr8wEBgz0lmuaAUr5mj2NGNHCWN8+AOsDV/REpvWKPHilno0W14Pi9/0LS8jtsa3mrz3cO/Iz/rLV1nQlHLoRckAZwnOTb4rQm7rGtoqp1SHplePkTnljfht9R+ImrDXt2hCZbob+sc5w8urxNnOfEdl0Ql30R/YzY2Tg87R1cf4+RQiQHC1StmY9EWNkT9P9bW50ej7BtrQSLvzegj7oJxkpxwZs7xtXxyssijifSOrL0geGuoH/PZcjLIR6DOgikugBqY5LHXiMjQ+8ASOsXyTBBz8XYBIdPQLKISxgvOIBlJyG3CucxpCJOh1ibH2837ubOjTRc8DHTGXpBh17mWqVEoysDuEywgqOT2zATzmtBzz/SUbxEwbc8LH1RcXRI8RzpuZa2Z5f8IinZZ6KrfNSJlVDP8n0eUm36QRqnbBlD6sDNT9P8F/QyMcnRy969NqUPJvY2nLvXtyY+61tE/Fv48Wel3+4ICBRnC1YZzuCF6ijv3ZA4q4IqGVyL6IeQNbNH8TPRIcOHDdbQiK6aV0pRri+effaLioOaceo478hwAse7LIQU1pqGu9wtlKZpqr5UhZM6RoS/83eFtTCEaUVifaqxwUe96NdUPORd1J9V6xW4Mh/Y6B2bkcUOIVlB0UWTpsZC7tLDLiHm9B2Wm3/srLff/y3THJ4V57y53MXO/dwVVGf78LybcLpvoI6PY6XLfwAVYFCxUrG+eQxnWzjrcIdgj8cTT/zFWLXRPISinU+VmBzbsUszu+RjXTo9aEb35lwTXtiAMt2rP4rNLw3pqQZ0LDhGvdGUszlfhYVxn4FERdYOV3wttJ2bNoX6jwADNbGIsPciDDKawXUcyFeKOAoSP8BO3vyKrZPwxeUKnoG5deAK3fOvTOQGG0Iur4SSaMtmjILFd1ubRu/D3B8De59a/ymt7zQGJTqmCscmImXttUhKn/uL2Em+htOXGi37TBUVNGDr84HGUMy0/XLotYfDAuYHXZkvF7u1R6PjLJ1asYmUD9X+WiZZspGUnJE+TxOdoL/jKt1hODpjGsBhWW8EYdvzfafsFK+5Q29B/0DCqGWUj0w60T18bPv6XrDPA5u7TR5O5NQWg733oYP8rTm3ivXfqSq6iZIBCgKtM+zREqbv/UmG3SqT3R4Q/yEUhLUo/55ZZiIdaztpJZmp55Agq5PLUhY32SlskZanq2NchdyeO4Eh2XkzJGXCY0X5JQQgAiRAQ2R0G6F/hGZP8k4gg/yIfc7yKrTiGnKNnIhSeIjAby+/K4yfbTlvnFBy9QgR3ACNJMHFgJqfhpdp0HD+IW/HJ1BBYXY2xZ4lf2CeX6Sc3FFBNOpyD0z8vcqh+cERfLrtBb48iNPdtwV9vvsV4Bnnh5/U/jeaehVhiIfibSoglk3kiS8ZqRQhBGilRtQNKzfF+qXfs+no7vl9xscB3EEr3CyL0+vqTQsWDPqGo4MZe8SvC5A27+jhjIpR0T1cSgxC/lw6QnWu2oJwgv9WeZdZhka59r5+fq9bnhVmmKaMBCYQLz1yskV6VV2lTKzHDbzebO/q5PdiEnXZxfovnn/WQcfPNVVND6BX1Z1xkIFUdEdlO+9cS9EWbcTUESijlyvjJCjlZAGt0+crFOnBYWDt+9oZSPGP64smYFzE/GjwMb8NdoJBww3lu6srhxxCEK2yIhwUQfZ4D7FT1rFgLZd120FKSF21SaCo6fyK/4v0EIe9gvPzEkBvnJSaLcGAfbojRBs0Z8npmlzUBVbRJ0mzBubQmh5TVr3stJUf3EumLnDCYkcgHA5NN/xKEqm8SWCa3iF4eN6urOm0cJnkEtYxjWM6GvKMOzecSaIGOT4JskeANlKsMTAgrbDWiy0CRl6FtzBNfZ0FAHxlSqEKbsfe5vYfP1dNNfP8Sk2fOP90ZxMnsbRafGTnbK3hhbYHv+TFui9KS3Vh2tvN57oU/rKpWzZtEfS9A+jgMWJ4u7jIiUtUaPBXBzJ2Q/0K+YhuuEa1SHsR/KkmusU/rTGcEvRQZrhN/vi7XZpIDP53ToCH5atfJ6hO2v28POSPqRF3y9L31O7T8h5GF9Rx31p5P76NJ4a11HPyfvbW0C+oqvt7bPR8+4uB8aOhUDNiEdXdExyqyUdE+AWoigvPdg1ll4Uec6W2Fl7OzcJwNDp2W9Jbsul4VJg5IFWK6b/rTPXWUzUSbYBzHM0JI9XNa7svnCUxHDgfDoMA/ml1JqnQRDx75z/PTW4Ufw513HgDH97MauuM8/DPMVF8h8joCLxje8U3quF9/O5cVIoYCaI0YobN0b8biz59ZKO3j0DZpFs60Cf+TtVoXopd25qjKCZ1dPD3oIhKRTGIk6vUG9xdkR0lBOKy25DtzjPlOBXG0199DO8+xicqFDb4aN7XrYU7MBP2K+hnLgohrKMvWqzIzsleu2lB1Kl34U7rAmafvn4dtDKkOO+damIN5GRTeXFe5TyQW/GJ/haSIQ2YvuOUwGMofNPm0ak916ORoHwaey30SGL20g32R5gfGTKVJp3qUp5RwqSRIFPlMZwnTQiuJ0B7rrsOtOf3rYi65nsGQKqIAgPMtcuKObNbd04MFyVTJgqhy1MHWxdqwMwqzItlCmqlx81vtbCPRnM0bN3XTJBMS+8rZu1a8G8TuxEF44LXG5hNRq2jv7Oz6VhP7OSSz4NrXO1t2+QOkMyFJOqH3Mjo4pDy3KB4so+9CUzx/HqwdPnB0ysuEapn0Aw6EuVOn7+pjhSpAWcUXS/u8wACHCKqqYGz3ge5zDGtuKjff+JLtUadDk+dev59a2W4Miqp7itDRh+hZKeyuMrdxHwWseKaGhSCJmdx8ywsoli245NegFKkNbnGPPTqNL54VU4i02itxrBrO0yYbsxRyEUgDITnTEWg5fgzZZkVscxHf3yAzWhYCdqxYCyD3gnmPQGD8L7xUdrucAYjXRN4CMC5IQmy6rWbPkWHbbxurPJ3cw51FjaEwI/uOOuvmhaanD/xtUSmKTvEXZvFZDKS5qq7DrfxvPKb9ZN+J8p4fVFj2i+VWFWpnQbwXUIer4scFY9i3dK2Cqw1IrUAjPgBv+UdrI+CU+pzWhLZQ3KExejSkXr116T43785Dmy+uvYpKWKEp2CwFnHqqqfVf/hyBeKbQYTSIB1Q9vZCjbWHH07R4YW4Z51ZKltjyjhp0KzihHb6YGbQ81gCrto0caAncoNLXzAYxtglEB6SEJm9ceY0/FNU9LaZfV54PjZ5CkCxaT1YGhQdBQfPyz3YkGZPNN7KdRJiNoetuckRbEhPnYjhZ3CjQyhM/5UGQgFTVCiO7GuV9dp57WlWWOAlYAP+x2kISRjFuaS+HAli5QwO6nsir/LYwP6jMvkzabQqmSLrOD4psRtcKp8mv4dEddvNRptae5iq511Tsdtj3jHxPTedy1CuJtLIppdZJUa3VjsybLJsWSk0uo012Rl81iQ2007RXsqjquHIs/FgmLgGw/9TyHOZ8pEqPestBsmNzOTsWlKkV330Vobe7QoHgAHbhhp6EHghMCh/xoLeORXRrzTdS5hRik/AJY299oowKYwIEavZrxJFcubbVzceG8L3G6fVxS5xrsBEgsoOD/v3fSPf4LDwCM8hxdY0UjqpZeVVDyGZwAXLPfkcyh/koE4Yx673yKMisZ+u4js3I3bDCPRGe8bXknTZgfrteoLSQoIlHD1rzYpcUYTMZEMIFM6PJa7lf1UfIcEzqlisFhQJuNJ+cI6DY63Dju7x/2UUKGgyBPzXx0LkpSuA/ByfnTAghVqWn5++aw19+zntvRpKPoPDCJZH4nWsHpg0h+apqfy/M2wMh75RhtxHeX5e7d4mnJpE+OnlY0v9979nSPNsKVuZ6QuWdZeBPsnDQoGS8ZpJ8QEytP4H7Yyr0v/sVqjOMZgrnCyPEiEqvrLqnBDcAqMV+3JGueU7XNdTbY08n0RfBbomcU2IkMUZsnEX/6U7oecdgOVOFe/Gvk/SWg276hAbvr9y3z8C/AU6xX/zbScjSOlxx2v3OQIGETlCQ++1840YlPWwUYHKWNHYTIh0qQorPb4zpHfHufTi2Bu/kAC8KKoZDtrxEJCzaj9D18Y3OdLkoJebiEr1NPCqN78OLqHbfhvN2fDH7I2ArbNL3KPjBARvY5kktMMbiAFB9KaBfe1GaV0pJhWrLYKu5AKJ8govZamQNYMgYbVpIzRZDJYGa4VMT12wXBT8Lt3Mw3rgEiINcAR0TOahcron+h59Qty1vg8tK/JF0sIHJY2tL+oM+KdjLkyVqcjAB2+EzIAXjhvWUVVBZF7Xez0z0V15TWV+FGD1zC682fAF5vN77/s2VXPC7J3KxD3x8Hne4yiMyYhtylzzQsBohkRJz/EFGxyD/mN7MAXN+2WyVPxR7wp/f7bNWOvoN6HXBQ+Iso5CCkq3e4qrQzj8cOHVk+ZeR2zSH49g4H2glHMEMPnder1ZlCgGu9lAImEX+5NpaNBQF6zYtoI4rMj0MyxpewCCs177LRwqk8Qs0AFNSzLLtyYiiNNWz1WRfNOBDk6nzdNb1WBUiCCdiFu5RkT/XkPCbULQ18J6IDbOhu+0Q3XdrO6PPKU5CWGlHEQs56xB/kncr/UR8lpUMJSzxhAau65asP/7pdaV/C31dcqM1Nf32YyYcXprtnqHlxTSJvygDV/YFdmoj08cj5AfKhgHSnw8vWpC9OQPkPkLXSg7uftb1TNVGycjT/aSzn1jcC1rrc7DO8CzoRvSBAcgNy0xdxIq66nkUCzrEjLk2cfPzK6g2Yn9LlgxsaU0pj8N9GS6Dh/VAdcix8UbfNUk59JAOTElQiJ6rDRbyWVGfUlrstO1KqAN/VWdp037U+G1lXQfKBj9pY67BnzFr585L4edPn1b5/Pv02AvIg5jLbKbY+aalNKYvhwRTrkirlMmeqlHRQpXo/wYstMsH1bEePXoz7Be1iG+JyQ5btcRmznI0DtYcjhnjFfb5VX0SlhVc9wW0JTO13Jr0hNAJjaAcSuSxR8tw/flCE4gxbIg0Gn6scE+uCo+87vFTgdZdplBpTR5nkFLJ+Ri/CxvMqfbPV74rY1CslqX4sSRab3quJMAr0t47RlyNd12cUiGZe3G+tpRh4tqKQz3EUPQjaiB6OmQrbAzAFea0sLpN4ucsROR6tlDut0w3yvfGeWG37BRFuaD8FXsX3njNuoJ/dd3ziuTlJ8qE1GZWnIoGtTgwga+1WEtiT82yGhjDmKk2R7ReWs/sIPp8rM7f+OxYoVp3UbYu95uTSYBMXvMMF1PgriRiAM4C7Z117LeTPZ8C3ah0o9u8X50TkWHJPmAwc64/g2MUM3Jb774cGIAfp7hUdIiME4u3ARkAjnD5p/e8PBP0RAvPFj8PFHqZ7KTomfSvfUUAv8V6EMAejjXxfaikEqvPOVplq3bNz1L0xMgYWa0d4LExky1lAQnDgaHqQt8w4HZ4IyySXBAzNF3Jby2KfZ3kPhDyoAU432jUT6fkabc0eIsf0LvnbWZ0I6NxGXX764xDjZjvNCu1sZOuWX72IJhFS2aE14BnXHXZziXjdWgm19DRTRFRGZtw6X8P0GlB6Qtv0QwvfFWjW2PPszOm4HmMYrjNqNmG4JGIaxCR0QDxncCQjRR3NRGHr1jEpQ2nxgjiraor2MXGLiOTw36667KOWPaAOKZKnV6RPk/gizofFWgJ0Tq9F1HVDMw0vLB42Kj4Dr3Cfw4G+M45PwzqDeDXHPmtlEJNAjTRn/95KUwkW/y7U2dp3FMNPURy5CNgxPsru9yiJRUweLkk/JZtonlquHt+JxVVzabozva24Avv9/j34C1S+1sGDSvnuatpyUBSbROdhAPJfEm9NcHw2MH88SThC+pxS+RvF+hZvgmwrisJFOK0hZQma7PH6pCHR3HUpUehMxAsOH7urR00U5HrABZexFKk8KpuWxErIho6s9JZ6LuQ30/zDFphm+/8CPZxvrHAE4eUSUtHq/0px0E/7Xc/3P3F5OxXoa13Njp7igdKszkeVHt4kX4V19ebEn37z/2dvW+ymCn4Qo1mCUHxxUcFAJatixWi8pgX+4h5opBTHzEm+lEtjZsfo/BGlWAeQZt/8VwsnL792E2NrzA06++F0B8ZwMArR8z4tBpUd0VgvXuTeAz4WlNfCdq0NARNkRj6nQjnh2hZZdriBoBAHcZHZ/HYddTLYcxRNVAprL6CmAcB3C2BrOVU7LhGzXtIIZoGpNA8GFjf3j9SQJs3IesI5lAxr6d9gtbjytlnl76z4WIMIJNkr2yZt+i1Bp2/wn2W2oEApOYr9vBr3XJGeeEYBLohGN8xtEAgCyYcZkslB2SWNbvaCn1ug0exLsdT/fg0JcjJbCWZhys5jLUWxvv6ECxjYZu9cabK3Rpt85yBENfqAjcBTwPHPDd0MbBM95FEksU8fQPeOU9Ncm5uGgtOj99jbRmFo7UnlXlo207dE4iU4fGBzdK3CroCS7A2TgXJDY80PTYru43XXidXxGJdAuwy2MUxU80irGaoll9T+gi5OKkN8R6Ejci0aeU50dilqjFPa3nUm1HbCjhjl3ZUq8xp+bKuGgXZ30DHKoTM1KYHkbPa8xme2HGw1iui0lv8AS2jhM+EyrSu/9NOY+zwSmxu9SkkT2Ne9q5RnCs8YP+jWARnkvvH7LqKNVb4aIfouxqnxYMfyge3F4zSJynfSRr7WFnJTOXr9TEMMoAzNQSCXN5Q7Tsl4TRPqYHMXRci6ENVL2E/C4AfZc28+50ZX0dVf/HnRUeia4KFFkc1hIbJVwUxfh1yVXC3AdJBUrO5Ubr4zZeUwyglvkLmLC6/TPo/i8vGl4VWIy0DOwxzPt6qFky/BinouQYg3TzEH5yrIye7o713Yq+tn1EJBcYAUAJeA1B9VmyWBQP2lK7qr1x3qpfZKQqGBzcvnH9IpOB1jRwxi3mqZrcIBqt7/679S3wWX2VSh9M5kwF10TuTMM7Ho3nTb9aMl+r3b69+N/pQrmowwLm2taFRiHC5xzFLFasFbsT3owEabW2szBbX1gyaQ0ZY5mleIzz2VGCCF2fFMUjSggb4YRXrgARkCRc1/TJghKIGTOad69qqM3Ny/zkeycJ+UnCm0YihlfI5Cjx4d6fqr5DJK4LnqKPz/JZ+/2y15zlj7Ns+s16CTtWUCjXWcG5L3RElT5SFKqjXNqStbY8fQ1AV3qqddnthyJvDCODhmFVk58g7dMTtpFdRT7qr+3ExPpZmF2HR4dVDtJdib/tD5GtdmjSqR1G4pL0ORt3KCFrByKjjWc6hwuobidgpsk3MttSHdI+Ec6As/i1vOf39n2dc0GKn8OwVjVUvCqw0AWhOpcys5x+tb5bq074ly+B+4c6oD+fk2Uxt9exD8HI+emG2TmFR5iQ02YRiq2tyLs5VBb0OTnMJ5YXTHmMahquy8z6l3noZabzYhgR5ue7FGDkirPtUP2ZB572OUNWACdyF+ettn9Ha/PpaTEGxZzktBKBNV68CdXa3WGnF2rHYiOnC+0aHoQYI8VB/5ESB7dmRhmpbBufqCiA+SsruDA1ZPAdCq+YU1c9Tg7hA+II8bGFKKfjzWMx29IPck+qThlOT8LIDP9ep+LezJ8VzFnjEZaRT1lmjgS2gPXjLZcQg/YlmkQPfVhOgmAkcnZAFLtvY5FEwJNZHaR6pKMI/e8rkbf8It8DwcKBzHCbZ5vRV4c5j7/iVhdbtqpPOGnwi41T+nAM/RLcNl8x/DdLoQlVkNfCMQXCXmz1oMoHHtHEtCXkUeq6ScYZbgAR1EiFS0SkNKPY1Rkb76ckv8k8+Nrude14ulAGCkBnX3qKqXbu4lIUIsGSHOZA31tXLat7uVqtqstthsUWlwpLjASW7C3whB6kHUOGwj5DU8Ye9fUrDhsvRkej9sTSmcR7GPaIEPJEm7neTpkP8oCY4I0VQtR5Jro+2/lvCMK5CFR0YNx/fYz8lMVztenS2SeDK0D4vHHbFslfQYKo/TZirM3z1uaXYAZK+/ZXlrnjlQbrRTc6eIJQLy3Ovy3CAszjkcpLr5K17knnDbLgDQbfVQSEIT04WU2sl42PfSwQZ2FDQ0VMl01cA0f8R3v+LEBXXuim4FpYVKmZt4bNEXQFkPJlBSmC+8YuCfp10CwIyv55uQSGTzy+oNA3TyYRi+/OUrTN8EGKxeZuoRdlvkianV6ebeGURti2uKvHwkrbtd6MmlffFHjz7ngsmBNfydn6wEGl4ZqqczzAFFhocXaHsEdzyfnUdQIy00LMmhQ5MN28vZdZ5RFKAfnEyO5LJfIxtHzSIzVm7F257BuABhFkL8jJ9xQ9D9V02ChK84rRcyGhqMhIv6y0YO7CeVE9VbFiE9c23trk8V+h6fHY9AWjm2cu2NoA48X1HBOOQDfI7IXKegOr/gPIPYyyg6PaZVr1IYKR5ZzjmHVJlwD1G3rYFNSNMzLDNYqKj7Db2BHT9yyGqSJ8RHVzC35UB0rw8I64/fVqEeXazvr+B0auGQo2Fu3YlVCnArfXhSpvuZQeS8obkIk1RmPj7jyFO/OouuBQqtJ5Tah9ltj0obVceH/uLPvfvilb/M40LHIywn6py8rAi/MAMTiTbxNUTLBbg92E0mkvL9OwUELrIbf5pPVyT7R3l391C2LOfTZWb+YhX1mfeRZdwMo7438VG4QMTFKXun2ox/lrSN75mKHhhakxvPQKuyqVGki+EtEFYDTB034ud5jtf0XUWiOmfWi8NxkiHb+rxQOV1n0mvon6GZpjNs7brMza1XWQAiqyFPqLSeJwZ8GSBbul81tUrNAy+YusY34QMIEKakK5xdih1/Hk6Mq+4kt0HDgGQsyTn/rII89JP7xrrCpJOYJplTriUfjTy8BhCRD4MDWV8sP6aFlsksGyb/8e6qM7OHlw++8J7o79sNzP2SEDqvNQb0umyjp7dzt2XlIl1fOQLwli8bXS9znLwIbbFVucRw6cjSxP/E+0Y+R4IuQcw+wqXgu7+cNcFl4Bo7hFUC7N7pFeg4zJ39JvIBJWGvYmfoxbXyUxHbcjZ2iNoVKsLoYDQ/LNdFFAfNaYj7YIsuUGNMVUzthzIIfqnLGQZTfTXekfZ9312HliVgKf4y/AtzyFtIKfgYHnz7kX2HpCgvyiDx65PyLNyn+UUI0QN6WQ22uC03YrLyzypa50bn1CIQ2QLASUCvCGXrmH1U6GVcPRWDu8S3TAhjQD1HPels325Af6cXLESjvNZXauBQz53dUBqx6XPZDiAgx4HCQsoYLRqLN9vkv1sxuhiGoGyxIuEhlahDo+IZFNgCnUKMKURgr3eWx3hwVkyP7+rCcw3XInJljZv/+8bvLvQM1yQUzaRvCXTaheii2GBlLvqpTCztTtF8kTwEOXh5+MTZH8wQ2L5P/TN9bToQ91yjWpvJYdamQdPIeEfRl5oUQGGjhDJg7H+RjpGMN6fBbHXINpyQ7eGWRYa77CICLPULvXd0XyrYrx3qPxHzUS/Af0jYYhCvGyix4kfRbkPYsQ+CBP95mBmLSVqa1zfl22vJqQB2LHnU0QgUMaylkNXYq2qJphaQGo7ewYYwhigmuf7bGrlw+prTqx1v6q50JMhEoS+JR8uf9ktewBK/Zjatxtaf1jio381CjXnR7vIBqZ81xVjVkzir8pUP8oOVogiYmtXA6cmZ5SpbTSzxnTFYYq75TDRfQTHpjwZUQ2C9+4O4NULjaDkKGKl47GgYZyBdXZgZKtvcNb5k80h2dse8fCM/uhi0azxPzvYQuLdkwpDE6gBpbpeq6Be5jYCRW2jjF5hWabdRvdDmZHlp+RgG6ao6uBAYr0rb1w8n8cYDjUgY0ISiJQwEuRAXX5eR1ZQJC4OPmWP5OnasuCCnOvijNhlu1HN1EhI0JNX8J9tQd/SiYbcG4c+VP0lG1dr6Zmvqy1NgvaY4ch/rwKz8G3h/ZQro1lk/shaQ/moI1xe64nsJeIAUYdF7l19ygTzG7azUGlk2Fgay5BpYm64euK7J4cInRyB4gG64OhAIMiVMsRYyUkbm8Jb0QkZnTJ+te2yukrKfg/2Eer5Tl62ALDVsFomZ4CtOEaaWRIStxi6ot0Nyd2LA9B1PG0ki0zSLf9Kh1RsWL6jv6+Uow+xz9uHFvoCQhW0Ny8JFBVuUuPtdRSbMz4TkRCQg7hXpuenHHA49n0C/LL1E1A5CffeJcNHZJi/XocNQeBoQnNY25gaMLSblfjbB3iFTT+onPyLx6P0xAq1RUFEy4EYpZVEb5PIHyckiVVcd5k8CMQ3wEKPrSS2xLVD7emvKaJUAsOPJdq5q4MBCGvl5XFMOc+oH34pGyGiesJgABvhQvHwGolLY1qKTUkGOs8bhxVBkAlZ/9P4c+J8b80kAZfP5mb9yV5PBfjtwSP8OPr0hhoSjeGu1+bsMJKxoXxHhO8xmSxmWhBcUgGvCPisAQo1CxBpaSboThC1esMI4kBwWayPYs8i5+IH++etqFJN8W7o9FF14zIF4/A+ZJMBiZOsS8sMsxVPojYy4befgIkCu0lcE0Ke4/N2TyGVv813oettY1yOjcBQ+gF44c6kkXeCd4Xyql057Kt5GtcvZmlv46SBPvefwJQqJfKGw4ZF1QLQg+B8JWSTrKNShBx1mWivD1xetKmlSXCyg8hYUyjXbcTGuLe0IFM+7EVb/Fw8hTTOEAFGcPK2oW/mfPSTLa9inQR4N5J5S7R3ktfKVXBSwVKl0MycnpscOYCYUnj/hN1c488yRXCbOy88u1erO1fdU6Min6sNyb6FkHFoyVzsrw8LMsEReiLqQwCpqiFW7pFNKlsVPFoKv5q2dmBp2MTb+a964WaeScX/f9sg9fsWMhCHaKYV1kXZpbo9SS5MWjmiK+wPt8nHRUeTwnoN93OOc6mHRMU4rNux07vHtUafJOud1iIv4nhVOCs80HGxqPmM9N3aCg4lZ2YP2LkJNBC2OD3nGmevWgfmrnJlXEC2qUogLpTYBjjh0+iq81EUdLVyKvIZw3XupXf8E4xHy5jZlms0fWiAzsZ/f/uMbqt9bozKAYYHb7muZwaBTZ9HChPGf15KW1IskOu2GL37+8cJOqGAHUL8rXZjD7r2pP4F0vm9KLzJ8X+iKQ1Oyo9ueeKFkZZ+0Q0bj3CR2QPkmXDSk2ht7ryyZq6ogvB/thJAFbyDbAHepfQoy3I7ufjHNnafSZoNIN2aa6i6ws659j/cFD4CZPEUi7R27ZNYOxt6SK4nwnqJNndnw25vKc5EeaspObqsaaiSA8U3mGtL/gsbXAFb3YV2e0ComoqEPWjc+jgpmC8GfJMdWLK09NKxlVtNyQacYuwq8jxBxA7Bo4Xyi6jexeOeS/l+6UpOpauhvJ/Mh4XpOaJzUSOmffsaokDhQuIPMS4Ule/FNpfHASRnAlX9rjWv7h17/vkPKGOpxTnm0Rt/S1NYE7qawKA7QLnjjNLYTXcb5ulkukhcxi4U1hnN1fNqfBV60FOmAUssyJ0OnUnztk6/wvXWgqD7JMHljjdNBU0zu7rubFtNhymmwMiLYGjM+zpT+ROmZdEGiEOWHoM2sYNTaMT1mSQPs4uwkBuvA8UgRwrRS87BI1c7vdUaK+uQCr4dzX1DyFiV0G0gsWvzScAxpA7bhZvIXs9t4iO9trT3YCByVmdHxgatIC+gCumhPFnD4BMKsqGOL1oWu0COpcAZl084q6c4JXdwHZQrTpEc7Bv/fbVdd/VuKE+7E8/wLvSynTqpcjQY8hnVN9LvSIHinemOpAvVdvDJMrZ8CN+INS2MBX+R6vxCuPf6h7/P6oeJmtQUvEJptTZFAV3s7pf6PtVncnHUwrAltm0auIPtvZsNtie0LmtczKpW+1nucTVyR/jJUNj4xrMc8MeyuQmGsdGjwV8vZM1aBG1BbOtSqjAKJcopIz9k51OZX5EphbUoJCxa44mcbcNHDcjQQI3c8I6ONjga1BQkhpiCrNnJh9dmmqAsxeSUiNW0N1t0JoeGTVLXgwtqredi7yuuDW3NVTYQamjtkcRc+bFaRPb12nBVVdHpkUGmyWW76KJbP5BwmJu5xirPmzuKlhSF4MavLiyErvY0WDjMJ/uc20rzJCYDIvAF4LAHzaYK4lPdZ6IlPwn9+9M5Eh96c15FlZyy7Q9EWSInHToIVxp64bx9+8lhcTE3890b/nT4/3Ac9qddHxAmODFA8dNMqJMrEwSmTkzX2EStbWiey75DbALSCQiWEgc2Aw9qUPeX4OQXgofZET5BPeBvylCdtAMFmFevfCLog6wIQ0ZR4scxoSLqdY3Z2V8EiLqF4W2qUiY7ugbk6KfvTof+MJt3OkNaX29paptloNUb9hCQmDcQol0rJE146+Dm1WpVqLEPtfW4BW/jqzti+Cs/R8lRSQAPeA+L0T3Rw9X2awZrjuo5CyHCI2dyLD0bUwkyj/B5RStwCz+PQ++q1WB/LKJtSsZpvXGE79JBFMrAB48CkiP2IhEW9RHEdK8gghVp6q1nkJ7n3LWuONYXtrXt0Up1JCSMESe+jYsrlgwik0yRvTu2QFrN/g59CclGTPclVFfaUXzDzN/qd5MiFTIo23RCdllx/buqHra6De1Hn/rMO6nmEk2Lendj5/JZcDZbghpX08xRcMBeYCoh57Ys+5Qk1oRwmzpXE54xjhj/kbtt5COwZfW16q0UgCGa5II4d8JW9zpQ6VqZpQrDFHENpekr3LPqo2BMtWg0hN0RdhtLxymtYnCHKlzRv9LE/4AHXF+0LS4QaXiRvmPPUYZs2630JNegD4Zfo91rgeonlbut3UT7SMy8F86Vy+y506cJJScVauQUromc8zmw2tvAw10r7ujsVC6fS+5/FxIW/wD5juaPWCs9UV20VI5M78MM2WVmCKfB+9ApCRX8xVHrtwFZOf3m3/28fQk43Dylxcac2JAonGpysYEUrKRhQuURQeVnQ7BHN4lxU6WuzuFn3A771CDoV86LJ8gbqo3sERmOp99FgSDhKbqrTBo1OwD78HGa6wG7zKRCw8PFe0eTfVUzblV23Rui9CAUrrkpRPq+c8ILSxdruRv/YbthBHT/6aFHD0cNfxOg0lUOOiOQSUFg9++QaHNnOllYxARUEkN0CM5Nt1g63YYHUXgmQr57DZ7AWyT3mE/eXf+FU1HZSLAPrfQ3XA1tg1eoZVkfER7CLjtbnATfoHIvmSuZ6cqSygU9Rn5GhQjM1NpNMHdRT+aajSgA8+xLWze96LM2p2UHizkseD9og9KBoMtuBKRr4Ynlf1aGBzVbz1ZGLeykYV1/UzF9UIorKvqeSTZgcZqcWJmzSlsUCDkCtRJdPrhvxV9xZZ/PKbGrmbiPYHvAx1kDWzaq7RxYZaAlZ+R/zcoK096p0ZKJfFQUiwHs0ACUq3sUODghTRCaBh8z4v1Ew1XrADnTNKDUvOgKSIHvG7WiiDzNc5sQDwNM7SQtX/1EvecUSbhVYSzweVwqrcP8ajH9lxo9aYdlS7BEhB71X68thWN/1s2jsypE9F4k3X6JeuNdwlTzGVvrTeKXiPzLx79Vfjr0UndAUgS/xqrYPBDY2pNeac7iCyzuNXZWcerZtOLnXon6Wwunnwt9tcxcMGxycZvIs95FaEHue0W+Gm6f6Q0m5fUF6wQahDR2by2S6+BhwyFkjIFR1PpWj53/73XDZ4tHT3/NVbbl7JCiX3rEvWe63qbfCWsMRsTp5RBHWNLhow+cRyk+B3cFiAE3maNUxMZBDtd4Jr/JK6ocMmyHqyf/cjnQfTjxbtWczGgq9WEQYojmVwoSN5D7mxqIK0P6Dkna6YCyKI8xDfneXStbFZMoIYXY/1pA1OFozAZRegfMX0U+oobeD1UcPiVhdKcAFHs1hhH2xVB6KdMNmjva5vSYbjqakk1mOCEW6RVtMWHCvhnnEu5yQWfVFh2DcopImvEiKzSkX7QHzU6E1ZvbUwzmSX6FjuTmDUJzzdtFnj41i+z7sW80OTWvcOLI0b9oSIQiBCuXabOfEBiMB7V9hDnEhZLgV4ewz5w1q6LVuXh14WxtoK0pwr3QxLy1mbmbqfVmV83Rm1WsTRd45h9qToaajYT+PEbOuIXLfAg4KHr22+Yn5U84cLwfl7gSocbfPKJtKxFAytHvYKX8193cyOpo8jeZTnxtICmG6QaE1ku91O0ymlyJU9Qd10n4yASurR+nEHXuMbLnhT/OFvZHvp5Rf7gLgXg1atxAuc+fk8t+F8bMzTXz5lHq+VuouldWD4lAYEMMwTiSmkEGRp7qotyKKXL6zW+p92Tq5XpvZatkcDivERuJnolMUK/NxMeAA3CtC7dPsLeGQ7ygYHJJ4ZIX4mTIeZGMycgWcsP43g1i0RhpR9n6kBZnVXlurttU9+rDNsmWMlJz2Cfxc6RS/6l71AWNTnMidgoLCCKl9hirCsVY/o8uXszfcph2Aib29A8LTo+N+f/7bXktY1RUzd5A4vuDC8rIkKwYhTOW5eYg1mqiBldwh1gMTQipfR+O0ACn2hrmHtW9wDiD3hAhovo6k5YImJckEdeva/Z5ihuw7RdQCdeUG2s+7t+i3tzvHamzcMDdsael5x6LcJZtiG1AOCj9wHh6ZO3KaUfhBhh2sEgMXXYLAsNHnLB9jgcb/zITJI68POpC68m2PguI8s3NvaO6BU220pk/jPBXsowVorhAbN8tg0u8WcapoQ0uXsEE09fFXmUW8Dk7nw4A7i2dH7yqmqcNLBd7g24Y6yORmGa0bRysrOTWgStNCoHG8Rny2l7KkcWgWMpuAFnnNAtHPnFblhqPGhlWAa2PFovtR6rzriyIoZOuVO7Si+hUf8LdLVHVG1kIC7AFlaE9rJ1od9KkLp0qAXyBzW8mHjSz4lJgPwB0ZDQkKr9bbCIFZ/dCnBT0VAd/j1utDwrTJUfK17r0Im6DUe6ypzzk/ffvxuCvEAQWvug+pjwjmSkQ0c8Ysebl/QoO4pGDUaQdFmPw7gfsSh+wpQQKceaKgG3e8QJ3W4EqYeEF+9Kw8Kq7XQBC6Kw1JTWB7u9PVL1BhGcscTi372KOa9p6bNXraWodq9hBbccyxV/OH0PtG4DEHdtxHfwlgJA4K+2bRusdIDxzYs3zSk2NF+83Kn1KrWKrQRnTvWOZve7evPOJXgiL+rTO+RewTICJM1xjC4Q6T/k5KEhdLpra2JqCIKcsZiIk034+F2Ug8Izp1MNnjVuepJyKORWJjxSoVAryY+ZyWcaZB/zP9um6GFma8vbWWKnfanfGkd2xrIJKNSUaYU+3MMCoh4aWA5+5mVoAWyxfj58V4OWo/qtzqSEXBR6YDrLqLPHqOijAnqtiASJ+KQzbl6pvRKcoayA2W/79p4HBP+YaUpQ1n7KpWi+LOQjnvNowhwX3hLOAZme5URN+AOzq7Dx+8UR2mEYbJm800K2oi2+ibJnSbLtNzmZz5m1ysjcS/NHQcEV5Zw+rBApsKUaXG2iKCtDmD0XS40iHR6H2W5Z1ym1svEfaZeUHPz8ayNvdEJpA+gfIU820H5THbwaOmTW1tgRf9r1GthfEv7yCxGnmQRd8DSaeYrCy+mD5dpIw6fGNCkqJXT5m3y867ZxGKUwq4f6IlDgAuWgIfi4K9M6nHs1oovyTkSXh6QgqZr4j9lsZvfO0+NmBk9wVA3N0vS7bGM0GDs1G58VBmljyFD65DqeocmG4tVg9dOXFqWhcCn8z5aSHF882YhMe2z0kc6tlGWVFtz8BfTsPL8a9xPW3DlVhsOjSIre3fTd8zbit6mKoQ/R02kU5LloXaCovd4SBVn3m/GqU37G8B1zEQK8+YXnPVtYSO4e8jUlwOZ6mOaYeiU/pB+s3mPN4RYmj4izkExuSi1S7n7Xhomc9k/+7t53iifZ21JnvMaxMUs8f9Hsy4XzpnJ1cCFvVp8sTRxAiUHmBw0Te8Nmt6RuRkX2f4K983fkepwDEA1ID8eGSmWABPOsSz2bxs6ZdxyOQ9uEISMj72H05N2iA3yn45qySDBigN94IJAiHB8OlNDzgqXWiCgF23P3Ge0Fp3o4RWZENMYKpWJ9U6/aG/hyxszPK7Z2mj11gwZT5wfIhWTskXjDAkzCq1e/EUqrLEHc8hrAwvn0mjD2yuc7N63ChDTCdt5YPVAXWH+IkPrpbCVvq8ZFWT4ZS/MmHZQbNmQsGz8M27gphhfBnUmbo1u1p4KGRp7Cber1rLwfU3aU4cKaxZRT5z98PqM5NW0Jkmk8F7A+hnFyVfggRoDnKfCSPZH1gb/OcKrL6Em9lxsb8hWYWd+1BtFoLZJEK5fXZCVyxrZosdUgyReSupJlK2UfJGY4AdqAQM4xF5MD5LsyxQqmIWJOoWW4T2FnUXHgHm8QgaP5qCpV6a5MHqXOC4ZpYkHsLHHj9biUQlJAA0wJT4ARqgypr9ljk3FwIbdJdq8A1N/rZzPHPeMYObTzmq1zlhyDuCh2skrM5VnEotGAPgAuERnk/3DkCdcQpabvfK2dbbVBQq/i8MUtZk4/E/AJ4/iPFcFR32yJS6NLq1QMLa0mLFmzlkG961nwLUqMQ1W8XY5Dw/EL6sEzoyfzLPTjChNDgu+QkFs9vFc0mssdZ3eTaX/5gXYC4kNItxJ4GVv0+UYrV1Qx89+sFbJLwSr2UHgHMfHYsB+kkDxWP8vQGbemsbxbC1WprBSYVwVPxp6HtidZJToKlWfYjehkjuvmpmWlJY2E26LGZ2Iaz5qn64vzCAtXGx8VgOriTLsu/iJjaJFV3cOtB60OfDH0bG8VpJ5u5+obTnJD1057enx8//J2ekN/XUzClYhzL38+OGOVPMUgGjnkxBjvncOqZ2IgWXHaLDtA5rglfCMJz58zrvt7jcD0hgjz282v5Fi0sQ19yQCKDHzI5vMZ3qR4UZ8KdzC6ogLH03s19+APg2AhYTbmHL6tiV4vSxfbE2nW23+ZPGOBu26TnohMWGsjvkX4Vkm05LjIZC7Xprh1qLJD1wK1zdjgugOlHybFk4VM8B97kof+OjZ1Em8hM4dzPBQjEuL69P9fHBZvo8ZL8TEtOdaKnZcQDlsI9MyjxfDv2p7KeshuDqEjhHu9g0jfanux+PFahnZSQTikAgQ/kil4RohN5lXmeIpVztaT3tIzKJ1o62uwiJGwE4D/fRcDckwlLQqaKX9hkTPmkM2NFMQJROATZZ+3mqSWLsnaBordRzOok+BQ2XHBbkQPRC6MqeKc8h6GZR6m7uM45h92QoxiQG0qpcFPGkSP4Mh6vgllr33JXxnHgTulHn5Z2gQgDM4OjKgpJVCuZd5CBLXnu4hfu7XYHFhP2q0vG73z5nyNRJYN4WbuJEInR44wO5Mdf/0Y1RjHrO1KjlCz3ZT+5wQLEbz65kFSwplgUr3igk0z17XXsoUyajZROC9mS2LhCtc+6NdAyegTqXWzZ/KxPhRmzwD2w+dcGBJOTLLKfhIZ3bGqiFgm9cMEod+z9tQV54CHlRbWbyP27vpxdKZcdRSGtj67grgQgXdEOWfIpu91ecuZECrRP98jRnRe8dudXriZ7KfiBaGFOUs1mN1BWalhtEk1dN8xNVGwIAnAtdviNnWQfTBnOC+xScrZDpscn3QsBcEwhrx5i9zmYuFJvKIcL8dNX5nrWzzPGeCoKnmRmAOLdUff5OGf7eNI3QLA+eL8j/6gUsZ67Pllf+Md6GuDENON1XR6NGQhizKZoMcluEhCMfTeV/gQf6rs7Nucx1mLHwhth3UnpZ8Mvh1LZqXCPIajrAWALGXj3GxtFwGK0Ad5/xIW8NPz6f0OOJssJU/QLvvduEJL0Q9txEvdRRk05or67LxM6YoDVhwtO9z59BaOzt1HBdJ2g80IeD/oOn1D6k4lA4+Qd8CIAn+h6W7MS98sfjDMkALxtGZD8dUVlwHR2miL5J78IopTdfYMf422q3N8/L9S5DbYs3CxhvcGlO3AcgQSMej5DdnhFWvsZLDowfSLaHaRBV9PyAKsStRUZWlkh1WK39PZD9JYglCi6JsqfXlaSXhAw7eLJCb5/zblE5gC/K0NPDa/Nj8pcn3icsHUJMPBkrFK25uieMCDbARhxuyyt1w4gYcRs6xqKOMUePxb0AvW9mMbhqnNc+p93ckxBHuxuvNu1JwWZXInjKwM6L7kEwkBsGQT9e11ZqfNIENnZb3BP29RApOr4dcS4cbgfLzia/yMdwvuUEOawvXxVCqKw3R2irZropYtkPEPxldBTWZnpFJ9aJZ5dKRiywvqXZO/AHmEtC3fuk1dmOJzIWdfVqjSQP80wHBCe++Gt+kdfs4wSK8Vw5G1LEFDO3mBcSxgewpE7/Gi193hMOAkJXwHNpwXc3nMhISNeR6F2wVPz4Lyu4xZ8/d4EzeVKKELi3rYXSi90WZvzkQr3/84v0LmRmoU7IhlLZJUuAgSWkzEInoJxYQz8j/s2Si6tWkYFbMdJEVlqjreZsl//8iRJehGNPSUSWHVN5rFtVBXndskQ5qFOH9Q8OWFehyHnJ9D25RXVPHOcCyDFLdYaYWIPc+zyn8O3l+pCCwkEeLJcF3lWVMHxjjmTSQ11oXdzUF5Hh85utanWb/bOSxPLGeZ4u7KvUp6PFxkV3okPk/foDitzyDLf928myYE9x/vU/jJu4hgvRaa+L22zxaQbTAxGwucFyQc+uiFwcexJHrxD1AbWRA4wBTdGps68CsGExbK7eBwe8J64QrIryjOnr/3dTPv/RXR464y3MRWEoJYI0LK6dv6EPvatxJOtLW/7er3eNGETI/xoZ60fjBEQlthPKzutvVChJMp2L5EQOEIqCahxbQtJXFE8RRTJdhsfgudHloRIbMumP/KExxT3n+At0Jn+Kvn39jHaAf9tjlzE9ZGMHPVoBFfQYwycbGkzqjv6+PheuqFFMGHBpEOS3q/3Sl/tNI4Kl5lkGrae59aF4ALxfeTCbDpP0n8aIswdaCnwlZMdqf4/ctjwuvkhWqNF1js60YmfPD7J0YQv8TiW9L27YgpqTCqeEdBKLEK7jo5/O0nrBJb8LlTsyryGET6j6xbcTOjo2r8eizsypu62iVloyeld3xm5yBJzxeDbBvXiCKbG4s7pmWzHM9MHh9cahc2VNC3JZetfHWSzqskVNdKIweoWUEDFK/Y4FTyw4yoLrWt7mcLBBwVS+PKrcbg8TsRXhEl6uqBNm2QHz7+7XA7tpHz7cA8owXx4jv0RPrvsHt/HEusgugdohp42YpNm0tPwjwVdrQkhHO1Z5i2gxuoI5C8eAmTI/vbRTs6lB8MQAmQNf3jD4zYu/9y/i5js/oX83ynTm9TgI6wow2d7Tfdlf/Oo2V2yHRzNilBOIRdYdj+YfQhurbYECrlTzzwECdE/vDbvf6fdJtyc76hkqZvNBOfEwGdtVqnLNHw2pssgxxNth3VDtyM1gLhIaYMrtqtNJoBqlv0Em6HB56r3ZjsIUtDqHA8igiDYiQeZEE5DUSy1zHeiWXHH2tKWXm+ogjitSQ3/9g8MXjYtBI5eLt0e4FXDI7o1twC72JENLdia1VnHNO/G9eBIus9F1uDw6g8TdTiDRqTHOivn9Naaes6Ho4Ru6M0vmejXGm1r20NCzLbsMOJcQb0EWgWbz7iF1470/Hi91FMuGUVoMXqHqx3CgEM/nnex7KIpJg75l5BW9011U1rqo3Y7zfkS6p6kbIw6N6+W+wFSb9Se9kRMb6B4uj+jjdrwn0/fQFjpEJ33b6JHWP8aBncpRmLFMAuSu2sAA5kr6bDxiG+AgR/siQiy6V4XllKZq7X/MQfONoL4PfSQWvkDDR+/BWKycPTcsuWSWgz2DwlUE0Fr3A4niWrDw7wA1hSbl1XRJ4EhrmyyDZzggkA3Z34kvZT63tN1xcxfxMCT7o1jDGqb2cvoM1KIDAvLmWl0Omov0ngjiaDwYduDRjU8UrL78rIvvIJpXYoUBR95IW7kLrSeqdLlZiphVjNu921+6pis6Sou97X+xjFnckbmqLVM+LB93LYCejdPQZAhHa7VmTD9cMuVpPatkrGy7kNJFbtkMgm4SzXldV9esnS/+WE8ZDJgZdCtxjAetBKwN/m7RNqs9/ablKJMWw92vdvS4narVzZS0v2GwmEUWfbuMk0GE0aN0n9ElQS7UZTuM2ov9860xzlHZEpslllzTmB0cGDe9byN7JeCaOhQQToKGYBrQ+3aaMFBAmRBoZbQluvx1LYlZBLB3oGH7QeDScDjq+eIPn6rjV/waitdseJOybqY+nF7e7kMjrw4JwC8eVL3vJfxFP/42Y0fTO+9QQBvOCC9eKnshanEbrnZCg4O4GQaCnfqnAEwa9ZhsMKVNCqTAKzkDM9p6EveDZiua+FhxfY878Ml4HkN+pMynL5ZvV4GUBGzVuif6frjOumX8Az1un0+refCR2USRr5drA7dloFuOGfL4w618E5okxSronMSUUv/BB5iB8tRSsh5i1kYB1rPS64wTiYrIi81qtGzBLJSheut7RmBUzqUKCgPTs/mtIAqxLGCNE3nzyCTpP/nR+ZA2thC3LXguOqdzNKh3Jc2ITyWzRx6EAGHFKVq0geVUJpF1k3prIpo4Xab2PYwgcc5knZVV5P3ip1D5k0xiuoRDrs0ePQl25/dRBdBttA8WNqhNc9yGHplUOGDIeu2ZEEb4nEwuRF8IQY2+mufO4G0aVesrriN8dYHg3iIcu1DhfA2ry6fr6XhB10fJj4xQwO4KP0P+9IhFFz/pAlaMrdp0Njcx779b08fxVwNJTnRypxrvw68U1gtgm8MKlQx55IfWCWxgkuylvsgN3DTiUySWfJ0/js7UeWJ+7rhuEJFwIblTQGF1tSm4V3AnE0jvYTQ4TavCr0txanDogEievzU5baXgosrBdzxwbsSHmYSvufgHeuGapAWb5jnwzogDYjKy3fjuWvnQtT9LDTDXF8gsbEvCRQxYEJ/1HLsHI7GyR+r7TXjEWWagazmZ69t7nr4eN66sqputOPNfsN71rDs64ivrR39adGINKu/SI04CT71cEUT+r2OVRk4vHN6pGfsm1LZv/gy0Pj1p1DjY1jZYkrwVrRxnHmi+CUSOEySO1/eD63TuiUksE228k9gmq10UzkVJLZRFFcgb/r0N4n84O7ogLu6q1nWUtd9mJVeZWvd/7k0XGN16hTick1vdp8ShJ4i+asD6eFAZX7yqWuby4DqNu9kGpk9fXvQM2eDoDbbtIZ+wqAhZgVhzG5CV7WFwC/VMGfXaLihkhBn0KaSDJoMEx0DULFTbGEhVeZmul4KfM5VtD3OTMBQl/meDHMeHbNe3QgXajyRSAaPThlPPF9bb+PBQB2lSmveV8pCb/xasxjrlTLXYs8r9WMIBJC3YQg99/25nxb5tfluPICERj6nPId20IbDRmQ3QbZhYMaWaxOVjirwkeyBhf84dnUKTP5H5xkA/6lCrIeEa8w8RlLOMM76TlCO1Yhccwhbd7xBIusJwkkcDJS7DtRh+sXYTFiUc/vsuIAzip2oCh+zdbqBfyjOZXvmZiEktEQ1KCfhAVqj2ZzWgCbPrCzit/MV1M5wvkNURr/byL3auKBOtMSgT736dE4UNg+J1kLzg6oE+NYEQcnz8slJ3FWJfDbGp8gExF+wC7H3yojWj1+otY12uQ9UIWUNUYXIh0VJgLG24NAq7vxBsH/WnP2H/NXBDWg5/llJntOQ2C9DcPRmvkD+Y7Kf1EQEvKphL7d5B7lg9v19wdQBhyWbPacWAexkeqDqoMERhJ0I4XfYNuK4iEv0ivhSo8u0UUHWk52fh9eXAac0Ist+csuV6ht4hWhUeTkrJ6szncWNxPPdeuJ3xIEeBCF3KkSoWgA1qAk6qTOpyJgESBqRfOSoDiO5z+9DL1Kg5x7fu41xGsOjTP621fTkOf1DayrA/kPTUQmUcxmerGi94IULVzX9M2megx4uOhR+Knx1Dri+Clxfiyo5XV5pSKRitRFIn+GsxwCvbgz/nF94ukdhgmkXeNPN8SkuBaui3Ccif4gZJ+JXSsJltD/+l3lKM7+lyVbT3/AJHHqujE8fM9CR6QaD2PX8vGVT74q1zW5/V83Nrnr4N9de6C9v1dmksAJdHyKzlDEdUyBKi3FdjioVaooWjB7UdqlNZS9JDkabdYBviQqwzhitGG9SxRUj98n/d8ivWPLktrfNYWVyWu6mHNpEmiSb/NS9Dzlr1KhKzI6uFmo42rUbaciiwD0UVr1VbmgNKIAmURj7GSLN7+E8z07KP0RsImjzt++qz66xYBMkAfw0kh9Snv3+cnMLUMw+2lHa3UIMz1ddi/U88MqZ5T8e9BIchj51P2Cxhv22j4hN3cEfRqHXjvV/cdwIimYNUeFeoYmsGIcPAXcdNBtl1cFjXiOrkNRGEiauMkAFSgwZg2ALPbX/OSR/GrudYg0gEzyX9yGr/IAMPeLi7SF0acnmw9ixA4ptu1a8+Wz8g4WxAohFMDt+9fluqiP3Y1FOu/vSwk6sOn/ZIMIZAg744zV3gmEwwGTN+1ZkFvmDQhnlzyiBuQbx8iJgeOIgKJy/+zdsixY9cj6CKAoiBIWb0wNeHHlrhhPZt6vOT0N0Gpx+oP8yIIapn4G6Ioew78Kgg8VyLmSKnOkNQgQNFOW6sDgACQTd6dvWPCYm8tWByhRQx/uihtTJ6qYnvuCgUKFj3HvLr2wi5+3zWYejQFoD3vEIaprnoe/VFxnJAcFRCq8P3/8hmm3/MAmrsZuAhl4FWT4L2VGWK1c/SFR9r2HBm0SyI2sy0Nmz1TF07UX+L23OQwts5ZklKsTMI/rQk6oGX4jISxY+f47ZWibMlu2FmS9jwkHJgAnbA6zmaOO+iR9cIC3YlHiZv2jWQky+rxEkKqRWpSa0z65VxH9Clhwz9l4RyM4J1KwFG7fteAO1VyLGMaZlACP3ldvnE7oEz3Si9kSRr7NF2NwW65vIErf9OSsilFVQ/o7+cWZ7ofkHq35hsHegjn8efTvsYY3gYoqltB7NVmnofTW3tPBgXW6tdKAFrZHwOhwEEDCbgtsBbM8s610rESwHXU+DtCnEiKp6p2Cldcanyyt20n0u7FZ0lRpwPbjY7MdLzdy0Pw7b2qM2LdAED+z/4HxnsM9sS9oNKemtTmUPojJeZw7HSzz4qBkRyjCLO/9Pnxap9oWUvOzjK4g202iIjAIBiBsWtznp9uq0CA4SdM+9pKslicm6seyEqunAz6F7B4frNDjp58KboCEWL2ELbJ7kFVsp3Y7oQ7zCtBJCLhqLdhtXEa+ixU5+g3qSE9I8lcMvSRwKZR568myWY3wT9Cd9gBVr+DcKvcJsRJ4BgDoNI4Rhy2/gZCSfoHSuzbHMKi/6v3NiaLEC/qOoLd0rC35GjXlGE9XUt4uKARgWfx9mSuY1516U6gnrlVUSYNlb8p7Pl+4R032dcAKszx/fNVPtXdaS97cU6lOoTU2xAsepBfCUod8ICyCwOSRRvKGAaNoKUCUxPJCi2aFpNE9MZposI5BLDALZ1au61LKJqKQhkV9GRFgH0R1EyQSGDFEyYRQZVXYDUgK/UsaeEmHHe2hp6ujaCKpWEALvN9wxzzvhBjBBWEopUj96xXRPbeClTeAJDy0IitlK2KIsTr31ERnCFqJ/EoK5iTaVXn4jj7IiUcyKhKcyeTOs3eJTfqeWW7CgpaYPkhRPFNt2buB2VP2jz2Mh4CR1bdj+Hjc0ZQmxcY1jBFwCkJq6tijoLLEBC++HtdThw7lFpqu3vjqIq4zLBzLY3k6HagtKYh6YVHfJqkFh7UhlX3TeJWZuO6boEyv/v9TGkPXgL8BxCv4azVT0EqXOEdaFluSjob5I6Z1niy6QrD8dFeBDYYKfYQpJL1xmQLXUU+YqD/lU+gmFNAC5/yTZTm1v3GDc5YncWUjnhM0QRTM/ZBT5xG8mqfuenq44ybCJoTq/mFpZt9bICtxXsLF0sFM2EkpIxwzitZervCu5a8/pOzf0xh7ijjMH0tIhyy7fXGiafPYMrOtwdlhs6h2/xKvMo3DWPURfuAe8Z7EN/NZp1RCAdxa7Dykeza9m69djyzHd4RFDnJbxzc2dMcdgFXEBDiCXEvD45EBQxUU6KIw2GYhRS5+ElD761bm+DePGSfCQq31GqQ3m5+NJ3TnJd1DKSXnAV3pB8sDva/9pc2sslk8ETPTh3h3Jhzq7FzTHzjlKRZU7pDDzAlInXEyj4C2EhA+SB2XU35hTGhPgr1XgINn0NThI0bbe0Iyx0SGyX0Fs6rqP8ER/eiYjcTFl5w1VqJXvbjLF4AbOEYt01wTi46h1R3IDweZYFoZZ8j7j24o3rpBSn8jy1Ta3t/4IhA5EK3/nFyuPZP50OFgJX0yA017TNI95Twhu+tevOo0W9NG3m2whjfR0YQbRt6Ia/Nd8VmGOYsDzNUeHoxuakoA3cZuxEU7cgHe4mHoM6OTPiK6j14DuhkDu5Ls/hABf8+lsIpbB3aCIq1gdt7rNnRF9fp8W5uEkU5/l49fhJT5OiSsEohgNMi4RSkXbgnz0Q06HBJgVJKWw/Z8o9PDYE+zXY5AXncl0D6Qh9rzAego8gK6QuRiOQlEv2fHkNRhD4NLuOHXyTzEMLF+sSxITXuwWMchh/wmvvq6/7c+Avo8FAbBYxz3W7KW2yniQNK2kD/PG/+J9pjONlG1g8v/Cq53dT4xvfKul7uuajIBxvmFV+1ne1D5iROJ72HZIPlXDiRDa4+DHowoNe6OMSPAGP9fl3ki/aOYT7oDfdIolQGR5wVX/KU5jacUPgtYe413yC2lHwt7ByphBMnePdwEwCRg5k21U/RWe+CJ+hno9MXLuQoSVSUwgfx9oTXNwCRbAitTq3Qm2YxuFqtIub0UTtdWuAIJRZGrj2pTWItyAjssHsmJ8nalmxY6C7kC6w+IDFEAQdGczHsKorf+mOlutGVwj0hPJxU6fxOrWYspU+CbcyOO4ynxeAbYZKkFCZcjEFGGBbfqPSOMAqiJhlw2Ow1XyuU77NM4X7vtSvNBHbIIDAIQEYzRc/iaIDfzEYPTLwDbj2pHXaROtusH9RCe+gREhXUmGpI5AepVEhyUcch+ipuGps3QKvvRi0xQJj6JcXNLi46WKIM5wiPAEfIxrPbGJAreI+KgVH6rD77fpxKNePmrJ3z8FpnqrNclWNu9cIN8lmUM/r+GS7WpJRlsMtqLjcjKC+ZjgELlT4+W+D+etN0P9AgqW5tNXTYW51tUPsFWDI/TR5cBhiqR6EFkTFLldVkM9A7mqV87DhQj5+EKzOPQmB3MP9wCJlkgLr9fPCF2GpD0xe1Aj/enM8vKcQERks5Y5Ub+rTh4+zWnyMuQUfA9iQ4t1Lat/jICdAlzl+paoATFUGuTusJoPMu+ivTP341hecKnMmGFjuXLtp56imRNQoKgqWF9U162v9frm8FQDPTxUVKYRTQapvrDdiV+J3Ac9xHTdQwYbYWOQENZsD4idGGGrvBRzrWFxSHoNQApqFsGYW7pJnjSfEYGArW9pmETU2B6H8zXndXTJp+7bWoUIVbV74wq+lmPK79XnDLYQQBtf7Ii4C3ysKXxT45iXpTcJTgJAurT3i2OIdf8DTa9yDqkSWsHXMbOYnSF4t500X5Ccf5W82/HksZL7WJAVYI/4l79IuOaidb2tmLwzJp79tjpumKYS8NGl075gq70B8LUdpce4pDZyeH6d4bllaZk6y8qb6pkZHO1WfaWGtMN2QaYeI8921d0ZimSnsn+OxJXpO1d3dc2RUAH0nKMo/dwbo7RSrwA1LbcYfNr5oiKFU1xIuGP7ryjK1wcKSKamNLjw+VFPZzrxOQXxcDzBcBUgqiu66KfBtAEmJ1FzBVAw5IKUonrDsKLRn7em2eR8NkBTWMcuYkfeFVvwv7CwhgTd2lLFy6OgX1gVwHt+NJ9TXqks+EnaV0/eIfiBqbnzsL/MbguR6QIgMkPZOTLszoHG5t6Qn91q1Lu17m5anTiba1kA+oht5mHO/1V/0KXo0tJjfUTE0nAza1gZRH7Eb6aIjLM+jvFHSNyfDhLF20HW4DN4r1O0UEz0fWjMvqjPk6qTO+xcVTUwJv31rFrA8FriHX2sMBZgUhHnKwAzw6rrURYIZlUf1rJI36NUYFJk5GOvX7USPVVO4Ab+yAA0tNvQIDrmgcPm5YEdgHUw6XXc4I07QK/drjFA+hBxQjj723gE+lngclmupFDHVtMOWcofFnEjdlbBg3Fl77eZbRx652kLT81+k3fVzRxG8ivMv0lX4gnHQYDEJADBx70W41Xcifx4WxNG0kc9vKV01Et/2qdEELR0RK4+XMMEXaU1Y7PiozDatiqSB3aRAHt+OXTRboe67/Jlv4CiQT5N3J+i/sJ5Qs5DJQ1I8W6g0YVYAoybBtOBTL/lwCBYzwDLPN1mj9asL1xO2ZOaSuqVaIjbk+Fn5tqXZ4/XwNz1FX/On98gIgVrqYSzYBKCwQ3P600NVgFR+R1EJGFNc06Zq06s5KQsH5O1gQ3NgLbtGGOdUoxiNvjgTmAcfmbtX90ZJSBZHPzC40uCW8uF7+w6RdqsccEV57F1UWFVwfkND3bDgtzq8/+0kEuw00KtbuM+hYjxFDXcV6Jpptxo8lpf29UOhR41I17dIAN30vS6uFAbSxYbqnXPWVEBFtK/UCOlPUN3eMvdEEcAEDGMSh6eU7WnfOEqXupujBf4h4j5hXsYB5MjfQp+eu+5I5dbn1/W6PLFW8QlzkzevmN3sT8awVORFVnl+D2We72YGCbYsB+S4yDB2HIMulCC0WfMECbREDUdIYOtMoIyOz4CDKxcbUbTVJurXzLvHgd8tk8aPW+1iY/vKdg/d/CTa3IIiIwGO0+Ho9U5m8qWRVV7awPVSnkEMu1xsMlxJjYt6goQEYuYFsMy+wyWfG5ZpE/LTofAUXlEXJatKDaz6RykhhCBzt2osWjF1G0GF6ZijbxC5CYtYwMZMr3yj/nicC2+nQ8svguDYoXx3DQ0AjLNOT5angrNogIX+QwAjN41ZUxRyJGpZFmM2C31prvIEHc7URd2QSm0BK0K78K0P8Xim/m15yHxXinmyTYho9e52ml74YpSw77meBYxGkIfrTpFyj45nh1mgNIpYD66R6PVYosNyFqCgfgrpl9DWdkWQbh0U9dXyfJjcBmRx91k4SsPlM4UFhRl+mC0NytNEfyDxGDDtFDTxpqxdpDVSl3Y6opIvqCNdo44kj0UqxxhemnC+qhrspzHCBxFGwYqAnD9wWEbI0EQA8qORRXiqG5PpVc9Kt4MYRifZCf+SieaGpp07MNbNv1S5y+TFkDu8oYepT1zzohRZvxWD7o/8919aZrPXtosKLGVC1JjGK5NHU37Rs/xDAUDYW6YR0nbKBTH5FL9DLuUsiMokBZzye+SLla2qhfxNTpEQXKvymWoL79aRB7sjRfismx1pPg15FVRz4TObMFDmcqWNOmqkPXUi/IlAZ/k6Lb4LLbQoKQweNDjXAT4BTg6euUiAI8mzYsOH/1BRMNXqoJcA3u0FPHjLBMHVCpcKdbFjHNTofHS8Qf0dxwfg/d4yys/QfomuRiLMA9DhSLJgayaJWxn3khxg6n6zYqa3OmSU4iT1Qatb6UBpdH8b7D/ZA0oAQgAv4PgI59bET0D43y3QKcO/l/ttkelx2+BrCikdwn+tJGDiETuuPufSkvUh6YWBUnXuNy++fzoRO5qHhnf4jZRjHG7xiZpGRdghOoM8v+/JUUzMfuQcJk5CwHACVboy+6U0P5mR1ArYwRaI2TCOBB783/YZd705CPXnUoWgMMy+d+owsQWsTbLt/NrL8EYRPotrUovGMGUsX2RO+L/VpynD/J1Jcp5jA1DBqjDs0h4OyMl22IR7ORmd8LXEimHs+4BunpQODfqrlSjqvwUhbpqq85SvwQUSCl9a8MUmjPqIbhyhqD/qDFzGEGRugRJNkAhdj7lbPmkL9JplZyhtboYFM/N2J2B7XnMOqNFxoQKMuscKFAOkgReX0gB5HtDgyDnDjozGe8I7s3qOn7q5swBN5P/NVf9C6ueQsxs5uU4HFgsnAswnCZlq+Pl4ehpVQISJ5+zAEDJBmx37vnDD/8u6BzqUEpKgH52jq2Pf+80fKCCpGAI3y9nl98p19bI+Iw3e1GqFa8KkltC7ewDA+NvR3cMb64rf5rY/ghrUsI+/goYZjsfxaVIXpZxfSDeYr/fGHhVxM7UwINtAJJbfmSpcDoZS47XV48drQkc6a5G6w3VbxUzirYydxFphVue9gLJ2wwN6iHK/ClvwdYqTOBLOl9UilCnewxOZsrHVd1GZrxg8l6QMVMZLJvCirTlB0gl2ov4hGgqRMFObcRv8ab9gh7UP+AoIQDnAFKJskHq1j/FR3lQi63dKnSZ7XAHG9HVl6+IJvhQqDtHQBeJYmW82nBvLkaVDmsoVhJqF7ecHrMqRLii+LNX3rQvGFoYyZsmdLsxL+zuL6jr8fFy/V/wMxc6EZK7XNuT4Csrx6hv/yYvD9ykucMDDFeHAmro3LCg1gmlVsrueT99ywhV+WA4eVxgB07nQscUMepzh67SwyEf+qVaKmeI+Q+PdRIkFDrhooMOCbzIZv2x1fMa699VvA6j2MuFi4KqqZIF3AbkVoidGTrFt9f4Y5HskRCBlebJV98nSxGRswpXzCHx7NERG5ikpK4EZIEw51rBaXXg82dKBx3MXo5WGwRMNK9X5q6FfBGBwZQL3PEnMcDT5yePAe962Tmaxh2x3L7q8YnZ2okgKqTaRZ4H+RN91WV8Z3QfvfwB4/EQS+xH8tutfrqTwcTVNqUffoZJh8MNP4tKbjH/vMKbjwdGBHAaYMmFTAMYr5jHX74TT3MM3LVECVavIgxECptvTyfIYP0M/iZABcuEvFSwSpPBu0c7ZfGolVW09iDqZYGl5aWrLkg6CdO2qIYcIiKhxTkjvP2kSiepVqi8qWH1f3djXXUMLsGOC8f/vzSmMiv0EhWS3jjxmg7r/E8Mw7Bmp65a4vrDou7FzmTmDqRInkGJX/XfOpCGUJoWPDqafNj1k+6NeCY7MyrwKlKmp+YO5pKe3BpArUsNg3tjIgEE6n/ZUPmQSD9epUe3mP1rxr0E0NV84Kn9F6NimCK79LrZpaKlq4+w96OvtPpAGD+d1lRg0E27Wy4/JNkLbTTnNnFY1pbRxlA9aEaevrLgtZ74Km1q4bZ0wBwzpfCnjPoIyaYDzoDfL6Sh/oicntt0MGKKOIMICsCyIyoM6V+ttm7+SlzQm/QHGLZygAVbI+IMRPmT4Qhwvlj1Axj3rlx3XbB8620G/tZjm/RDKGJkEc1er+5XJIqEA/cS2By+Sq6EesaePuhUJKzDVTJfxCg4Qp+QKOvRlMQiSMM96Yk/idj8naoWevMAmFRbyrVPD/BDfmRr8smv3fE+/FNw6EYeEydZ1MDni4G3vOeoi8CPjhY4AEMdR1m3660btvprEK8QLT6neWzFyYftM7wbYelqRDsbBkkQpsSLRQ6SvBdubJ1X/NtqD+2I6DJPktF+VelpdU03+m7FgmyafBH82uv+vB+EmR88hm0McHCaVZ2MBotbAZIIltU9ofSERDemj1grMgL22ZNMqjyIoDD5oJ1T/21WNVgJ3Plq15JChhNCc5kP/kaBsPvoA1+qpA7F5WqDA4XFe/zCabRj777GPrfMdzbb5vzEbyWCQbs5zw4qkoZ/B8U7xkS2lZm6i4QoUN0IZg1g3h18UwsUXP2n4OK8EPggjvw2kj3RNgdFqZZ+UEjfe1QzglfGjQhmv1eEaXvZrwNagwrQd55GMPnGRKbbch6y8SplnqjD0IcaEt8TLVoHjpCWPdT5qtiZofkPqX/WQ+wsQm0FZUew8BG95I+JkoDxAMhbP8OzLk0FzKCvPdvIid7bXWaBosBVlJlz0Mluxp3eGlvf7GNTJ6fG0BkjoxVPBfKz1dTpx+roGIVUW7QjZdf0cWhc5aIOIC7MzCdIOdQC6rdchnC23hhdwHHL7pKdytboRmiHo4uBGlwmqWK9QHzwzr/v+TevQcVH2VzDVb3sXrrsNJFALysUE4jUWPPEMjQ3ssRNmmKd7Y1wtxGqvSNwSZ6b7A+0GNrKq2n02mTMxQdKjOywYJEPXjGAaDeET9fOcgSFQLBuWqkX6YY/mNLruXIPib0FfDSMCjxXxh+BPDXSjCOvhN2prClFfp7PKtvlinL1Y++pC5xaVJx4vt8gRop74sAYb5oZL8X6PURFrw+hQoXtNJkMqZeqFMeH0JyHudyGyavzIyow9+kJzmMN7yIpcOPRcNLpTOCukpfQ+d97Hi+3TAMRYiDptjSZjeSkQSArH0K5o8m50P9dh/GVkfhbmh8U9oJwd5PLSuNkr2JLllRNh7hdlg5fMa8JnHbuS1EIDyZuqF+It8SAmaKEbxasi5tDVUfC9t5QxWou2W6CrxrcZnQ3lxYJqLuFFmgM/uufpCN+53R00JOikFK4g+XJsgVJ3+r9n+fTJlZ18a/NBfSBnRxnR5Cqs1e31Qn7O8NdOB4boOfqqPs1t/Q70yeTbjo7KPncFU8QJ0K7ahYlRS4VTdCH9cELtjI50RSiyozyc52SejnKrhpx8DPmmpY0wizsdmCsOMXykM8B/MCPDqKJAAJqDUX2MtuDZZo/g/4RmTPvFtk1DQm1ct4SBN84/v1pGeec+4EzSvm+NFxDiP5TAmIdd4J7hfbD5y+nYK3VCFWzTSBmggmo6KUsPPUauWMvOkafCR9bz7c/Xr6NU4DaRcQYLAGMey3HwSeBf4j/AetmHLp1mAiOM61urPfzEqDqbkfUR5iLR+UFTNKGV3OU5SYYeL2MIfN3xKKqGgW5DK2XjBr3uDcE+HjuiKC/eme68NJsUKGmdELr2YkO2a7zKJiZk7yI0/RZ465dI4uWFCsw99NaR6PMbGoNB16ylLLGljEHNMQMtpkuOrVcszPh77CuEis/jnW9vM8SmjMliaXqtkkkf2RQqoBEtVH05zJP9FFwmtmpgh/Qdwl32ZnP/+GqBDK0PZxFDbhBhkg1E5CgFolAPyA6JyEwI4jyxx0yiBxhfWu6HoLj9FLRTNbKtR+XHagqWEpcSjC0YfaQqkRA0SbrAqr+/aQ2MZCPuCjodId2EdpbL+WKJ5T7rOamUDlIg7xbwgQUZvlXJbgRcVPw2Xn5PJlThEUOf2obc/9lMzvoAjbOcvCcpWEfQAHFJpocdECk2VunIlAV6ovk9FF3llw3EPvU0nkLWTF0uNs0eaZysmaIK0m7P0OT1tuhklxTLrfLwjdlbOEBxZO9+dqOyNhaiSjWtwWkBPsRhKlEqVM207uCkQmEVH1AHJ/Q5VzcZkSP3U1Kpb+CifLgWKxNaCjEyAJw/B+V8mQ+RbYEtObiVsBtzjXDJCsvpJvsRvf115AQYuQ2D7cPnYn4ptu9fERdF+iwvyvHT/XdWYVrBTF2ah6TP0CreOWCkGUA/Wq+aZ+pY/3+B7tTEGK4lP8eFeCu2/b57xqTEeA14tdo+SRhV0tM6MOsIY5zaZ9vptq2E3WwZ7KeZoHOzJIDZObAti9wB02QMjUj8Gg8mt6OK9WuZZG4qVDhz7syRh/5QPs1wxkI0/y+GZpTb12Tl51/ibfv3xqgx73A+o5OqegWRkXSkubk4Xc1pY6jzxNVxI0wk4W0qRC3sSh6VvflZkBDurUnHvI8245FCXfBmPDNpF+v5QOR3MqG9X/r2jeC0vsJv9ilZ3FEdqcxnZIXMbqtqTMyj873D02DaRhih00eFHeklDwFxaw0aas9p9iq7Du8KmDOCU7I+b2kOgqfZDyOf96499K/gUm/ejC3dMT5ewmm7a0jhuYnyvTqLtrhEkrbQmIOr6oNwfGFfmIXXck3pL8e29GKHwgN0QibN432f97Pxih8I6pTPUppHCVsFWd3cquxqeVPDSL3mtPHyAgbZej72O4a3ihdgc36ugMrcMmWg1V1rvyyJ23rhgyvNHvmnKJUcKZZenGH1inl7w+O5QL0EYoQ3rXQjgYN5oX7DDxwXOAEfi6vOTKfkBCJ7AQKeUCF85EIAO9pxrYh13GsiWypXd0EWUJz94bXDMU87ycOsYtyTWnj1sNSHoMiOxIXBWckjNjOHiFtelUDc9UNWJbF3O9t6PpgbCFNPhB08VthLpqsLiUPfOKNF4uBxnykf52LgG8kCDNWQR3+Dm/hz18PChNDAP4tL4t5YkLDRO+3VOWHBk4i86/VXwcm+9gFPo3V9GSiKkA+buCT0iQTYZn3kEzO6YBrN/UwZfMzmUhvXAY8a34ptrWbucRSUshtL4hkUWeLu13ruu1qgFoasRg4UxbpWIBylVTBuETCwIrYHDIUaw/eHlozM74b1CxgugcodMKQsKufZnrAN+52CfRSUqWwwZ5CTtTYjX0knyuAMAGUJN2cThXGvRPKjSZv1BFTwYljW7HeZ6U2Rmq/ogGeOgsWRjVB14gvSHlhsnFrmnxkDjLBPwVBMl0Hcgoj3hq3vf+vdfqXVZZlHMPGV+UbtC81+Vk/AyjbF7/xm3qmlidRPqqXOCUBaZCM9iNdUwVCTFE53uVkAEzJOOvrbsc8HMBNTaFN4YuqOO38bRQAEzuBHbWkvDpqRH7bwSdKCC3nZK7xc4HvyiWr9Kyds+OdgXpIDqf+2hyCmPFj9/JD/aulO4/+OcrhFjpVKeyy+rrQjzUNMTPm6WcOTFQV3SZ3u+QK4Ay43kY8FOTqBtJdXyYgdSgncRGGSEcoUFXjV1mis53tRUOpDur7vOmpIV/KkkbHd853EHXL+Tv2gKhbdSwNbXLRtVOAA4vnC7wEEktCoZAlSYYQVZiEBh05O5jz3EP5pd3oyxR1vXJSiAdp2ZYTG2T713xqLVcsurDsGNE7LNQmgEpchTOfoDOglkW0LFE7RdJtt27vQ/7iPFuDqlgx+fSjRxh2/Nxo16pdHsCLBAzalbWFjkxMCRyX7s8pkCW2z50BjRhgfRYcJ1oVnDev+JFegmS8ubGCFDOTJeJB5PvumjCEqps1DIUWctuiRJFLD4CVwhYTsBkKS5F2xitCrxuPjCk6Ypr3Ef9ZrY6uqt8waW5rPZMZ92IjFsUzbKnB2p9BS1iIT8wB1CDK1g/mumS/oAoyPT3vwfZi7FvhK1eudbxn7DoAriC30TOiIr6ppeW6X5t0+gdey6hUIsXEra5/lVPhyU4OGio/KKPtoaXth/7sSkGVvM1vAJ9kYthfPyDsZznyZH6FDAntbG8vEEq4h1Axj2ZGOc6Zz6G8U48FHzF4nYJz1i/6W0McsZpgjWA/wkiQGZoV96QSDyAP3scAB/5vYOwEjZUDT4daj1TCJkky1S32INlHF4SKs6UAi00RrY/bCZpPStZ4QrLjfMwf8ccIEER5RelnsMR0VFME6CmuacGTAwLHBtzkQmC2YMlUeIcySEW+ZWlDDj++tQIA0r6S+l47o6aZxJOmHLVEqcLMpACGf63tWYhAiA8zFo9nYs1W6jflICSjMeeK67ogRR4ZikzxQEvu8vdIa6PMTRVStZjFy/c1ecCQLdC/KOz5ZHw1CFiPcvD6rZ5aLX/wRvf1u+E3EsydAtwBRWapaxSHLH/dpiF+Ph3opGC4MdqjUkzibY/aAasCfoqEX7DzKPgWeRkkgSdhb6iy7TnOlTLU7NrqRmc7SqW6gHQ8FmMuVF3sZO5XfBf5gveOY7lU24TNUAkUJLmkFTw53cl7bHCyEbBJzSspSGqVGxN+AUw1oQuRCw1xJikk/PESuz5IujGJpiyk7QB0mISYZEaZ/ftlg+IMag2+0G/LdBuBQhv4bHMQs/yavXs6t0Bo+LMJoWwNPEjNxeuAKm172GV6o9CEJwfZaPkTO7r9xfQgR9/Of7RJSwh89L4BKLBSA+4buh8iF2BDk7LLRidb0kezkTpDr4+IyUmrdjAQWiIxpikoU1M1sdynfl+rsWi92aNNfila5GTitmTIuWm6Du97lD/RBSXLyvL8rWBdd7dXj5D4dJzMcPfcSfC5UXWoX6Ke1+2zOLt00XMTa+kFHd2pvkEOc3z8noKMbuGfUJ7YOpWMbXWBXWKotqdCsh6AQzvKHIr+EevJRwttOX0fnpP6bHnBpmhxhieM93hxdx3HehX+S2Sb0mjF4GClwNz3W0jcc7bpTBm6V7LFznBCLW5ldbVbkFRT3oOvOSTW/LUIgNqs4r+eYhbOTJPj/+qXyJ+dGZTHYW8uq5Leq9CkB8CuSD1KY2+VzUH6nXUnivkSU/otA2RwmEuwJZ6ahpfUfJiBmpPaJLvOwdGOHLKMQvyHeSp8pT5ppp4XBVx+ZOOEbIaWhdZPwd9T48GfWlPCQu2CPuGywllUZ4jwlBha9pvcAwG68DLrVM3aeGFTJ9Npy3KraJ0JcSuogoB4e1xZcp92IH1o2xxrRJae202rtcx6IgNnHXjK/tG3oeXLed3jQs1JK0hLsBl+v6mNV8vKuxFQannfT0o41D9Uiq01ozr4fwkjahcA49aQV4GiRwf3XRVa+ZlgQ5M/of1BF0dGbXfQO/Yrj5wLTtbH5TbEBTsyDBO1vwGB+RBpEX9RmQuh8IDc/KddM/6cctdD00CAl+oUsuB+APQsSyMxIxKUZ/QyhxOeXwF/ZvAqsZyskdlfbYZ0nNQ74RkOBVMJPaZDKXgywJMRXCziP9UCLkjU76SQXp6L7nt4V++wWIMdn6qr4u0f3S+g1BvgGct86OnczkZ9p3Mcj5BXgqnriyRVywfx+ftdszVD2og9IQZbyPsBOxsHCQvH+RSRLoBSsbZpBO+feTVZVGC+WO3Ll7wPyo+sKbcBvtfEtf94XE+xWvWj5m7f/qcMNI7RIailk3GiESx9YIciHszaLVolGZaj353TBlqMx0VvIu1w0R3G8mMPRlHziOGGOkGlouFeWfBgRhk/OFeI8I96u8o7rHpCfP5/LrbY7VvBw9ta+3TfWipmzxZbNqyC5DYP654Sh1g/+HaCcx3KqSXhgdGx2h+JE8i32sG5SubBL+2ob92yJqbDDFVUoyjf8FZayWY9/cj6zFJEMWoTS+cz5q1PvPj3gS7ITpUIxQmMFHPVPSXjSOFoWOGp0a2F7lOupS8AILHxXpyl0obAJqRsxqbUyMIAWnR1XfrVIgTWtzLbUWbWyWtgiQNGAVf7tEwl0uO2aXBmF2bks0qVqHBdcRlOaPL1L2wFsiADePtCN6zfm4AyQcLKyzoWzU0oonDkHiQDeAIz3d/oI+uyLW9+6Sj0mKJ8RJGXL57qeCnAAdb6OA03nJqXo5fXuqqeSaZKvnhBUtcKDN5I5fLk+kvUGdrUqoLx8JdkNHooZJsgyArOajs1pj3VqdgcjYDtYrAxXOL/X5ToDPhBRogoLFCKLBgrRnywjpQgQGPkN6Zspc8n08jROP/2MoeFROEnSMtXuLsGBKUDDxSD523/gDP01KVoxMmch4fKpF6zGheHJ4rHqxcuaz9HglWkqVwcqSL/vra/hr2JQnzCprK2FNM4nA7jMYv8Ikp3g6qPjOrHONmx3U6VRQAIY2H0z51oiSd7rBQPXZNWC3Su2W8mN0Zp6aSqFQ2px9a2GjavYbQnIJ7RsQT8lc4vpJ+f05qlM3H0tJCE6cPCFNg/0fWjJ5+/FATOw30PDmYj8EE3DVe+BO2oooTC5mSwa/9eN76t01cmhjk25vNL6wHGV0kdYYy+vhrxQGRq9Vyegj0WIK6PtTBsHyet6wDcxGv17NOpid1hGB080cVF4rAG0LuGRM2uaxNpc59lilYyWX8witeYW9PP8s=" title="Mekko Graphics Chart"/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332603" y="1268413"/>
            <a:ext cx="11525143" cy="4969556"/>
          </a:xfrm>
          <a:prstGeom prst="rect">
            <a:avLst/>
          </a:prstGeom>
          <a:blipFill>
            <a:blip r:embed="rId9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0" name="btfpColumnIndicatorGroup2">
            <a:extLst>
              <a:ext uri="{FF2B5EF4-FFF2-40B4-BE49-F238E27FC236}">
                <a16:creationId xmlns:a16="http://schemas.microsoft.com/office/drawing/2014/main" id="{B995238A-E815-4B55-BEDE-EE44B741F42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8" name="btfpColumnGapBlocker891886">
              <a:extLst>
                <a:ext uri="{FF2B5EF4-FFF2-40B4-BE49-F238E27FC236}">
                  <a16:creationId xmlns:a16="http://schemas.microsoft.com/office/drawing/2014/main" id="{1CDEE9DB-CC08-423C-8182-453ADFA302BA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btfpColumnGapBlocker550320">
              <a:extLst>
                <a:ext uri="{FF2B5EF4-FFF2-40B4-BE49-F238E27FC236}">
                  <a16:creationId xmlns:a16="http://schemas.microsoft.com/office/drawing/2014/main" id="{C07FD90B-DCAD-4199-9216-070B36B5E970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4" name="btfpColumnIndicator220941">
              <a:extLst>
                <a:ext uri="{FF2B5EF4-FFF2-40B4-BE49-F238E27FC236}">
                  <a16:creationId xmlns:a16="http://schemas.microsoft.com/office/drawing/2014/main" id="{8A63B388-4952-4667-AA68-924ED2566B52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168536">
              <a:extLst>
                <a:ext uri="{FF2B5EF4-FFF2-40B4-BE49-F238E27FC236}">
                  <a16:creationId xmlns:a16="http://schemas.microsoft.com/office/drawing/2014/main" id="{E2D8A8B2-0152-426E-A945-619D3B452BAF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btfpColumnIndicatorGroup1">
            <a:extLst>
              <a:ext uri="{FF2B5EF4-FFF2-40B4-BE49-F238E27FC236}">
                <a16:creationId xmlns:a16="http://schemas.microsoft.com/office/drawing/2014/main" id="{E0887E7D-0EAD-4D5F-BADF-D89F5F97448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7" name="btfpColumnGapBlocker456268">
              <a:extLst>
                <a:ext uri="{FF2B5EF4-FFF2-40B4-BE49-F238E27FC236}">
                  <a16:creationId xmlns:a16="http://schemas.microsoft.com/office/drawing/2014/main" id="{1F66A2E0-F339-4326-B2F3-E940873168A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btfpColumnGapBlocker994246">
              <a:extLst>
                <a:ext uri="{FF2B5EF4-FFF2-40B4-BE49-F238E27FC236}">
                  <a16:creationId xmlns:a16="http://schemas.microsoft.com/office/drawing/2014/main" id="{E1DF4B89-8C12-4095-8EDA-1812EF088979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3" name="btfpColumnIndicator728536">
              <a:extLst>
                <a:ext uri="{FF2B5EF4-FFF2-40B4-BE49-F238E27FC236}">
                  <a16:creationId xmlns:a16="http://schemas.microsoft.com/office/drawing/2014/main" id="{00A1A74E-56D0-487B-AECC-0A299925DB6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259082">
              <a:extLst>
                <a:ext uri="{FF2B5EF4-FFF2-40B4-BE49-F238E27FC236}">
                  <a16:creationId xmlns:a16="http://schemas.microsoft.com/office/drawing/2014/main" id="{CA20584D-B04B-4B2F-94BA-668480C24631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btfpLayoutConfig" hidden="1"/>
          <p:cNvSpPr txBox="1"/>
          <p:nvPr/>
        </p:nvSpPr>
        <p:spPr bwMode="gray">
          <a:xfrm>
            <a:off x="12700" y="12700"/>
            <a:ext cx="1165951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ll_0_132500342913428507 columns_1_132500342913428507 4_1_132500342913428507 34_0_132500342913428507 7_1_132500342913428507 5_1_132572778776400791 10_1_132597959374508981 </a:t>
            </a:r>
            <a:endParaRPr kumimoji="0" lang="en-US" sz="100" b="0" i="0" u="none" strike="noStrike" kern="1200" cap="none" spc="0" normalizeH="0" baseline="0" noProof="0" err="1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ross players, majority of job postings for technical/ field related roles are published in NY-NJ-PA MSA; Swerve is hiring across regions incl. New Haven, Springfield etc.</a:t>
            </a:r>
          </a:p>
        </p:txBody>
      </p:sp>
      <p:grpSp>
        <p:nvGrpSpPr>
          <p:cNvPr id="43" name="btfpStatusSticker443151">
            <a:extLst>
              <a:ext uri="{FF2B5EF4-FFF2-40B4-BE49-F238E27FC236}">
                <a16:creationId xmlns:a16="http://schemas.microsoft.com/office/drawing/2014/main" id="{F70B1298-D66D-4B46-A915-81CD2656293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102664" y="955344"/>
            <a:ext cx="1759136" cy="235611"/>
            <a:chOff x="10102664" y="955344"/>
            <a:chExt cx="1759136" cy="235611"/>
          </a:xfrm>
        </p:grpSpPr>
        <p:sp>
          <p:nvSpPr>
            <p:cNvPr id="44" name="btfpStatusStickerText443151">
              <a:extLst>
                <a:ext uri="{FF2B5EF4-FFF2-40B4-BE49-F238E27FC236}">
                  <a16:creationId xmlns:a16="http://schemas.microsoft.com/office/drawing/2014/main" id="{F778B632-4F03-49DB-BDCD-793CEDA9F808}"/>
                </a:ext>
              </a:extLst>
            </p:cNvPr>
            <p:cNvSpPr txBox="1"/>
            <p:nvPr/>
          </p:nvSpPr>
          <p:spPr bwMode="gray">
            <a:xfrm>
              <a:off x="10102664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ct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46" name="btfpStatusStickerLine443151">
              <a:extLst>
                <a:ext uri="{FF2B5EF4-FFF2-40B4-BE49-F238E27FC236}">
                  <a16:creationId xmlns:a16="http://schemas.microsoft.com/office/drawing/2014/main" id="{76FAFC93-DF14-4F85-994B-11E71C39685F}"/>
                </a:ext>
              </a:extLst>
            </p:cNvPr>
            <p:cNvCxnSpPr/>
            <p:nvPr/>
          </p:nvCxnSpPr>
          <p:spPr bwMode="gray">
            <a:xfrm rot="720000" flipH="1">
              <a:off x="10102664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btfpRunningAgenda2Level456905">
            <a:extLst>
              <a:ext uri="{FF2B5EF4-FFF2-40B4-BE49-F238E27FC236}">
                <a16:creationId xmlns:a16="http://schemas.microsoft.com/office/drawing/2014/main" id="{E1C193D5-1DA9-40A7-9DF0-4045C469D8E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-1" y="944429"/>
            <a:ext cx="4979627" cy="257442"/>
            <a:chOff x="-1" y="944429"/>
            <a:chExt cx="4979627" cy="257442"/>
          </a:xfrm>
        </p:grpSpPr>
        <p:sp>
          <p:nvSpPr>
            <p:cNvPr id="39" name="btfpRunningAgenda2LevelBarLeft456905">
              <a:extLst>
                <a:ext uri="{FF2B5EF4-FFF2-40B4-BE49-F238E27FC236}">
                  <a16:creationId xmlns:a16="http://schemas.microsoft.com/office/drawing/2014/main" id="{B284BC70-4ACD-4135-96D1-E71BEDF0FB2A}"/>
                </a:ext>
              </a:extLst>
            </p:cNvPr>
            <p:cNvSpPr/>
            <p:nvPr/>
          </p:nvSpPr>
          <p:spPr bwMode="gray">
            <a:xfrm>
              <a:off x="-1" y="944429"/>
              <a:ext cx="2630749" cy="257442"/>
            </a:xfrm>
            <a:custGeom>
              <a:avLst/>
              <a:gdLst>
                <a:gd name="connsiteX0" fmla="*/ 2630748 w 2630748"/>
                <a:gd name="connsiteY0" fmla="*/ 0 h 257442"/>
                <a:gd name="connsiteX1" fmla="*/ 2327780 w 2630748"/>
                <a:gd name="connsiteY1" fmla="*/ 0 h 257442"/>
                <a:gd name="connsiteX2" fmla="*/ 2273059 w 2630748"/>
                <a:gd name="connsiteY2" fmla="*/ 257442 h 257442"/>
                <a:gd name="connsiteX3" fmla="*/ 0 w 2630748"/>
                <a:gd name="connsiteY3" fmla="*/ 257442 h 257442"/>
                <a:gd name="connsiteX0" fmla="*/ 2630748 w 2630748"/>
                <a:gd name="connsiteY0" fmla="*/ 0 h 257442"/>
                <a:gd name="connsiteX1" fmla="*/ 2576026 w 2630748"/>
                <a:gd name="connsiteY1" fmla="*/ 257442 h 257442"/>
                <a:gd name="connsiteX2" fmla="*/ 2273059 w 2630748"/>
                <a:gd name="connsiteY2" fmla="*/ 257442 h 257442"/>
                <a:gd name="connsiteX3" fmla="*/ 0 w 2630748"/>
                <a:gd name="connsiteY3" fmla="*/ 257442 h 257442"/>
                <a:gd name="connsiteX0" fmla="*/ 2630749 w 2630749"/>
                <a:gd name="connsiteY0" fmla="*/ 0 h 257442"/>
                <a:gd name="connsiteX1" fmla="*/ 2576027 w 2630749"/>
                <a:gd name="connsiteY1" fmla="*/ 257442 h 257442"/>
                <a:gd name="connsiteX2" fmla="*/ 0 w 2630749"/>
                <a:gd name="connsiteY2" fmla="*/ 257442 h 257442"/>
                <a:gd name="connsiteX3" fmla="*/ 1 w 2630749"/>
                <a:gd name="connsiteY3" fmla="*/ 257442 h 257442"/>
                <a:gd name="connsiteX0" fmla="*/ 2630749 w 2630749"/>
                <a:gd name="connsiteY0" fmla="*/ 0 h 257442"/>
                <a:gd name="connsiteX1" fmla="*/ 2576027 w 2630749"/>
                <a:gd name="connsiteY1" fmla="*/ 257442 h 257442"/>
                <a:gd name="connsiteX2" fmla="*/ 0 w 2630749"/>
                <a:gd name="connsiteY2" fmla="*/ 257442 h 257442"/>
                <a:gd name="connsiteX3" fmla="*/ 1 w 263074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30749" h="257442">
                  <a:moveTo>
                    <a:pt x="2630749" y="0"/>
                  </a:moveTo>
                  <a:lnTo>
                    <a:pt x="2576027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2" name="btfpRunningAgenda2LevelTextLeft456905">
              <a:extLst>
                <a:ext uri="{FF2B5EF4-FFF2-40B4-BE49-F238E27FC236}">
                  <a16:creationId xmlns:a16="http://schemas.microsoft.com/office/drawing/2014/main" id="{37634B02-051A-4A32-9E29-B5A33118EC3C}"/>
                </a:ext>
              </a:extLst>
            </p:cNvPr>
            <p:cNvSpPr txBox="1"/>
            <p:nvPr/>
          </p:nvSpPr>
          <p:spPr bwMode="gray">
            <a:xfrm>
              <a:off x="0" y="944429"/>
              <a:ext cx="2576027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Job postings</a:t>
              </a:r>
            </a:p>
          </p:txBody>
        </p:sp>
        <p:sp>
          <p:nvSpPr>
            <p:cNvPr id="62" name="btfpRunningAgenda2LevelBarRight456905">
              <a:extLst>
                <a:ext uri="{FF2B5EF4-FFF2-40B4-BE49-F238E27FC236}">
                  <a16:creationId xmlns:a16="http://schemas.microsoft.com/office/drawing/2014/main" id="{C76C152C-4E27-4B0D-8D77-CD626E729158}"/>
                </a:ext>
              </a:extLst>
            </p:cNvPr>
            <p:cNvSpPr/>
            <p:nvPr/>
          </p:nvSpPr>
          <p:spPr bwMode="gray">
            <a:xfrm>
              <a:off x="2495906" y="944429"/>
              <a:ext cx="2483720" cy="257442"/>
            </a:xfrm>
            <a:custGeom>
              <a:avLst/>
              <a:gdLst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54722 w 2122597"/>
                <a:gd name="connsiteY3" fmla="*/ 0 h 257442"/>
                <a:gd name="connsiteX0" fmla="*/ 960420 w 2067875"/>
                <a:gd name="connsiteY0" fmla="*/ 0 h 257442"/>
                <a:gd name="connsiteX1" fmla="*/ 2067875 w 2067875"/>
                <a:gd name="connsiteY1" fmla="*/ 257442 h 257442"/>
                <a:gd name="connsiteX2" fmla="*/ 0 w 2067875"/>
                <a:gd name="connsiteY2" fmla="*/ 257442 h 257442"/>
                <a:gd name="connsiteX3" fmla="*/ 54722 w 2067875"/>
                <a:gd name="connsiteY3" fmla="*/ 0 h 257442"/>
                <a:gd name="connsiteX0" fmla="*/ 960420 w 960420"/>
                <a:gd name="connsiteY0" fmla="*/ 0 h 257442"/>
                <a:gd name="connsiteX1" fmla="*/ 905699 w 960420"/>
                <a:gd name="connsiteY1" fmla="*/ 257442 h 257442"/>
                <a:gd name="connsiteX2" fmla="*/ 0 w 960420"/>
                <a:gd name="connsiteY2" fmla="*/ 257442 h 257442"/>
                <a:gd name="connsiteX3" fmla="*/ 54722 w 960420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960419 w 960419"/>
                <a:gd name="connsiteY0" fmla="*/ 0 h 257442"/>
                <a:gd name="connsiteX1" fmla="*/ 905698 w 960419"/>
                <a:gd name="connsiteY1" fmla="*/ 257442 h 257442"/>
                <a:gd name="connsiteX2" fmla="*/ 0 w 960419"/>
                <a:gd name="connsiteY2" fmla="*/ 257442 h 257442"/>
                <a:gd name="connsiteX3" fmla="*/ 54721 w 960419"/>
                <a:gd name="connsiteY3" fmla="*/ 0 h 257442"/>
                <a:gd name="connsiteX0" fmla="*/ 782550 w 905698"/>
                <a:gd name="connsiteY0" fmla="*/ 0 h 257442"/>
                <a:gd name="connsiteX1" fmla="*/ 905698 w 905698"/>
                <a:gd name="connsiteY1" fmla="*/ 257442 h 257442"/>
                <a:gd name="connsiteX2" fmla="*/ 0 w 905698"/>
                <a:gd name="connsiteY2" fmla="*/ 257442 h 257442"/>
                <a:gd name="connsiteX3" fmla="*/ 54721 w 905698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782550 w 782550"/>
                <a:gd name="connsiteY0" fmla="*/ 0 h 257442"/>
                <a:gd name="connsiteX1" fmla="*/ 727829 w 782550"/>
                <a:gd name="connsiteY1" fmla="*/ 257442 h 257442"/>
                <a:gd name="connsiteX2" fmla="*/ 0 w 782550"/>
                <a:gd name="connsiteY2" fmla="*/ 257442 h 257442"/>
                <a:gd name="connsiteX3" fmla="*/ 54721 w 782550"/>
                <a:gd name="connsiteY3" fmla="*/ 0 h 257442"/>
                <a:gd name="connsiteX0" fmla="*/ 1103086 w 1103086"/>
                <a:gd name="connsiteY0" fmla="*/ 0 h 257442"/>
                <a:gd name="connsiteX1" fmla="*/ 727829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532691 w 1532691"/>
                <a:gd name="connsiteY0" fmla="*/ 0 h 257442"/>
                <a:gd name="connsiteX1" fmla="*/ 1216681 w 1532691"/>
                <a:gd name="connsiteY1" fmla="*/ 257442 h 257442"/>
                <a:gd name="connsiteX2" fmla="*/ 0 w 1532691"/>
                <a:gd name="connsiteY2" fmla="*/ 257442 h 257442"/>
                <a:gd name="connsiteX3" fmla="*/ 54721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54721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54721 w 1532691"/>
                <a:gd name="connsiteY3" fmla="*/ 0 h 257442"/>
                <a:gd name="connsiteX0" fmla="*/ 1532691 w 1532691"/>
                <a:gd name="connsiteY0" fmla="*/ 0 h 257442"/>
                <a:gd name="connsiteX1" fmla="*/ 1477970 w 1532691"/>
                <a:gd name="connsiteY1" fmla="*/ 257442 h 257442"/>
                <a:gd name="connsiteX2" fmla="*/ 0 w 1532691"/>
                <a:gd name="connsiteY2" fmla="*/ 257442 h 257442"/>
                <a:gd name="connsiteX3" fmla="*/ 54721 w 1532691"/>
                <a:gd name="connsiteY3" fmla="*/ 0 h 257442"/>
                <a:gd name="connsiteX0" fmla="*/ 1710625 w 1710625"/>
                <a:gd name="connsiteY0" fmla="*/ 0 h 257442"/>
                <a:gd name="connsiteX1" fmla="*/ 1477970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54721 w 1710625"/>
                <a:gd name="connsiteY3" fmla="*/ 0 h 257442"/>
                <a:gd name="connsiteX0" fmla="*/ 1870925 w 1870925"/>
                <a:gd name="connsiteY0" fmla="*/ 0 h 257442"/>
                <a:gd name="connsiteX1" fmla="*/ 16559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54721 w 1870925"/>
                <a:gd name="connsiteY3" fmla="*/ 0 h 257442"/>
                <a:gd name="connsiteX0" fmla="*/ 2124199 w 2124199"/>
                <a:gd name="connsiteY0" fmla="*/ 0 h 257442"/>
                <a:gd name="connsiteX1" fmla="*/ 1816204 w 2124199"/>
                <a:gd name="connsiteY1" fmla="*/ 257442 h 257442"/>
                <a:gd name="connsiteX2" fmla="*/ 0 w 2124199"/>
                <a:gd name="connsiteY2" fmla="*/ 257442 h 257442"/>
                <a:gd name="connsiteX3" fmla="*/ 54721 w 2124199"/>
                <a:gd name="connsiteY3" fmla="*/ 0 h 257442"/>
                <a:gd name="connsiteX0" fmla="*/ 2124199 w 2124199"/>
                <a:gd name="connsiteY0" fmla="*/ 0 h 257442"/>
                <a:gd name="connsiteX1" fmla="*/ 2069478 w 2124199"/>
                <a:gd name="connsiteY1" fmla="*/ 257442 h 257442"/>
                <a:gd name="connsiteX2" fmla="*/ 0 w 2124199"/>
                <a:gd name="connsiteY2" fmla="*/ 257442 h 257442"/>
                <a:gd name="connsiteX3" fmla="*/ 54721 w 2124199"/>
                <a:gd name="connsiteY3" fmla="*/ 0 h 257442"/>
                <a:gd name="connsiteX0" fmla="*/ 2124199 w 2124199"/>
                <a:gd name="connsiteY0" fmla="*/ 0 h 257442"/>
                <a:gd name="connsiteX1" fmla="*/ 2069478 w 2124199"/>
                <a:gd name="connsiteY1" fmla="*/ 257442 h 257442"/>
                <a:gd name="connsiteX2" fmla="*/ 0 w 2124199"/>
                <a:gd name="connsiteY2" fmla="*/ 257442 h 257442"/>
                <a:gd name="connsiteX3" fmla="*/ 54721 w 2124199"/>
                <a:gd name="connsiteY3" fmla="*/ 0 h 257442"/>
                <a:gd name="connsiteX0" fmla="*/ 2124199 w 2124199"/>
                <a:gd name="connsiteY0" fmla="*/ 0 h 257442"/>
                <a:gd name="connsiteX1" fmla="*/ 2069478 w 2124199"/>
                <a:gd name="connsiteY1" fmla="*/ 257442 h 257442"/>
                <a:gd name="connsiteX2" fmla="*/ 0 w 2124199"/>
                <a:gd name="connsiteY2" fmla="*/ 257442 h 257442"/>
                <a:gd name="connsiteX3" fmla="*/ 54721 w 2124199"/>
                <a:gd name="connsiteY3" fmla="*/ 0 h 257442"/>
                <a:gd name="connsiteX0" fmla="*/ 2292514 w 2292514"/>
                <a:gd name="connsiteY0" fmla="*/ 0 h 257442"/>
                <a:gd name="connsiteX1" fmla="*/ 2069478 w 2292514"/>
                <a:gd name="connsiteY1" fmla="*/ 257442 h 257442"/>
                <a:gd name="connsiteX2" fmla="*/ 0 w 2292514"/>
                <a:gd name="connsiteY2" fmla="*/ 257442 h 257442"/>
                <a:gd name="connsiteX3" fmla="*/ 54721 w 2292514"/>
                <a:gd name="connsiteY3" fmla="*/ 0 h 257442"/>
                <a:gd name="connsiteX0" fmla="*/ 2292514 w 2292514"/>
                <a:gd name="connsiteY0" fmla="*/ 0 h 257442"/>
                <a:gd name="connsiteX1" fmla="*/ 2237792 w 2292514"/>
                <a:gd name="connsiteY1" fmla="*/ 257442 h 257442"/>
                <a:gd name="connsiteX2" fmla="*/ 0 w 2292514"/>
                <a:gd name="connsiteY2" fmla="*/ 257442 h 257442"/>
                <a:gd name="connsiteX3" fmla="*/ 54721 w 2292514"/>
                <a:gd name="connsiteY3" fmla="*/ 0 h 257442"/>
                <a:gd name="connsiteX0" fmla="*/ 2292515 w 2292515"/>
                <a:gd name="connsiteY0" fmla="*/ 0 h 257442"/>
                <a:gd name="connsiteX1" fmla="*/ 2237793 w 2292515"/>
                <a:gd name="connsiteY1" fmla="*/ 257442 h 257442"/>
                <a:gd name="connsiteX2" fmla="*/ 0 w 2292515"/>
                <a:gd name="connsiteY2" fmla="*/ 257442 h 257442"/>
                <a:gd name="connsiteX3" fmla="*/ 54722 w 2292515"/>
                <a:gd name="connsiteY3" fmla="*/ 0 h 257442"/>
                <a:gd name="connsiteX0" fmla="*/ 2292515 w 2292515"/>
                <a:gd name="connsiteY0" fmla="*/ 0 h 257442"/>
                <a:gd name="connsiteX1" fmla="*/ 2237793 w 2292515"/>
                <a:gd name="connsiteY1" fmla="*/ 257442 h 257442"/>
                <a:gd name="connsiteX2" fmla="*/ 0 w 2292515"/>
                <a:gd name="connsiteY2" fmla="*/ 257442 h 257442"/>
                <a:gd name="connsiteX3" fmla="*/ 54722 w 2292515"/>
                <a:gd name="connsiteY3" fmla="*/ 0 h 257442"/>
                <a:gd name="connsiteX0" fmla="*/ 2470449 w 2470449"/>
                <a:gd name="connsiteY0" fmla="*/ 0 h 257442"/>
                <a:gd name="connsiteX1" fmla="*/ 2237793 w 2470449"/>
                <a:gd name="connsiteY1" fmla="*/ 257442 h 257442"/>
                <a:gd name="connsiteX2" fmla="*/ 0 w 2470449"/>
                <a:gd name="connsiteY2" fmla="*/ 257442 h 257442"/>
                <a:gd name="connsiteX3" fmla="*/ 54722 w 2470449"/>
                <a:gd name="connsiteY3" fmla="*/ 0 h 257442"/>
                <a:gd name="connsiteX0" fmla="*/ 2470449 w 2470449"/>
                <a:gd name="connsiteY0" fmla="*/ 0 h 257442"/>
                <a:gd name="connsiteX1" fmla="*/ 2415728 w 2470449"/>
                <a:gd name="connsiteY1" fmla="*/ 257442 h 257442"/>
                <a:gd name="connsiteX2" fmla="*/ 0 w 2470449"/>
                <a:gd name="connsiteY2" fmla="*/ 257442 h 257442"/>
                <a:gd name="connsiteX3" fmla="*/ 54722 w 2470449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54721 w 2470448"/>
                <a:gd name="connsiteY3" fmla="*/ 0 h 257442"/>
                <a:gd name="connsiteX0" fmla="*/ 2470448 w 2470448"/>
                <a:gd name="connsiteY0" fmla="*/ 0 h 257442"/>
                <a:gd name="connsiteX1" fmla="*/ 2415727 w 2470448"/>
                <a:gd name="connsiteY1" fmla="*/ 257442 h 257442"/>
                <a:gd name="connsiteX2" fmla="*/ 0 w 2470448"/>
                <a:gd name="connsiteY2" fmla="*/ 257442 h 257442"/>
                <a:gd name="connsiteX3" fmla="*/ 54720 w 2470448"/>
                <a:gd name="connsiteY3" fmla="*/ 0 h 257442"/>
                <a:gd name="connsiteX0" fmla="*/ 2749369 w 2749369"/>
                <a:gd name="connsiteY0" fmla="*/ 0 h 257442"/>
                <a:gd name="connsiteX1" fmla="*/ 2415727 w 2749369"/>
                <a:gd name="connsiteY1" fmla="*/ 257442 h 257442"/>
                <a:gd name="connsiteX2" fmla="*/ 0 w 2749369"/>
                <a:gd name="connsiteY2" fmla="*/ 257442 h 257442"/>
                <a:gd name="connsiteX3" fmla="*/ 54720 w 2749369"/>
                <a:gd name="connsiteY3" fmla="*/ 0 h 257442"/>
                <a:gd name="connsiteX0" fmla="*/ 2749369 w 2749369"/>
                <a:gd name="connsiteY0" fmla="*/ 0 h 257442"/>
                <a:gd name="connsiteX1" fmla="*/ 2694648 w 2749369"/>
                <a:gd name="connsiteY1" fmla="*/ 257442 h 257442"/>
                <a:gd name="connsiteX2" fmla="*/ 0 w 2749369"/>
                <a:gd name="connsiteY2" fmla="*/ 257442 h 257442"/>
                <a:gd name="connsiteX3" fmla="*/ 54720 w 2749369"/>
                <a:gd name="connsiteY3" fmla="*/ 0 h 257442"/>
                <a:gd name="connsiteX0" fmla="*/ 2749370 w 2749370"/>
                <a:gd name="connsiteY0" fmla="*/ 0 h 257442"/>
                <a:gd name="connsiteX1" fmla="*/ 2694649 w 2749370"/>
                <a:gd name="connsiteY1" fmla="*/ 257442 h 257442"/>
                <a:gd name="connsiteX2" fmla="*/ 0 w 2749370"/>
                <a:gd name="connsiteY2" fmla="*/ 257442 h 257442"/>
                <a:gd name="connsiteX3" fmla="*/ 54721 w 2749370"/>
                <a:gd name="connsiteY3" fmla="*/ 0 h 257442"/>
                <a:gd name="connsiteX0" fmla="*/ 2749370 w 2749370"/>
                <a:gd name="connsiteY0" fmla="*/ 0 h 257442"/>
                <a:gd name="connsiteX1" fmla="*/ 2694649 w 2749370"/>
                <a:gd name="connsiteY1" fmla="*/ 257442 h 257442"/>
                <a:gd name="connsiteX2" fmla="*/ 0 w 2749370"/>
                <a:gd name="connsiteY2" fmla="*/ 257442 h 257442"/>
                <a:gd name="connsiteX3" fmla="*/ 54721 w 2749370"/>
                <a:gd name="connsiteY3" fmla="*/ 0 h 257442"/>
                <a:gd name="connsiteX0" fmla="*/ 2909671 w 2909671"/>
                <a:gd name="connsiteY0" fmla="*/ 0 h 257442"/>
                <a:gd name="connsiteX1" fmla="*/ 2694649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3069971 w 3069971"/>
                <a:gd name="connsiteY0" fmla="*/ 0 h 257442"/>
                <a:gd name="connsiteX1" fmla="*/ 28549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238286 w 3238286"/>
                <a:gd name="connsiteY0" fmla="*/ 0 h 257442"/>
                <a:gd name="connsiteX1" fmla="*/ 3015250 w 3238286"/>
                <a:gd name="connsiteY1" fmla="*/ 257442 h 257442"/>
                <a:gd name="connsiteX2" fmla="*/ 0 w 3238286"/>
                <a:gd name="connsiteY2" fmla="*/ 257442 h 257442"/>
                <a:gd name="connsiteX3" fmla="*/ 54721 w 3238286"/>
                <a:gd name="connsiteY3" fmla="*/ 0 h 257442"/>
                <a:gd name="connsiteX0" fmla="*/ 3238286 w 3238286"/>
                <a:gd name="connsiteY0" fmla="*/ 0 h 257442"/>
                <a:gd name="connsiteX1" fmla="*/ 3183564 w 3238286"/>
                <a:gd name="connsiteY1" fmla="*/ 257442 h 257442"/>
                <a:gd name="connsiteX2" fmla="*/ 0 w 3238286"/>
                <a:gd name="connsiteY2" fmla="*/ 257442 h 257442"/>
                <a:gd name="connsiteX3" fmla="*/ 54721 w 3238286"/>
                <a:gd name="connsiteY3" fmla="*/ 0 h 257442"/>
                <a:gd name="connsiteX0" fmla="*/ 3238287 w 3238287"/>
                <a:gd name="connsiteY0" fmla="*/ 0 h 257442"/>
                <a:gd name="connsiteX1" fmla="*/ 3183565 w 3238287"/>
                <a:gd name="connsiteY1" fmla="*/ 257442 h 257442"/>
                <a:gd name="connsiteX2" fmla="*/ 0 w 3238287"/>
                <a:gd name="connsiteY2" fmla="*/ 257442 h 257442"/>
                <a:gd name="connsiteX3" fmla="*/ 54722 w 3238287"/>
                <a:gd name="connsiteY3" fmla="*/ 0 h 257442"/>
                <a:gd name="connsiteX0" fmla="*/ 3238287 w 3238287"/>
                <a:gd name="connsiteY0" fmla="*/ 0 h 257442"/>
                <a:gd name="connsiteX1" fmla="*/ 3183565 w 3238287"/>
                <a:gd name="connsiteY1" fmla="*/ 257442 h 257442"/>
                <a:gd name="connsiteX2" fmla="*/ 0 w 3238287"/>
                <a:gd name="connsiteY2" fmla="*/ 257442 h 257442"/>
                <a:gd name="connsiteX3" fmla="*/ 54722 w 3238287"/>
                <a:gd name="connsiteY3" fmla="*/ 0 h 257442"/>
                <a:gd name="connsiteX0" fmla="*/ 3491561 w 3491561"/>
                <a:gd name="connsiteY0" fmla="*/ 0 h 257442"/>
                <a:gd name="connsiteX1" fmla="*/ 3183565 w 3491561"/>
                <a:gd name="connsiteY1" fmla="*/ 257442 h 257442"/>
                <a:gd name="connsiteX2" fmla="*/ 0 w 3491561"/>
                <a:gd name="connsiteY2" fmla="*/ 257442 h 257442"/>
                <a:gd name="connsiteX3" fmla="*/ 54722 w 3491561"/>
                <a:gd name="connsiteY3" fmla="*/ 0 h 257442"/>
                <a:gd name="connsiteX0" fmla="*/ 3491561 w 3491561"/>
                <a:gd name="connsiteY0" fmla="*/ 0 h 257442"/>
                <a:gd name="connsiteX1" fmla="*/ 3436840 w 3491561"/>
                <a:gd name="connsiteY1" fmla="*/ 257442 h 257442"/>
                <a:gd name="connsiteX2" fmla="*/ 0 w 3491561"/>
                <a:gd name="connsiteY2" fmla="*/ 257442 h 257442"/>
                <a:gd name="connsiteX3" fmla="*/ 54722 w 3491561"/>
                <a:gd name="connsiteY3" fmla="*/ 0 h 257442"/>
                <a:gd name="connsiteX0" fmla="*/ 3491560 w 3491560"/>
                <a:gd name="connsiteY0" fmla="*/ 0 h 257442"/>
                <a:gd name="connsiteX1" fmla="*/ 3436839 w 3491560"/>
                <a:gd name="connsiteY1" fmla="*/ 257442 h 257442"/>
                <a:gd name="connsiteX2" fmla="*/ 0 w 3491560"/>
                <a:gd name="connsiteY2" fmla="*/ 257442 h 257442"/>
                <a:gd name="connsiteX3" fmla="*/ 54721 w 3491560"/>
                <a:gd name="connsiteY3" fmla="*/ 0 h 257442"/>
                <a:gd name="connsiteX0" fmla="*/ 3491560 w 3491560"/>
                <a:gd name="connsiteY0" fmla="*/ 0 h 257442"/>
                <a:gd name="connsiteX1" fmla="*/ 3436839 w 3491560"/>
                <a:gd name="connsiteY1" fmla="*/ 257442 h 257442"/>
                <a:gd name="connsiteX2" fmla="*/ 0 w 3491560"/>
                <a:gd name="connsiteY2" fmla="*/ 257442 h 257442"/>
                <a:gd name="connsiteX3" fmla="*/ 54720 w 3491560"/>
                <a:gd name="connsiteY3" fmla="*/ 0 h 257442"/>
                <a:gd name="connsiteX0" fmla="*/ 3677508 w 3677508"/>
                <a:gd name="connsiteY0" fmla="*/ 0 h 257442"/>
                <a:gd name="connsiteX1" fmla="*/ 3436839 w 3677508"/>
                <a:gd name="connsiteY1" fmla="*/ 257442 h 257442"/>
                <a:gd name="connsiteX2" fmla="*/ 0 w 3677508"/>
                <a:gd name="connsiteY2" fmla="*/ 257442 h 257442"/>
                <a:gd name="connsiteX3" fmla="*/ 54720 w 3677508"/>
                <a:gd name="connsiteY3" fmla="*/ 0 h 257442"/>
                <a:gd name="connsiteX0" fmla="*/ 3677508 w 3677508"/>
                <a:gd name="connsiteY0" fmla="*/ 0 h 257442"/>
                <a:gd name="connsiteX1" fmla="*/ 3622787 w 3677508"/>
                <a:gd name="connsiteY1" fmla="*/ 257442 h 257442"/>
                <a:gd name="connsiteX2" fmla="*/ 0 w 3677508"/>
                <a:gd name="connsiteY2" fmla="*/ 257442 h 257442"/>
                <a:gd name="connsiteX3" fmla="*/ 54720 w 3677508"/>
                <a:gd name="connsiteY3" fmla="*/ 0 h 257442"/>
                <a:gd name="connsiteX0" fmla="*/ 3677509 w 3677509"/>
                <a:gd name="connsiteY0" fmla="*/ 0 h 257442"/>
                <a:gd name="connsiteX1" fmla="*/ 3622788 w 3677509"/>
                <a:gd name="connsiteY1" fmla="*/ 257442 h 257442"/>
                <a:gd name="connsiteX2" fmla="*/ 0 w 3677509"/>
                <a:gd name="connsiteY2" fmla="*/ 257442 h 257442"/>
                <a:gd name="connsiteX3" fmla="*/ 54721 w 3677509"/>
                <a:gd name="connsiteY3" fmla="*/ 0 h 257442"/>
                <a:gd name="connsiteX0" fmla="*/ 3677509 w 3677509"/>
                <a:gd name="connsiteY0" fmla="*/ 0 h 257442"/>
                <a:gd name="connsiteX1" fmla="*/ 3622788 w 3677509"/>
                <a:gd name="connsiteY1" fmla="*/ 257442 h 257442"/>
                <a:gd name="connsiteX2" fmla="*/ 0 w 3677509"/>
                <a:gd name="connsiteY2" fmla="*/ 257442 h 257442"/>
                <a:gd name="connsiteX3" fmla="*/ 54722 w 3677509"/>
                <a:gd name="connsiteY3" fmla="*/ 0 h 257442"/>
                <a:gd name="connsiteX0" fmla="*/ 3837810 w 3837810"/>
                <a:gd name="connsiteY0" fmla="*/ 0 h 257442"/>
                <a:gd name="connsiteX1" fmla="*/ 3622788 w 3837810"/>
                <a:gd name="connsiteY1" fmla="*/ 257442 h 257442"/>
                <a:gd name="connsiteX2" fmla="*/ 0 w 3837810"/>
                <a:gd name="connsiteY2" fmla="*/ 257442 h 257442"/>
                <a:gd name="connsiteX3" fmla="*/ 54722 w 3837810"/>
                <a:gd name="connsiteY3" fmla="*/ 0 h 257442"/>
                <a:gd name="connsiteX0" fmla="*/ 3837810 w 3837810"/>
                <a:gd name="connsiteY0" fmla="*/ 0 h 257442"/>
                <a:gd name="connsiteX1" fmla="*/ 3783088 w 3837810"/>
                <a:gd name="connsiteY1" fmla="*/ 257442 h 257442"/>
                <a:gd name="connsiteX2" fmla="*/ 0 w 3837810"/>
                <a:gd name="connsiteY2" fmla="*/ 257442 h 257442"/>
                <a:gd name="connsiteX3" fmla="*/ 54722 w 3837810"/>
                <a:gd name="connsiteY3" fmla="*/ 0 h 257442"/>
                <a:gd name="connsiteX0" fmla="*/ 3837810 w 3837810"/>
                <a:gd name="connsiteY0" fmla="*/ 0 h 257442"/>
                <a:gd name="connsiteX1" fmla="*/ 3783088 w 3837810"/>
                <a:gd name="connsiteY1" fmla="*/ 257442 h 257442"/>
                <a:gd name="connsiteX2" fmla="*/ 0 w 3837810"/>
                <a:gd name="connsiteY2" fmla="*/ 257442 h 257442"/>
                <a:gd name="connsiteX3" fmla="*/ 54722 w 3837810"/>
                <a:gd name="connsiteY3" fmla="*/ 0 h 257442"/>
                <a:gd name="connsiteX0" fmla="*/ 3837810 w 3837810"/>
                <a:gd name="connsiteY0" fmla="*/ 0 h 257442"/>
                <a:gd name="connsiteX1" fmla="*/ 3783088 w 3837810"/>
                <a:gd name="connsiteY1" fmla="*/ 257442 h 257442"/>
                <a:gd name="connsiteX2" fmla="*/ 0 w 3837810"/>
                <a:gd name="connsiteY2" fmla="*/ 257442 h 257442"/>
                <a:gd name="connsiteX3" fmla="*/ 54721 w 3837810"/>
                <a:gd name="connsiteY3" fmla="*/ 0 h 257442"/>
                <a:gd name="connsiteX0" fmla="*/ 4107113 w 4107113"/>
                <a:gd name="connsiteY0" fmla="*/ 0 h 257442"/>
                <a:gd name="connsiteX1" fmla="*/ 3783088 w 4107113"/>
                <a:gd name="connsiteY1" fmla="*/ 257442 h 257442"/>
                <a:gd name="connsiteX2" fmla="*/ 0 w 4107113"/>
                <a:gd name="connsiteY2" fmla="*/ 257442 h 257442"/>
                <a:gd name="connsiteX3" fmla="*/ 54721 w 4107113"/>
                <a:gd name="connsiteY3" fmla="*/ 0 h 257442"/>
                <a:gd name="connsiteX0" fmla="*/ 4107113 w 4107113"/>
                <a:gd name="connsiteY0" fmla="*/ 0 h 257442"/>
                <a:gd name="connsiteX1" fmla="*/ 4052392 w 4107113"/>
                <a:gd name="connsiteY1" fmla="*/ 257442 h 257442"/>
                <a:gd name="connsiteX2" fmla="*/ 0 w 4107113"/>
                <a:gd name="connsiteY2" fmla="*/ 257442 h 257442"/>
                <a:gd name="connsiteX3" fmla="*/ 54721 w 4107113"/>
                <a:gd name="connsiteY3" fmla="*/ 0 h 257442"/>
                <a:gd name="connsiteX0" fmla="*/ 4107113 w 4107113"/>
                <a:gd name="connsiteY0" fmla="*/ 0 h 257442"/>
                <a:gd name="connsiteX1" fmla="*/ 4052392 w 4107113"/>
                <a:gd name="connsiteY1" fmla="*/ 257442 h 257442"/>
                <a:gd name="connsiteX2" fmla="*/ 0 w 4107113"/>
                <a:gd name="connsiteY2" fmla="*/ 257442 h 257442"/>
                <a:gd name="connsiteX3" fmla="*/ 54721 w 4107113"/>
                <a:gd name="connsiteY3" fmla="*/ 0 h 257442"/>
                <a:gd name="connsiteX0" fmla="*/ 4107113 w 4107113"/>
                <a:gd name="connsiteY0" fmla="*/ 0 h 257442"/>
                <a:gd name="connsiteX1" fmla="*/ 4052392 w 4107113"/>
                <a:gd name="connsiteY1" fmla="*/ 257442 h 257442"/>
                <a:gd name="connsiteX2" fmla="*/ 0 w 4107113"/>
                <a:gd name="connsiteY2" fmla="*/ 257442 h 257442"/>
                <a:gd name="connsiteX3" fmla="*/ 54721 w 4107113"/>
                <a:gd name="connsiteY3" fmla="*/ 0 h 257442"/>
                <a:gd name="connsiteX0" fmla="*/ 3946813 w 4052392"/>
                <a:gd name="connsiteY0" fmla="*/ 0 h 257442"/>
                <a:gd name="connsiteX1" fmla="*/ 4052392 w 4052392"/>
                <a:gd name="connsiteY1" fmla="*/ 257442 h 257442"/>
                <a:gd name="connsiteX2" fmla="*/ 0 w 4052392"/>
                <a:gd name="connsiteY2" fmla="*/ 257442 h 257442"/>
                <a:gd name="connsiteX3" fmla="*/ 54721 w 4052392"/>
                <a:gd name="connsiteY3" fmla="*/ 0 h 257442"/>
                <a:gd name="connsiteX0" fmla="*/ 3946813 w 3946813"/>
                <a:gd name="connsiteY0" fmla="*/ 0 h 257442"/>
                <a:gd name="connsiteX1" fmla="*/ 3892092 w 3946813"/>
                <a:gd name="connsiteY1" fmla="*/ 257442 h 257442"/>
                <a:gd name="connsiteX2" fmla="*/ 0 w 3946813"/>
                <a:gd name="connsiteY2" fmla="*/ 257442 h 257442"/>
                <a:gd name="connsiteX3" fmla="*/ 54721 w 3946813"/>
                <a:gd name="connsiteY3" fmla="*/ 0 h 257442"/>
                <a:gd name="connsiteX0" fmla="*/ 3946812 w 3946812"/>
                <a:gd name="connsiteY0" fmla="*/ 0 h 257442"/>
                <a:gd name="connsiteX1" fmla="*/ 3892091 w 3946812"/>
                <a:gd name="connsiteY1" fmla="*/ 257442 h 257442"/>
                <a:gd name="connsiteX2" fmla="*/ 0 w 3946812"/>
                <a:gd name="connsiteY2" fmla="*/ 257442 h 257442"/>
                <a:gd name="connsiteX3" fmla="*/ 54720 w 3946812"/>
                <a:gd name="connsiteY3" fmla="*/ 0 h 257442"/>
                <a:gd name="connsiteX0" fmla="*/ 3946812 w 3946812"/>
                <a:gd name="connsiteY0" fmla="*/ 0 h 257442"/>
                <a:gd name="connsiteX1" fmla="*/ 3892091 w 3946812"/>
                <a:gd name="connsiteY1" fmla="*/ 257442 h 257442"/>
                <a:gd name="connsiteX2" fmla="*/ 0 w 3946812"/>
                <a:gd name="connsiteY2" fmla="*/ 257442 h 257442"/>
                <a:gd name="connsiteX3" fmla="*/ 54720 w 3946812"/>
                <a:gd name="connsiteY3" fmla="*/ 0 h 257442"/>
                <a:gd name="connsiteX0" fmla="*/ 3760864 w 3892091"/>
                <a:gd name="connsiteY0" fmla="*/ 0 h 257442"/>
                <a:gd name="connsiteX1" fmla="*/ 3892091 w 3892091"/>
                <a:gd name="connsiteY1" fmla="*/ 257442 h 257442"/>
                <a:gd name="connsiteX2" fmla="*/ 0 w 3892091"/>
                <a:gd name="connsiteY2" fmla="*/ 257442 h 257442"/>
                <a:gd name="connsiteX3" fmla="*/ 54720 w 3892091"/>
                <a:gd name="connsiteY3" fmla="*/ 0 h 257442"/>
                <a:gd name="connsiteX0" fmla="*/ 3760864 w 3760864"/>
                <a:gd name="connsiteY0" fmla="*/ 0 h 257442"/>
                <a:gd name="connsiteX1" fmla="*/ 3706144 w 3760864"/>
                <a:gd name="connsiteY1" fmla="*/ 257442 h 257442"/>
                <a:gd name="connsiteX2" fmla="*/ 0 w 3760864"/>
                <a:gd name="connsiteY2" fmla="*/ 257442 h 257442"/>
                <a:gd name="connsiteX3" fmla="*/ 54720 w 3760864"/>
                <a:gd name="connsiteY3" fmla="*/ 0 h 257442"/>
                <a:gd name="connsiteX0" fmla="*/ 3760864 w 3760864"/>
                <a:gd name="connsiteY0" fmla="*/ 0 h 257442"/>
                <a:gd name="connsiteX1" fmla="*/ 3706144 w 3760864"/>
                <a:gd name="connsiteY1" fmla="*/ 257442 h 257442"/>
                <a:gd name="connsiteX2" fmla="*/ 0 w 3760864"/>
                <a:gd name="connsiteY2" fmla="*/ 257442 h 257442"/>
                <a:gd name="connsiteX3" fmla="*/ 54720 w 3760864"/>
                <a:gd name="connsiteY3" fmla="*/ 0 h 257442"/>
                <a:gd name="connsiteX0" fmla="*/ 3760864 w 3760864"/>
                <a:gd name="connsiteY0" fmla="*/ 0 h 257442"/>
                <a:gd name="connsiteX1" fmla="*/ 3706144 w 3760864"/>
                <a:gd name="connsiteY1" fmla="*/ 257442 h 257442"/>
                <a:gd name="connsiteX2" fmla="*/ 0 w 3760864"/>
                <a:gd name="connsiteY2" fmla="*/ 257442 h 257442"/>
                <a:gd name="connsiteX3" fmla="*/ 54721 w 3760864"/>
                <a:gd name="connsiteY3" fmla="*/ 0 h 257442"/>
                <a:gd name="connsiteX0" fmla="*/ 3507590 w 3706144"/>
                <a:gd name="connsiteY0" fmla="*/ 0 h 257442"/>
                <a:gd name="connsiteX1" fmla="*/ 3706144 w 3706144"/>
                <a:gd name="connsiteY1" fmla="*/ 257442 h 257442"/>
                <a:gd name="connsiteX2" fmla="*/ 0 w 3706144"/>
                <a:gd name="connsiteY2" fmla="*/ 257442 h 257442"/>
                <a:gd name="connsiteX3" fmla="*/ 54721 w 3706144"/>
                <a:gd name="connsiteY3" fmla="*/ 0 h 257442"/>
                <a:gd name="connsiteX0" fmla="*/ 3507590 w 3507590"/>
                <a:gd name="connsiteY0" fmla="*/ 0 h 257442"/>
                <a:gd name="connsiteX1" fmla="*/ 3452869 w 3507590"/>
                <a:gd name="connsiteY1" fmla="*/ 257442 h 257442"/>
                <a:gd name="connsiteX2" fmla="*/ 0 w 3507590"/>
                <a:gd name="connsiteY2" fmla="*/ 257442 h 257442"/>
                <a:gd name="connsiteX3" fmla="*/ 54721 w 3507590"/>
                <a:gd name="connsiteY3" fmla="*/ 0 h 257442"/>
                <a:gd name="connsiteX0" fmla="*/ 3507590 w 3507590"/>
                <a:gd name="connsiteY0" fmla="*/ 0 h 257442"/>
                <a:gd name="connsiteX1" fmla="*/ 3452869 w 3507590"/>
                <a:gd name="connsiteY1" fmla="*/ 257442 h 257442"/>
                <a:gd name="connsiteX2" fmla="*/ 0 w 3507590"/>
                <a:gd name="connsiteY2" fmla="*/ 257442 h 257442"/>
                <a:gd name="connsiteX3" fmla="*/ 54721 w 3507590"/>
                <a:gd name="connsiteY3" fmla="*/ 0 h 257442"/>
                <a:gd name="connsiteX0" fmla="*/ 3507590 w 3507590"/>
                <a:gd name="connsiteY0" fmla="*/ 0 h 257442"/>
                <a:gd name="connsiteX1" fmla="*/ 3452869 w 3507590"/>
                <a:gd name="connsiteY1" fmla="*/ 257442 h 257442"/>
                <a:gd name="connsiteX2" fmla="*/ 0 w 3507590"/>
                <a:gd name="connsiteY2" fmla="*/ 257442 h 257442"/>
                <a:gd name="connsiteX3" fmla="*/ 54721 w 3507590"/>
                <a:gd name="connsiteY3" fmla="*/ 0 h 257442"/>
                <a:gd name="connsiteX0" fmla="*/ 3230271 w 3452869"/>
                <a:gd name="connsiteY0" fmla="*/ 0 h 257442"/>
                <a:gd name="connsiteX1" fmla="*/ 3452869 w 3452869"/>
                <a:gd name="connsiteY1" fmla="*/ 257442 h 257442"/>
                <a:gd name="connsiteX2" fmla="*/ 0 w 3452869"/>
                <a:gd name="connsiteY2" fmla="*/ 257442 h 257442"/>
                <a:gd name="connsiteX3" fmla="*/ 54721 w 3452869"/>
                <a:gd name="connsiteY3" fmla="*/ 0 h 257442"/>
                <a:gd name="connsiteX0" fmla="*/ 3230271 w 3230271"/>
                <a:gd name="connsiteY0" fmla="*/ 0 h 257442"/>
                <a:gd name="connsiteX1" fmla="*/ 3175551 w 3230271"/>
                <a:gd name="connsiteY1" fmla="*/ 257442 h 257442"/>
                <a:gd name="connsiteX2" fmla="*/ 0 w 3230271"/>
                <a:gd name="connsiteY2" fmla="*/ 257442 h 257442"/>
                <a:gd name="connsiteX3" fmla="*/ 54721 w 3230271"/>
                <a:gd name="connsiteY3" fmla="*/ 0 h 257442"/>
                <a:gd name="connsiteX0" fmla="*/ 3230270 w 3230270"/>
                <a:gd name="connsiteY0" fmla="*/ 0 h 257442"/>
                <a:gd name="connsiteX1" fmla="*/ 3175550 w 3230270"/>
                <a:gd name="connsiteY1" fmla="*/ 257442 h 257442"/>
                <a:gd name="connsiteX2" fmla="*/ 0 w 3230270"/>
                <a:gd name="connsiteY2" fmla="*/ 257442 h 257442"/>
                <a:gd name="connsiteX3" fmla="*/ 54720 w 3230270"/>
                <a:gd name="connsiteY3" fmla="*/ 0 h 257442"/>
                <a:gd name="connsiteX0" fmla="*/ 3230270 w 3230270"/>
                <a:gd name="connsiteY0" fmla="*/ 0 h 257442"/>
                <a:gd name="connsiteX1" fmla="*/ 3175550 w 3230270"/>
                <a:gd name="connsiteY1" fmla="*/ 257442 h 257442"/>
                <a:gd name="connsiteX2" fmla="*/ 0 w 3230270"/>
                <a:gd name="connsiteY2" fmla="*/ 257442 h 257442"/>
                <a:gd name="connsiteX3" fmla="*/ 54720 w 3230270"/>
                <a:gd name="connsiteY3" fmla="*/ 0 h 257442"/>
                <a:gd name="connsiteX0" fmla="*/ 3069970 w 3175550"/>
                <a:gd name="connsiteY0" fmla="*/ 0 h 257442"/>
                <a:gd name="connsiteX1" fmla="*/ 3175550 w 3175550"/>
                <a:gd name="connsiteY1" fmla="*/ 257442 h 257442"/>
                <a:gd name="connsiteX2" fmla="*/ 0 w 3175550"/>
                <a:gd name="connsiteY2" fmla="*/ 257442 h 257442"/>
                <a:gd name="connsiteX3" fmla="*/ 54720 w 3175550"/>
                <a:gd name="connsiteY3" fmla="*/ 0 h 257442"/>
                <a:gd name="connsiteX0" fmla="*/ 3069970 w 3069970"/>
                <a:gd name="connsiteY0" fmla="*/ 0 h 257442"/>
                <a:gd name="connsiteX1" fmla="*/ 3015249 w 3069970"/>
                <a:gd name="connsiteY1" fmla="*/ 257442 h 257442"/>
                <a:gd name="connsiteX2" fmla="*/ 0 w 3069970"/>
                <a:gd name="connsiteY2" fmla="*/ 257442 h 257442"/>
                <a:gd name="connsiteX3" fmla="*/ 54720 w 3069970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1 w 3069971"/>
                <a:gd name="connsiteY3" fmla="*/ 0 h 257442"/>
                <a:gd name="connsiteX0" fmla="*/ 3069971 w 3069971"/>
                <a:gd name="connsiteY0" fmla="*/ 0 h 257442"/>
                <a:gd name="connsiteX1" fmla="*/ 3015250 w 3069971"/>
                <a:gd name="connsiteY1" fmla="*/ 257442 h 257442"/>
                <a:gd name="connsiteX2" fmla="*/ 0 w 3069971"/>
                <a:gd name="connsiteY2" fmla="*/ 257442 h 257442"/>
                <a:gd name="connsiteX3" fmla="*/ 54722 w 3069971"/>
                <a:gd name="connsiteY3" fmla="*/ 0 h 257442"/>
                <a:gd name="connsiteX0" fmla="*/ 2909672 w 3015250"/>
                <a:gd name="connsiteY0" fmla="*/ 0 h 257442"/>
                <a:gd name="connsiteX1" fmla="*/ 3015250 w 3015250"/>
                <a:gd name="connsiteY1" fmla="*/ 257442 h 257442"/>
                <a:gd name="connsiteX2" fmla="*/ 0 w 3015250"/>
                <a:gd name="connsiteY2" fmla="*/ 257442 h 257442"/>
                <a:gd name="connsiteX3" fmla="*/ 54722 w 3015250"/>
                <a:gd name="connsiteY3" fmla="*/ 0 h 257442"/>
                <a:gd name="connsiteX0" fmla="*/ 2909672 w 2909672"/>
                <a:gd name="connsiteY0" fmla="*/ 0 h 257442"/>
                <a:gd name="connsiteX1" fmla="*/ 2854951 w 2909672"/>
                <a:gd name="connsiteY1" fmla="*/ 257442 h 257442"/>
                <a:gd name="connsiteX2" fmla="*/ 0 w 2909672"/>
                <a:gd name="connsiteY2" fmla="*/ 257442 h 257442"/>
                <a:gd name="connsiteX3" fmla="*/ 54722 w 2909672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909671 w 2909671"/>
                <a:gd name="connsiteY0" fmla="*/ 0 h 257442"/>
                <a:gd name="connsiteX1" fmla="*/ 2854950 w 2909671"/>
                <a:gd name="connsiteY1" fmla="*/ 257442 h 257442"/>
                <a:gd name="connsiteX2" fmla="*/ 0 w 2909671"/>
                <a:gd name="connsiteY2" fmla="*/ 257442 h 257442"/>
                <a:gd name="connsiteX3" fmla="*/ 54721 w 2909671"/>
                <a:gd name="connsiteY3" fmla="*/ 0 h 257442"/>
                <a:gd name="connsiteX0" fmla="*/ 2731737 w 2854950"/>
                <a:gd name="connsiteY0" fmla="*/ 0 h 257442"/>
                <a:gd name="connsiteX1" fmla="*/ 2854950 w 2854950"/>
                <a:gd name="connsiteY1" fmla="*/ 257442 h 257442"/>
                <a:gd name="connsiteX2" fmla="*/ 0 w 2854950"/>
                <a:gd name="connsiteY2" fmla="*/ 257442 h 257442"/>
                <a:gd name="connsiteX3" fmla="*/ 54721 w 2854950"/>
                <a:gd name="connsiteY3" fmla="*/ 0 h 257442"/>
                <a:gd name="connsiteX0" fmla="*/ 2731737 w 2731737"/>
                <a:gd name="connsiteY0" fmla="*/ 0 h 257442"/>
                <a:gd name="connsiteX1" fmla="*/ 2677016 w 2731737"/>
                <a:gd name="connsiteY1" fmla="*/ 257442 h 257442"/>
                <a:gd name="connsiteX2" fmla="*/ 0 w 2731737"/>
                <a:gd name="connsiteY2" fmla="*/ 257442 h 257442"/>
                <a:gd name="connsiteX3" fmla="*/ 54721 w 2731737"/>
                <a:gd name="connsiteY3" fmla="*/ 0 h 257442"/>
                <a:gd name="connsiteX0" fmla="*/ 2731736 w 2731736"/>
                <a:gd name="connsiteY0" fmla="*/ 0 h 257442"/>
                <a:gd name="connsiteX1" fmla="*/ 2677015 w 2731736"/>
                <a:gd name="connsiteY1" fmla="*/ 257442 h 257442"/>
                <a:gd name="connsiteX2" fmla="*/ 0 w 2731736"/>
                <a:gd name="connsiteY2" fmla="*/ 257442 h 257442"/>
                <a:gd name="connsiteX3" fmla="*/ 54720 w 2731736"/>
                <a:gd name="connsiteY3" fmla="*/ 0 h 257442"/>
                <a:gd name="connsiteX0" fmla="*/ 2731736 w 2731736"/>
                <a:gd name="connsiteY0" fmla="*/ 0 h 257442"/>
                <a:gd name="connsiteX1" fmla="*/ 2677015 w 2731736"/>
                <a:gd name="connsiteY1" fmla="*/ 257442 h 257442"/>
                <a:gd name="connsiteX2" fmla="*/ 0 w 2731736"/>
                <a:gd name="connsiteY2" fmla="*/ 257442 h 257442"/>
                <a:gd name="connsiteX3" fmla="*/ 54720 w 2731736"/>
                <a:gd name="connsiteY3" fmla="*/ 0 h 257442"/>
                <a:gd name="connsiteX0" fmla="*/ 2900052 w 2900052"/>
                <a:gd name="connsiteY0" fmla="*/ 0 h 257442"/>
                <a:gd name="connsiteX1" fmla="*/ 2677015 w 2900052"/>
                <a:gd name="connsiteY1" fmla="*/ 257442 h 257442"/>
                <a:gd name="connsiteX2" fmla="*/ 0 w 2900052"/>
                <a:gd name="connsiteY2" fmla="*/ 257442 h 257442"/>
                <a:gd name="connsiteX3" fmla="*/ 54720 w 2900052"/>
                <a:gd name="connsiteY3" fmla="*/ 0 h 257442"/>
                <a:gd name="connsiteX0" fmla="*/ 2900052 w 2900052"/>
                <a:gd name="connsiteY0" fmla="*/ 0 h 257442"/>
                <a:gd name="connsiteX1" fmla="*/ 2845331 w 2900052"/>
                <a:gd name="connsiteY1" fmla="*/ 257442 h 257442"/>
                <a:gd name="connsiteX2" fmla="*/ 0 w 2900052"/>
                <a:gd name="connsiteY2" fmla="*/ 257442 h 257442"/>
                <a:gd name="connsiteX3" fmla="*/ 54720 w 2900052"/>
                <a:gd name="connsiteY3" fmla="*/ 0 h 257442"/>
                <a:gd name="connsiteX0" fmla="*/ 2900053 w 2900053"/>
                <a:gd name="connsiteY0" fmla="*/ 0 h 257442"/>
                <a:gd name="connsiteX1" fmla="*/ 2845332 w 2900053"/>
                <a:gd name="connsiteY1" fmla="*/ 257442 h 257442"/>
                <a:gd name="connsiteX2" fmla="*/ 0 w 2900053"/>
                <a:gd name="connsiteY2" fmla="*/ 257442 h 257442"/>
                <a:gd name="connsiteX3" fmla="*/ 54721 w 2900053"/>
                <a:gd name="connsiteY3" fmla="*/ 0 h 257442"/>
                <a:gd name="connsiteX0" fmla="*/ 2900053 w 2900053"/>
                <a:gd name="connsiteY0" fmla="*/ 0 h 257442"/>
                <a:gd name="connsiteX1" fmla="*/ 2845332 w 2900053"/>
                <a:gd name="connsiteY1" fmla="*/ 257442 h 257442"/>
                <a:gd name="connsiteX2" fmla="*/ 0 w 2900053"/>
                <a:gd name="connsiteY2" fmla="*/ 257442 h 257442"/>
                <a:gd name="connsiteX3" fmla="*/ 54722 w 2900053"/>
                <a:gd name="connsiteY3" fmla="*/ 0 h 257442"/>
                <a:gd name="connsiteX0" fmla="*/ 3060354 w 3060354"/>
                <a:gd name="connsiteY0" fmla="*/ 0 h 257442"/>
                <a:gd name="connsiteX1" fmla="*/ 2845332 w 3060354"/>
                <a:gd name="connsiteY1" fmla="*/ 257442 h 257442"/>
                <a:gd name="connsiteX2" fmla="*/ 0 w 3060354"/>
                <a:gd name="connsiteY2" fmla="*/ 257442 h 257442"/>
                <a:gd name="connsiteX3" fmla="*/ 54722 w 3060354"/>
                <a:gd name="connsiteY3" fmla="*/ 0 h 257442"/>
                <a:gd name="connsiteX0" fmla="*/ 3060354 w 3060354"/>
                <a:gd name="connsiteY0" fmla="*/ 0 h 257442"/>
                <a:gd name="connsiteX1" fmla="*/ 3005632 w 3060354"/>
                <a:gd name="connsiteY1" fmla="*/ 257442 h 257442"/>
                <a:gd name="connsiteX2" fmla="*/ 0 w 3060354"/>
                <a:gd name="connsiteY2" fmla="*/ 257442 h 257442"/>
                <a:gd name="connsiteX3" fmla="*/ 54722 w 3060354"/>
                <a:gd name="connsiteY3" fmla="*/ 0 h 257442"/>
                <a:gd name="connsiteX0" fmla="*/ 3060354 w 3060354"/>
                <a:gd name="connsiteY0" fmla="*/ 0 h 257442"/>
                <a:gd name="connsiteX1" fmla="*/ 3005632 w 3060354"/>
                <a:gd name="connsiteY1" fmla="*/ 257442 h 257442"/>
                <a:gd name="connsiteX2" fmla="*/ 0 w 3060354"/>
                <a:gd name="connsiteY2" fmla="*/ 257442 h 257442"/>
                <a:gd name="connsiteX3" fmla="*/ 54722 w 3060354"/>
                <a:gd name="connsiteY3" fmla="*/ 0 h 257442"/>
                <a:gd name="connsiteX0" fmla="*/ 3060354 w 3060354"/>
                <a:gd name="connsiteY0" fmla="*/ 0 h 257442"/>
                <a:gd name="connsiteX1" fmla="*/ 3005632 w 3060354"/>
                <a:gd name="connsiteY1" fmla="*/ 257442 h 257442"/>
                <a:gd name="connsiteX2" fmla="*/ 0 w 3060354"/>
                <a:gd name="connsiteY2" fmla="*/ 257442 h 257442"/>
                <a:gd name="connsiteX3" fmla="*/ 54721 w 3060354"/>
                <a:gd name="connsiteY3" fmla="*/ 0 h 257442"/>
                <a:gd name="connsiteX0" fmla="*/ 3336518 w 3336518"/>
                <a:gd name="connsiteY0" fmla="*/ 0 h 257442"/>
                <a:gd name="connsiteX1" fmla="*/ 3005632 w 3336518"/>
                <a:gd name="connsiteY1" fmla="*/ 257442 h 257442"/>
                <a:gd name="connsiteX2" fmla="*/ 0 w 3336518"/>
                <a:gd name="connsiteY2" fmla="*/ 257442 h 257442"/>
                <a:gd name="connsiteX3" fmla="*/ 54721 w 3336518"/>
                <a:gd name="connsiteY3" fmla="*/ 0 h 257442"/>
                <a:gd name="connsiteX0" fmla="*/ 3336518 w 3336518"/>
                <a:gd name="connsiteY0" fmla="*/ 0 h 257442"/>
                <a:gd name="connsiteX1" fmla="*/ 3281797 w 3336518"/>
                <a:gd name="connsiteY1" fmla="*/ 257442 h 257442"/>
                <a:gd name="connsiteX2" fmla="*/ 0 w 3336518"/>
                <a:gd name="connsiteY2" fmla="*/ 257442 h 257442"/>
                <a:gd name="connsiteX3" fmla="*/ 54721 w 3336518"/>
                <a:gd name="connsiteY3" fmla="*/ 0 h 257442"/>
                <a:gd name="connsiteX0" fmla="*/ 3336518 w 3336518"/>
                <a:gd name="connsiteY0" fmla="*/ 0 h 257442"/>
                <a:gd name="connsiteX1" fmla="*/ 3281797 w 3336518"/>
                <a:gd name="connsiteY1" fmla="*/ 257442 h 257442"/>
                <a:gd name="connsiteX2" fmla="*/ 0 w 3336518"/>
                <a:gd name="connsiteY2" fmla="*/ 257442 h 257442"/>
                <a:gd name="connsiteX3" fmla="*/ 54721 w 3336518"/>
                <a:gd name="connsiteY3" fmla="*/ 0 h 257442"/>
                <a:gd name="connsiteX0" fmla="*/ 3336518 w 3336518"/>
                <a:gd name="connsiteY0" fmla="*/ 0 h 257442"/>
                <a:gd name="connsiteX1" fmla="*/ 3281797 w 3336518"/>
                <a:gd name="connsiteY1" fmla="*/ 257442 h 257442"/>
                <a:gd name="connsiteX2" fmla="*/ 0 w 3336518"/>
                <a:gd name="connsiteY2" fmla="*/ 257442 h 257442"/>
                <a:gd name="connsiteX3" fmla="*/ 54721 w 3336518"/>
                <a:gd name="connsiteY3" fmla="*/ 0 h 257442"/>
                <a:gd name="connsiteX0" fmla="*/ 3496818 w 3496818"/>
                <a:gd name="connsiteY0" fmla="*/ 0 h 257442"/>
                <a:gd name="connsiteX1" fmla="*/ 3281797 w 3496818"/>
                <a:gd name="connsiteY1" fmla="*/ 257442 h 257442"/>
                <a:gd name="connsiteX2" fmla="*/ 0 w 3496818"/>
                <a:gd name="connsiteY2" fmla="*/ 257442 h 257442"/>
                <a:gd name="connsiteX3" fmla="*/ 54721 w 3496818"/>
                <a:gd name="connsiteY3" fmla="*/ 0 h 257442"/>
                <a:gd name="connsiteX0" fmla="*/ 3496818 w 3496818"/>
                <a:gd name="connsiteY0" fmla="*/ 0 h 257442"/>
                <a:gd name="connsiteX1" fmla="*/ 3442097 w 3496818"/>
                <a:gd name="connsiteY1" fmla="*/ 257442 h 257442"/>
                <a:gd name="connsiteX2" fmla="*/ 0 w 3496818"/>
                <a:gd name="connsiteY2" fmla="*/ 257442 h 257442"/>
                <a:gd name="connsiteX3" fmla="*/ 54721 w 3496818"/>
                <a:gd name="connsiteY3" fmla="*/ 0 h 257442"/>
                <a:gd name="connsiteX0" fmla="*/ 3496818 w 3496818"/>
                <a:gd name="connsiteY0" fmla="*/ 0 h 257442"/>
                <a:gd name="connsiteX1" fmla="*/ 3442097 w 3496818"/>
                <a:gd name="connsiteY1" fmla="*/ 257442 h 257442"/>
                <a:gd name="connsiteX2" fmla="*/ 0 w 3496818"/>
                <a:gd name="connsiteY2" fmla="*/ 257442 h 257442"/>
                <a:gd name="connsiteX3" fmla="*/ 54721 w 3496818"/>
                <a:gd name="connsiteY3" fmla="*/ 0 h 257442"/>
                <a:gd name="connsiteX0" fmla="*/ 3496818 w 3496818"/>
                <a:gd name="connsiteY0" fmla="*/ 0 h 257442"/>
                <a:gd name="connsiteX1" fmla="*/ 3442097 w 3496818"/>
                <a:gd name="connsiteY1" fmla="*/ 257442 h 257442"/>
                <a:gd name="connsiteX2" fmla="*/ 0 w 3496818"/>
                <a:gd name="connsiteY2" fmla="*/ 257442 h 257442"/>
                <a:gd name="connsiteX3" fmla="*/ 54721 w 3496818"/>
                <a:gd name="connsiteY3" fmla="*/ 0 h 257442"/>
                <a:gd name="connsiteX0" fmla="*/ 3674752 w 3674752"/>
                <a:gd name="connsiteY0" fmla="*/ 0 h 257442"/>
                <a:gd name="connsiteX1" fmla="*/ 3442097 w 3674752"/>
                <a:gd name="connsiteY1" fmla="*/ 257442 h 257442"/>
                <a:gd name="connsiteX2" fmla="*/ 0 w 3674752"/>
                <a:gd name="connsiteY2" fmla="*/ 257442 h 257442"/>
                <a:gd name="connsiteX3" fmla="*/ 54721 w 3674752"/>
                <a:gd name="connsiteY3" fmla="*/ 0 h 257442"/>
                <a:gd name="connsiteX0" fmla="*/ 3674752 w 3674752"/>
                <a:gd name="connsiteY0" fmla="*/ 0 h 257442"/>
                <a:gd name="connsiteX1" fmla="*/ 3620031 w 3674752"/>
                <a:gd name="connsiteY1" fmla="*/ 257442 h 257442"/>
                <a:gd name="connsiteX2" fmla="*/ 0 w 3674752"/>
                <a:gd name="connsiteY2" fmla="*/ 257442 h 257442"/>
                <a:gd name="connsiteX3" fmla="*/ 54721 w 3674752"/>
                <a:gd name="connsiteY3" fmla="*/ 0 h 257442"/>
                <a:gd name="connsiteX0" fmla="*/ 3674752 w 3674752"/>
                <a:gd name="connsiteY0" fmla="*/ 0 h 257442"/>
                <a:gd name="connsiteX1" fmla="*/ 3620031 w 3674752"/>
                <a:gd name="connsiteY1" fmla="*/ 257442 h 257442"/>
                <a:gd name="connsiteX2" fmla="*/ 0 w 3674752"/>
                <a:gd name="connsiteY2" fmla="*/ 257442 h 257442"/>
                <a:gd name="connsiteX3" fmla="*/ 54721 w 3674752"/>
                <a:gd name="connsiteY3" fmla="*/ 0 h 257442"/>
                <a:gd name="connsiteX0" fmla="*/ 3674752 w 3674752"/>
                <a:gd name="connsiteY0" fmla="*/ 0 h 257442"/>
                <a:gd name="connsiteX1" fmla="*/ 3620031 w 3674752"/>
                <a:gd name="connsiteY1" fmla="*/ 257442 h 257442"/>
                <a:gd name="connsiteX2" fmla="*/ 0 w 3674752"/>
                <a:gd name="connsiteY2" fmla="*/ 257442 h 257442"/>
                <a:gd name="connsiteX3" fmla="*/ 54721 w 3674752"/>
                <a:gd name="connsiteY3" fmla="*/ 0 h 257442"/>
                <a:gd name="connsiteX0" fmla="*/ 3852685 w 3852685"/>
                <a:gd name="connsiteY0" fmla="*/ 0 h 257442"/>
                <a:gd name="connsiteX1" fmla="*/ 3620031 w 3852685"/>
                <a:gd name="connsiteY1" fmla="*/ 257442 h 257442"/>
                <a:gd name="connsiteX2" fmla="*/ 0 w 3852685"/>
                <a:gd name="connsiteY2" fmla="*/ 257442 h 257442"/>
                <a:gd name="connsiteX3" fmla="*/ 54721 w 3852685"/>
                <a:gd name="connsiteY3" fmla="*/ 0 h 257442"/>
                <a:gd name="connsiteX0" fmla="*/ 3852685 w 3852685"/>
                <a:gd name="connsiteY0" fmla="*/ 0 h 257442"/>
                <a:gd name="connsiteX1" fmla="*/ 3797964 w 3852685"/>
                <a:gd name="connsiteY1" fmla="*/ 257442 h 257442"/>
                <a:gd name="connsiteX2" fmla="*/ 0 w 3852685"/>
                <a:gd name="connsiteY2" fmla="*/ 257442 h 257442"/>
                <a:gd name="connsiteX3" fmla="*/ 54721 w 3852685"/>
                <a:gd name="connsiteY3" fmla="*/ 0 h 257442"/>
                <a:gd name="connsiteX0" fmla="*/ 3852685 w 3852685"/>
                <a:gd name="connsiteY0" fmla="*/ 0 h 257442"/>
                <a:gd name="connsiteX1" fmla="*/ 3797964 w 3852685"/>
                <a:gd name="connsiteY1" fmla="*/ 257442 h 257442"/>
                <a:gd name="connsiteX2" fmla="*/ 0 w 3852685"/>
                <a:gd name="connsiteY2" fmla="*/ 257442 h 257442"/>
                <a:gd name="connsiteX3" fmla="*/ 54721 w 3852685"/>
                <a:gd name="connsiteY3" fmla="*/ 0 h 257442"/>
                <a:gd name="connsiteX0" fmla="*/ 3852685 w 3852685"/>
                <a:gd name="connsiteY0" fmla="*/ 0 h 257442"/>
                <a:gd name="connsiteX1" fmla="*/ 3797964 w 3852685"/>
                <a:gd name="connsiteY1" fmla="*/ 257442 h 257442"/>
                <a:gd name="connsiteX2" fmla="*/ 0 w 3852685"/>
                <a:gd name="connsiteY2" fmla="*/ 257442 h 257442"/>
                <a:gd name="connsiteX3" fmla="*/ 54721 w 3852685"/>
                <a:gd name="connsiteY3" fmla="*/ 0 h 257442"/>
                <a:gd name="connsiteX0" fmla="*/ 4021001 w 4021001"/>
                <a:gd name="connsiteY0" fmla="*/ 0 h 257442"/>
                <a:gd name="connsiteX1" fmla="*/ 3797964 w 4021001"/>
                <a:gd name="connsiteY1" fmla="*/ 257442 h 257442"/>
                <a:gd name="connsiteX2" fmla="*/ 0 w 4021001"/>
                <a:gd name="connsiteY2" fmla="*/ 257442 h 257442"/>
                <a:gd name="connsiteX3" fmla="*/ 54721 w 4021001"/>
                <a:gd name="connsiteY3" fmla="*/ 0 h 257442"/>
                <a:gd name="connsiteX0" fmla="*/ 4021001 w 4021001"/>
                <a:gd name="connsiteY0" fmla="*/ 0 h 257442"/>
                <a:gd name="connsiteX1" fmla="*/ 3966280 w 4021001"/>
                <a:gd name="connsiteY1" fmla="*/ 257442 h 257442"/>
                <a:gd name="connsiteX2" fmla="*/ 0 w 4021001"/>
                <a:gd name="connsiteY2" fmla="*/ 257442 h 257442"/>
                <a:gd name="connsiteX3" fmla="*/ 54721 w 4021001"/>
                <a:gd name="connsiteY3" fmla="*/ 0 h 257442"/>
                <a:gd name="connsiteX0" fmla="*/ 4021001 w 4021001"/>
                <a:gd name="connsiteY0" fmla="*/ 0 h 257442"/>
                <a:gd name="connsiteX1" fmla="*/ 3966280 w 4021001"/>
                <a:gd name="connsiteY1" fmla="*/ 257442 h 257442"/>
                <a:gd name="connsiteX2" fmla="*/ 0 w 4021001"/>
                <a:gd name="connsiteY2" fmla="*/ 257442 h 257442"/>
                <a:gd name="connsiteX3" fmla="*/ 54721 w 4021001"/>
                <a:gd name="connsiteY3" fmla="*/ 0 h 257442"/>
                <a:gd name="connsiteX0" fmla="*/ 4021001 w 4021001"/>
                <a:gd name="connsiteY0" fmla="*/ 0 h 257442"/>
                <a:gd name="connsiteX1" fmla="*/ 3966280 w 4021001"/>
                <a:gd name="connsiteY1" fmla="*/ 257442 h 257442"/>
                <a:gd name="connsiteX2" fmla="*/ 0 w 4021001"/>
                <a:gd name="connsiteY2" fmla="*/ 257442 h 257442"/>
                <a:gd name="connsiteX3" fmla="*/ 54721 w 4021001"/>
                <a:gd name="connsiteY3" fmla="*/ 0 h 257442"/>
                <a:gd name="connsiteX0" fmla="*/ 4189315 w 4189315"/>
                <a:gd name="connsiteY0" fmla="*/ 0 h 257442"/>
                <a:gd name="connsiteX1" fmla="*/ 3966280 w 4189315"/>
                <a:gd name="connsiteY1" fmla="*/ 257442 h 257442"/>
                <a:gd name="connsiteX2" fmla="*/ 0 w 4189315"/>
                <a:gd name="connsiteY2" fmla="*/ 257442 h 257442"/>
                <a:gd name="connsiteX3" fmla="*/ 54721 w 4189315"/>
                <a:gd name="connsiteY3" fmla="*/ 0 h 257442"/>
                <a:gd name="connsiteX0" fmla="*/ 4189315 w 4189315"/>
                <a:gd name="connsiteY0" fmla="*/ 0 h 257442"/>
                <a:gd name="connsiteX1" fmla="*/ 4134594 w 4189315"/>
                <a:gd name="connsiteY1" fmla="*/ 257442 h 257442"/>
                <a:gd name="connsiteX2" fmla="*/ 0 w 4189315"/>
                <a:gd name="connsiteY2" fmla="*/ 257442 h 257442"/>
                <a:gd name="connsiteX3" fmla="*/ 54721 w 4189315"/>
                <a:gd name="connsiteY3" fmla="*/ 0 h 257442"/>
                <a:gd name="connsiteX0" fmla="*/ 4189315 w 4189315"/>
                <a:gd name="connsiteY0" fmla="*/ 0 h 257442"/>
                <a:gd name="connsiteX1" fmla="*/ 4134594 w 4189315"/>
                <a:gd name="connsiteY1" fmla="*/ 257442 h 257442"/>
                <a:gd name="connsiteX2" fmla="*/ 0 w 4189315"/>
                <a:gd name="connsiteY2" fmla="*/ 257442 h 257442"/>
                <a:gd name="connsiteX3" fmla="*/ 54721 w 4189315"/>
                <a:gd name="connsiteY3" fmla="*/ 0 h 257442"/>
                <a:gd name="connsiteX0" fmla="*/ 4189315 w 4189315"/>
                <a:gd name="connsiteY0" fmla="*/ 0 h 257442"/>
                <a:gd name="connsiteX1" fmla="*/ 4134594 w 4189315"/>
                <a:gd name="connsiteY1" fmla="*/ 257442 h 257442"/>
                <a:gd name="connsiteX2" fmla="*/ 0 w 4189315"/>
                <a:gd name="connsiteY2" fmla="*/ 257442 h 257442"/>
                <a:gd name="connsiteX3" fmla="*/ 54721 w 4189315"/>
                <a:gd name="connsiteY3" fmla="*/ 0 h 257442"/>
                <a:gd name="connsiteX0" fmla="*/ 4349615 w 4349615"/>
                <a:gd name="connsiteY0" fmla="*/ 0 h 257442"/>
                <a:gd name="connsiteX1" fmla="*/ 4134594 w 4349615"/>
                <a:gd name="connsiteY1" fmla="*/ 257442 h 257442"/>
                <a:gd name="connsiteX2" fmla="*/ 0 w 4349615"/>
                <a:gd name="connsiteY2" fmla="*/ 257442 h 257442"/>
                <a:gd name="connsiteX3" fmla="*/ 54721 w 4349615"/>
                <a:gd name="connsiteY3" fmla="*/ 0 h 257442"/>
                <a:gd name="connsiteX0" fmla="*/ 4349615 w 4349615"/>
                <a:gd name="connsiteY0" fmla="*/ 0 h 257442"/>
                <a:gd name="connsiteX1" fmla="*/ 4294895 w 4349615"/>
                <a:gd name="connsiteY1" fmla="*/ 257442 h 257442"/>
                <a:gd name="connsiteX2" fmla="*/ 0 w 4349615"/>
                <a:gd name="connsiteY2" fmla="*/ 257442 h 257442"/>
                <a:gd name="connsiteX3" fmla="*/ 54721 w 4349615"/>
                <a:gd name="connsiteY3" fmla="*/ 0 h 257442"/>
                <a:gd name="connsiteX0" fmla="*/ 4349615 w 4349615"/>
                <a:gd name="connsiteY0" fmla="*/ 0 h 257442"/>
                <a:gd name="connsiteX1" fmla="*/ 4294895 w 4349615"/>
                <a:gd name="connsiteY1" fmla="*/ 257442 h 257442"/>
                <a:gd name="connsiteX2" fmla="*/ 0 w 4349615"/>
                <a:gd name="connsiteY2" fmla="*/ 257442 h 257442"/>
                <a:gd name="connsiteX3" fmla="*/ 54721 w 4349615"/>
                <a:gd name="connsiteY3" fmla="*/ 0 h 257442"/>
                <a:gd name="connsiteX0" fmla="*/ 4349615 w 4349615"/>
                <a:gd name="connsiteY0" fmla="*/ 0 h 257442"/>
                <a:gd name="connsiteX1" fmla="*/ 4294895 w 4349615"/>
                <a:gd name="connsiteY1" fmla="*/ 257442 h 257442"/>
                <a:gd name="connsiteX2" fmla="*/ 0 w 4349615"/>
                <a:gd name="connsiteY2" fmla="*/ 257442 h 257442"/>
                <a:gd name="connsiteX3" fmla="*/ 54721 w 4349615"/>
                <a:gd name="connsiteY3" fmla="*/ 0 h 257442"/>
                <a:gd name="connsiteX0" fmla="*/ 4517931 w 4517931"/>
                <a:gd name="connsiteY0" fmla="*/ 0 h 257442"/>
                <a:gd name="connsiteX1" fmla="*/ 4294895 w 4517931"/>
                <a:gd name="connsiteY1" fmla="*/ 257442 h 257442"/>
                <a:gd name="connsiteX2" fmla="*/ 0 w 4517931"/>
                <a:gd name="connsiteY2" fmla="*/ 257442 h 257442"/>
                <a:gd name="connsiteX3" fmla="*/ 54721 w 4517931"/>
                <a:gd name="connsiteY3" fmla="*/ 0 h 257442"/>
                <a:gd name="connsiteX0" fmla="*/ 4517931 w 4517931"/>
                <a:gd name="connsiteY0" fmla="*/ 0 h 257442"/>
                <a:gd name="connsiteX1" fmla="*/ 4463211 w 4517931"/>
                <a:gd name="connsiteY1" fmla="*/ 257442 h 257442"/>
                <a:gd name="connsiteX2" fmla="*/ 0 w 4517931"/>
                <a:gd name="connsiteY2" fmla="*/ 257442 h 257442"/>
                <a:gd name="connsiteX3" fmla="*/ 54721 w 4517931"/>
                <a:gd name="connsiteY3" fmla="*/ 0 h 257442"/>
                <a:gd name="connsiteX0" fmla="*/ 4517931 w 4517931"/>
                <a:gd name="connsiteY0" fmla="*/ 0 h 257442"/>
                <a:gd name="connsiteX1" fmla="*/ 4463211 w 4517931"/>
                <a:gd name="connsiteY1" fmla="*/ 257442 h 257442"/>
                <a:gd name="connsiteX2" fmla="*/ 0 w 4517931"/>
                <a:gd name="connsiteY2" fmla="*/ 257442 h 257442"/>
                <a:gd name="connsiteX3" fmla="*/ 54721 w 4517931"/>
                <a:gd name="connsiteY3" fmla="*/ 0 h 257442"/>
                <a:gd name="connsiteX0" fmla="*/ 4517931 w 4517931"/>
                <a:gd name="connsiteY0" fmla="*/ 0 h 257442"/>
                <a:gd name="connsiteX1" fmla="*/ 4463211 w 4517931"/>
                <a:gd name="connsiteY1" fmla="*/ 257442 h 257442"/>
                <a:gd name="connsiteX2" fmla="*/ 0 w 4517931"/>
                <a:gd name="connsiteY2" fmla="*/ 257442 h 257442"/>
                <a:gd name="connsiteX3" fmla="*/ 54721 w 4517931"/>
                <a:gd name="connsiteY3" fmla="*/ 0 h 257442"/>
                <a:gd name="connsiteX0" fmla="*/ 4678232 w 4678232"/>
                <a:gd name="connsiteY0" fmla="*/ 0 h 257442"/>
                <a:gd name="connsiteX1" fmla="*/ 4463211 w 4678232"/>
                <a:gd name="connsiteY1" fmla="*/ 257442 h 257442"/>
                <a:gd name="connsiteX2" fmla="*/ 0 w 4678232"/>
                <a:gd name="connsiteY2" fmla="*/ 257442 h 257442"/>
                <a:gd name="connsiteX3" fmla="*/ 54721 w 4678232"/>
                <a:gd name="connsiteY3" fmla="*/ 0 h 257442"/>
                <a:gd name="connsiteX0" fmla="*/ 4678232 w 4678232"/>
                <a:gd name="connsiteY0" fmla="*/ 0 h 257442"/>
                <a:gd name="connsiteX1" fmla="*/ 4623510 w 4678232"/>
                <a:gd name="connsiteY1" fmla="*/ 257442 h 257442"/>
                <a:gd name="connsiteX2" fmla="*/ 0 w 4678232"/>
                <a:gd name="connsiteY2" fmla="*/ 257442 h 257442"/>
                <a:gd name="connsiteX3" fmla="*/ 54721 w 4678232"/>
                <a:gd name="connsiteY3" fmla="*/ 0 h 257442"/>
                <a:gd name="connsiteX0" fmla="*/ 4678233 w 4678233"/>
                <a:gd name="connsiteY0" fmla="*/ 0 h 257442"/>
                <a:gd name="connsiteX1" fmla="*/ 4623511 w 4678233"/>
                <a:gd name="connsiteY1" fmla="*/ 257442 h 257442"/>
                <a:gd name="connsiteX2" fmla="*/ 0 w 4678233"/>
                <a:gd name="connsiteY2" fmla="*/ 257442 h 257442"/>
                <a:gd name="connsiteX3" fmla="*/ 54722 w 4678233"/>
                <a:gd name="connsiteY3" fmla="*/ 0 h 257442"/>
                <a:gd name="connsiteX0" fmla="*/ 4678233 w 4678233"/>
                <a:gd name="connsiteY0" fmla="*/ 0 h 257442"/>
                <a:gd name="connsiteX1" fmla="*/ 4623511 w 4678233"/>
                <a:gd name="connsiteY1" fmla="*/ 257442 h 257442"/>
                <a:gd name="connsiteX2" fmla="*/ 0 w 4678233"/>
                <a:gd name="connsiteY2" fmla="*/ 257442 h 257442"/>
                <a:gd name="connsiteX3" fmla="*/ 54722 w 4678233"/>
                <a:gd name="connsiteY3" fmla="*/ 0 h 257442"/>
                <a:gd name="connsiteX0" fmla="*/ 4846548 w 4846548"/>
                <a:gd name="connsiteY0" fmla="*/ 0 h 257442"/>
                <a:gd name="connsiteX1" fmla="*/ 4623511 w 4846548"/>
                <a:gd name="connsiteY1" fmla="*/ 257442 h 257442"/>
                <a:gd name="connsiteX2" fmla="*/ 0 w 4846548"/>
                <a:gd name="connsiteY2" fmla="*/ 257442 h 257442"/>
                <a:gd name="connsiteX3" fmla="*/ 54722 w 4846548"/>
                <a:gd name="connsiteY3" fmla="*/ 0 h 257442"/>
                <a:gd name="connsiteX0" fmla="*/ 4846548 w 4846548"/>
                <a:gd name="connsiteY0" fmla="*/ 0 h 257442"/>
                <a:gd name="connsiteX1" fmla="*/ 4791826 w 4846548"/>
                <a:gd name="connsiteY1" fmla="*/ 257442 h 257442"/>
                <a:gd name="connsiteX2" fmla="*/ 0 w 4846548"/>
                <a:gd name="connsiteY2" fmla="*/ 257442 h 257442"/>
                <a:gd name="connsiteX3" fmla="*/ 54722 w 4846548"/>
                <a:gd name="connsiteY3" fmla="*/ 0 h 257442"/>
                <a:gd name="connsiteX0" fmla="*/ 4846548 w 4846548"/>
                <a:gd name="connsiteY0" fmla="*/ 0 h 257442"/>
                <a:gd name="connsiteX1" fmla="*/ 4791826 w 4846548"/>
                <a:gd name="connsiteY1" fmla="*/ 257442 h 257442"/>
                <a:gd name="connsiteX2" fmla="*/ 0 w 4846548"/>
                <a:gd name="connsiteY2" fmla="*/ 257442 h 257442"/>
                <a:gd name="connsiteX3" fmla="*/ 54722 w 4846548"/>
                <a:gd name="connsiteY3" fmla="*/ 0 h 257442"/>
                <a:gd name="connsiteX0" fmla="*/ 4846548 w 4846548"/>
                <a:gd name="connsiteY0" fmla="*/ 0 h 257442"/>
                <a:gd name="connsiteX1" fmla="*/ 4791826 w 4846548"/>
                <a:gd name="connsiteY1" fmla="*/ 257442 h 257442"/>
                <a:gd name="connsiteX2" fmla="*/ 0 w 4846548"/>
                <a:gd name="connsiteY2" fmla="*/ 257442 h 257442"/>
                <a:gd name="connsiteX3" fmla="*/ 54721 w 4846548"/>
                <a:gd name="connsiteY3" fmla="*/ 0 h 257442"/>
                <a:gd name="connsiteX0" fmla="*/ 5006847 w 5006847"/>
                <a:gd name="connsiteY0" fmla="*/ 0 h 257442"/>
                <a:gd name="connsiteX1" fmla="*/ 4791826 w 5006847"/>
                <a:gd name="connsiteY1" fmla="*/ 257442 h 257442"/>
                <a:gd name="connsiteX2" fmla="*/ 0 w 5006847"/>
                <a:gd name="connsiteY2" fmla="*/ 257442 h 257442"/>
                <a:gd name="connsiteX3" fmla="*/ 54721 w 5006847"/>
                <a:gd name="connsiteY3" fmla="*/ 0 h 257442"/>
                <a:gd name="connsiteX0" fmla="*/ 5006847 w 5006847"/>
                <a:gd name="connsiteY0" fmla="*/ 0 h 257442"/>
                <a:gd name="connsiteX1" fmla="*/ 4952126 w 5006847"/>
                <a:gd name="connsiteY1" fmla="*/ 257442 h 257442"/>
                <a:gd name="connsiteX2" fmla="*/ 0 w 5006847"/>
                <a:gd name="connsiteY2" fmla="*/ 257442 h 257442"/>
                <a:gd name="connsiteX3" fmla="*/ 54721 w 5006847"/>
                <a:gd name="connsiteY3" fmla="*/ 0 h 257442"/>
                <a:gd name="connsiteX0" fmla="*/ 5006847 w 5006847"/>
                <a:gd name="connsiteY0" fmla="*/ 0 h 257442"/>
                <a:gd name="connsiteX1" fmla="*/ 4952126 w 5006847"/>
                <a:gd name="connsiteY1" fmla="*/ 257442 h 257442"/>
                <a:gd name="connsiteX2" fmla="*/ 0 w 5006847"/>
                <a:gd name="connsiteY2" fmla="*/ 257442 h 257442"/>
                <a:gd name="connsiteX3" fmla="*/ 54721 w 5006847"/>
                <a:gd name="connsiteY3" fmla="*/ 0 h 257442"/>
                <a:gd name="connsiteX0" fmla="*/ 5006847 w 5006847"/>
                <a:gd name="connsiteY0" fmla="*/ 0 h 257442"/>
                <a:gd name="connsiteX1" fmla="*/ 4952126 w 5006847"/>
                <a:gd name="connsiteY1" fmla="*/ 257442 h 257442"/>
                <a:gd name="connsiteX2" fmla="*/ 0 w 5006847"/>
                <a:gd name="connsiteY2" fmla="*/ 257442 h 257442"/>
                <a:gd name="connsiteX3" fmla="*/ 54721 w 5006847"/>
                <a:gd name="connsiteY3" fmla="*/ 0 h 257442"/>
                <a:gd name="connsiteX0" fmla="*/ 5167147 w 5167147"/>
                <a:gd name="connsiteY0" fmla="*/ 0 h 257442"/>
                <a:gd name="connsiteX1" fmla="*/ 4952126 w 5167147"/>
                <a:gd name="connsiteY1" fmla="*/ 257442 h 257442"/>
                <a:gd name="connsiteX2" fmla="*/ 0 w 5167147"/>
                <a:gd name="connsiteY2" fmla="*/ 257442 h 257442"/>
                <a:gd name="connsiteX3" fmla="*/ 54721 w 5167147"/>
                <a:gd name="connsiteY3" fmla="*/ 0 h 257442"/>
                <a:gd name="connsiteX0" fmla="*/ 5167147 w 5167147"/>
                <a:gd name="connsiteY0" fmla="*/ 0 h 257442"/>
                <a:gd name="connsiteX1" fmla="*/ 5112426 w 5167147"/>
                <a:gd name="connsiteY1" fmla="*/ 257442 h 257442"/>
                <a:gd name="connsiteX2" fmla="*/ 0 w 5167147"/>
                <a:gd name="connsiteY2" fmla="*/ 257442 h 257442"/>
                <a:gd name="connsiteX3" fmla="*/ 54721 w 5167147"/>
                <a:gd name="connsiteY3" fmla="*/ 0 h 257442"/>
                <a:gd name="connsiteX0" fmla="*/ 5167147 w 5167147"/>
                <a:gd name="connsiteY0" fmla="*/ 0 h 257442"/>
                <a:gd name="connsiteX1" fmla="*/ 5112426 w 5167147"/>
                <a:gd name="connsiteY1" fmla="*/ 257442 h 257442"/>
                <a:gd name="connsiteX2" fmla="*/ 0 w 5167147"/>
                <a:gd name="connsiteY2" fmla="*/ 257442 h 257442"/>
                <a:gd name="connsiteX3" fmla="*/ 54721 w 5167147"/>
                <a:gd name="connsiteY3" fmla="*/ 0 h 257442"/>
                <a:gd name="connsiteX0" fmla="*/ 5167147 w 5167147"/>
                <a:gd name="connsiteY0" fmla="*/ 0 h 257442"/>
                <a:gd name="connsiteX1" fmla="*/ 5112426 w 5167147"/>
                <a:gd name="connsiteY1" fmla="*/ 257442 h 257442"/>
                <a:gd name="connsiteX2" fmla="*/ 0 w 5167147"/>
                <a:gd name="connsiteY2" fmla="*/ 257442 h 257442"/>
                <a:gd name="connsiteX3" fmla="*/ 54721 w 5167147"/>
                <a:gd name="connsiteY3" fmla="*/ 0 h 257442"/>
                <a:gd name="connsiteX0" fmla="*/ 3914048 w 5112426"/>
                <a:gd name="connsiteY0" fmla="*/ 0 h 257442"/>
                <a:gd name="connsiteX1" fmla="*/ 5112426 w 5112426"/>
                <a:gd name="connsiteY1" fmla="*/ 257442 h 257442"/>
                <a:gd name="connsiteX2" fmla="*/ 0 w 5112426"/>
                <a:gd name="connsiteY2" fmla="*/ 257442 h 257442"/>
                <a:gd name="connsiteX3" fmla="*/ 54721 w 5112426"/>
                <a:gd name="connsiteY3" fmla="*/ 0 h 257442"/>
                <a:gd name="connsiteX0" fmla="*/ 3914048 w 3914048"/>
                <a:gd name="connsiteY0" fmla="*/ 0 h 257442"/>
                <a:gd name="connsiteX1" fmla="*/ 3859327 w 3914048"/>
                <a:gd name="connsiteY1" fmla="*/ 257442 h 257442"/>
                <a:gd name="connsiteX2" fmla="*/ 0 w 3914048"/>
                <a:gd name="connsiteY2" fmla="*/ 257442 h 257442"/>
                <a:gd name="connsiteX3" fmla="*/ 54721 w 3914048"/>
                <a:gd name="connsiteY3" fmla="*/ 0 h 257442"/>
                <a:gd name="connsiteX0" fmla="*/ 3914048 w 3914048"/>
                <a:gd name="connsiteY0" fmla="*/ 0 h 257442"/>
                <a:gd name="connsiteX1" fmla="*/ 3859327 w 3914048"/>
                <a:gd name="connsiteY1" fmla="*/ 257442 h 257442"/>
                <a:gd name="connsiteX2" fmla="*/ 0 w 3914048"/>
                <a:gd name="connsiteY2" fmla="*/ 257442 h 257442"/>
                <a:gd name="connsiteX3" fmla="*/ 54721 w 3914048"/>
                <a:gd name="connsiteY3" fmla="*/ 0 h 257442"/>
                <a:gd name="connsiteX0" fmla="*/ 3914048 w 3914048"/>
                <a:gd name="connsiteY0" fmla="*/ 0 h 257442"/>
                <a:gd name="connsiteX1" fmla="*/ 3859327 w 3914048"/>
                <a:gd name="connsiteY1" fmla="*/ 257442 h 257442"/>
                <a:gd name="connsiteX2" fmla="*/ 0 w 3914048"/>
                <a:gd name="connsiteY2" fmla="*/ 257442 h 257442"/>
                <a:gd name="connsiteX3" fmla="*/ 54721 w 3914048"/>
                <a:gd name="connsiteY3" fmla="*/ 0 h 257442"/>
                <a:gd name="connsiteX0" fmla="*/ 4074349 w 4074349"/>
                <a:gd name="connsiteY0" fmla="*/ 0 h 257442"/>
                <a:gd name="connsiteX1" fmla="*/ 3859327 w 4074349"/>
                <a:gd name="connsiteY1" fmla="*/ 257442 h 257442"/>
                <a:gd name="connsiteX2" fmla="*/ 0 w 4074349"/>
                <a:gd name="connsiteY2" fmla="*/ 257442 h 257442"/>
                <a:gd name="connsiteX3" fmla="*/ 54721 w 4074349"/>
                <a:gd name="connsiteY3" fmla="*/ 0 h 257442"/>
                <a:gd name="connsiteX0" fmla="*/ 4074349 w 4074349"/>
                <a:gd name="connsiteY0" fmla="*/ 0 h 257442"/>
                <a:gd name="connsiteX1" fmla="*/ 4019628 w 4074349"/>
                <a:gd name="connsiteY1" fmla="*/ 257442 h 257442"/>
                <a:gd name="connsiteX2" fmla="*/ 0 w 4074349"/>
                <a:gd name="connsiteY2" fmla="*/ 257442 h 257442"/>
                <a:gd name="connsiteX3" fmla="*/ 54721 w 4074349"/>
                <a:gd name="connsiteY3" fmla="*/ 0 h 257442"/>
                <a:gd name="connsiteX0" fmla="*/ 4074349 w 4074349"/>
                <a:gd name="connsiteY0" fmla="*/ 0 h 257442"/>
                <a:gd name="connsiteX1" fmla="*/ 4019628 w 4074349"/>
                <a:gd name="connsiteY1" fmla="*/ 257442 h 257442"/>
                <a:gd name="connsiteX2" fmla="*/ 0 w 4074349"/>
                <a:gd name="connsiteY2" fmla="*/ 257442 h 257442"/>
                <a:gd name="connsiteX3" fmla="*/ 54721 w 4074349"/>
                <a:gd name="connsiteY3" fmla="*/ 0 h 257442"/>
                <a:gd name="connsiteX0" fmla="*/ 4074349 w 4074349"/>
                <a:gd name="connsiteY0" fmla="*/ 0 h 257442"/>
                <a:gd name="connsiteX1" fmla="*/ 4019628 w 4074349"/>
                <a:gd name="connsiteY1" fmla="*/ 257442 h 257442"/>
                <a:gd name="connsiteX2" fmla="*/ 0 w 4074349"/>
                <a:gd name="connsiteY2" fmla="*/ 257442 h 257442"/>
                <a:gd name="connsiteX3" fmla="*/ 54721 w 4074349"/>
                <a:gd name="connsiteY3" fmla="*/ 0 h 257442"/>
                <a:gd name="connsiteX0" fmla="*/ 4252281 w 4252281"/>
                <a:gd name="connsiteY0" fmla="*/ 0 h 257442"/>
                <a:gd name="connsiteX1" fmla="*/ 4019628 w 4252281"/>
                <a:gd name="connsiteY1" fmla="*/ 257442 h 257442"/>
                <a:gd name="connsiteX2" fmla="*/ 0 w 4252281"/>
                <a:gd name="connsiteY2" fmla="*/ 257442 h 257442"/>
                <a:gd name="connsiteX3" fmla="*/ 54721 w 4252281"/>
                <a:gd name="connsiteY3" fmla="*/ 0 h 257442"/>
                <a:gd name="connsiteX0" fmla="*/ 4252281 w 4252281"/>
                <a:gd name="connsiteY0" fmla="*/ 0 h 257442"/>
                <a:gd name="connsiteX1" fmla="*/ 4197560 w 4252281"/>
                <a:gd name="connsiteY1" fmla="*/ 257442 h 257442"/>
                <a:gd name="connsiteX2" fmla="*/ 0 w 4252281"/>
                <a:gd name="connsiteY2" fmla="*/ 257442 h 257442"/>
                <a:gd name="connsiteX3" fmla="*/ 54721 w 4252281"/>
                <a:gd name="connsiteY3" fmla="*/ 0 h 257442"/>
                <a:gd name="connsiteX0" fmla="*/ 4252281 w 4252281"/>
                <a:gd name="connsiteY0" fmla="*/ 0 h 257442"/>
                <a:gd name="connsiteX1" fmla="*/ 4197560 w 4252281"/>
                <a:gd name="connsiteY1" fmla="*/ 257442 h 257442"/>
                <a:gd name="connsiteX2" fmla="*/ 0 w 4252281"/>
                <a:gd name="connsiteY2" fmla="*/ 257442 h 257442"/>
                <a:gd name="connsiteX3" fmla="*/ 54721 w 4252281"/>
                <a:gd name="connsiteY3" fmla="*/ 0 h 257442"/>
                <a:gd name="connsiteX0" fmla="*/ 4252281 w 4252281"/>
                <a:gd name="connsiteY0" fmla="*/ 0 h 257442"/>
                <a:gd name="connsiteX1" fmla="*/ 4197560 w 4252281"/>
                <a:gd name="connsiteY1" fmla="*/ 257442 h 257442"/>
                <a:gd name="connsiteX2" fmla="*/ 0 w 4252281"/>
                <a:gd name="connsiteY2" fmla="*/ 257442 h 257442"/>
                <a:gd name="connsiteX3" fmla="*/ 54721 w 4252281"/>
                <a:gd name="connsiteY3" fmla="*/ 0 h 257442"/>
                <a:gd name="connsiteX0" fmla="*/ 4531204 w 4531204"/>
                <a:gd name="connsiteY0" fmla="*/ 0 h 257442"/>
                <a:gd name="connsiteX1" fmla="*/ 4197560 w 4531204"/>
                <a:gd name="connsiteY1" fmla="*/ 257442 h 257442"/>
                <a:gd name="connsiteX2" fmla="*/ 0 w 4531204"/>
                <a:gd name="connsiteY2" fmla="*/ 257442 h 257442"/>
                <a:gd name="connsiteX3" fmla="*/ 54721 w 4531204"/>
                <a:gd name="connsiteY3" fmla="*/ 0 h 257442"/>
                <a:gd name="connsiteX0" fmla="*/ 4531204 w 4531204"/>
                <a:gd name="connsiteY0" fmla="*/ 0 h 257442"/>
                <a:gd name="connsiteX1" fmla="*/ 4476482 w 4531204"/>
                <a:gd name="connsiteY1" fmla="*/ 257442 h 257442"/>
                <a:gd name="connsiteX2" fmla="*/ 0 w 4531204"/>
                <a:gd name="connsiteY2" fmla="*/ 257442 h 257442"/>
                <a:gd name="connsiteX3" fmla="*/ 54721 w 4531204"/>
                <a:gd name="connsiteY3" fmla="*/ 0 h 257442"/>
                <a:gd name="connsiteX0" fmla="*/ 4531205 w 4531205"/>
                <a:gd name="connsiteY0" fmla="*/ 0 h 257442"/>
                <a:gd name="connsiteX1" fmla="*/ 4476483 w 4531205"/>
                <a:gd name="connsiteY1" fmla="*/ 257442 h 257442"/>
                <a:gd name="connsiteX2" fmla="*/ 0 w 4531205"/>
                <a:gd name="connsiteY2" fmla="*/ 257442 h 257442"/>
                <a:gd name="connsiteX3" fmla="*/ 54722 w 4531205"/>
                <a:gd name="connsiteY3" fmla="*/ 0 h 257442"/>
                <a:gd name="connsiteX0" fmla="*/ 4531205 w 4531205"/>
                <a:gd name="connsiteY0" fmla="*/ 0 h 257442"/>
                <a:gd name="connsiteX1" fmla="*/ 4476483 w 4531205"/>
                <a:gd name="connsiteY1" fmla="*/ 257442 h 257442"/>
                <a:gd name="connsiteX2" fmla="*/ 0 w 4531205"/>
                <a:gd name="connsiteY2" fmla="*/ 257442 h 257442"/>
                <a:gd name="connsiteX3" fmla="*/ 54722 w 4531205"/>
                <a:gd name="connsiteY3" fmla="*/ 0 h 257442"/>
                <a:gd name="connsiteX0" fmla="*/ 4699521 w 4699521"/>
                <a:gd name="connsiteY0" fmla="*/ 0 h 257442"/>
                <a:gd name="connsiteX1" fmla="*/ 4476483 w 4699521"/>
                <a:gd name="connsiteY1" fmla="*/ 257442 h 257442"/>
                <a:gd name="connsiteX2" fmla="*/ 0 w 4699521"/>
                <a:gd name="connsiteY2" fmla="*/ 257442 h 257442"/>
                <a:gd name="connsiteX3" fmla="*/ 54722 w 4699521"/>
                <a:gd name="connsiteY3" fmla="*/ 0 h 257442"/>
                <a:gd name="connsiteX0" fmla="*/ 4699521 w 4699521"/>
                <a:gd name="connsiteY0" fmla="*/ 0 h 257442"/>
                <a:gd name="connsiteX1" fmla="*/ 4644800 w 4699521"/>
                <a:gd name="connsiteY1" fmla="*/ 257442 h 257442"/>
                <a:gd name="connsiteX2" fmla="*/ 0 w 4699521"/>
                <a:gd name="connsiteY2" fmla="*/ 257442 h 257442"/>
                <a:gd name="connsiteX3" fmla="*/ 54722 w 4699521"/>
                <a:gd name="connsiteY3" fmla="*/ 0 h 257442"/>
                <a:gd name="connsiteX0" fmla="*/ 4699520 w 4699520"/>
                <a:gd name="connsiteY0" fmla="*/ 0 h 257442"/>
                <a:gd name="connsiteX1" fmla="*/ 4644799 w 4699520"/>
                <a:gd name="connsiteY1" fmla="*/ 257442 h 257442"/>
                <a:gd name="connsiteX2" fmla="*/ 0 w 4699520"/>
                <a:gd name="connsiteY2" fmla="*/ 257442 h 257442"/>
                <a:gd name="connsiteX3" fmla="*/ 54721 w 4699520"/>
                <a:gd name="connsiteY3" fmla="*/ 0 h 257442"/>
                <a:gd name="connsiteX0" fmla="*/ 4699520 w 4699520"/>
                <a:gd name="connsiteY0" fmla="*/ 0 h 257442"/>
                <a:gd name="connsiteX1" fmla="*/ 4644799 w 4699520"/>
                <a:gd name="connsiteY1" fmla="*/ 257442 h 257442"/>
                <a:gd name="connsiteX2" fmla="*/ 0 w 4699520"/>
                <a:gd name="connsiteY2" fmla="*/ 257442 h 257442"/>
                <a:gd name="connsiteX3" fmla="*/ 54720 w 4699520"/>
                <a:gd name="connsiteY3" fmla="*/ 0 h 257442"/>
                <a:gd name="connsiteX0" fmla="*/ 4859819 w 4859819"/>
                <a:gd name="connsiteY0" fmla="*/ 0 h 257442"/>
                <a:gd name="connsiteX1" fmla="*/ 4644799 w 4859819"/>
                <a:gd name="connsiteY1" fmla="*/ 257442 h 257442"/>
                <a:gd name="connsiteX2" fmla="*/ 0 w 4859819"/>
                <a:gd name="connsiteY2" fmla="*/ 257442 h 257442"/>
                <a:gd name="connsiteX3" fmla="*/ 54720 w 4859819"/>
                <a:gd name="connsiteY3" fmla="*/ 0 h 257442"/>
                <a:gd name="connsiteX0" fmla="*/ 4859819 w 4859819"/>
                <a:gd name="connsiteY0" fmla="*/ 0 h 257442"/>
                <a:gd name="connsiteX1" fmla="*/ 4805098 w 4859819"/>
                <a:gd name="connsiteY1" fmla="*/ 257442 h 257442"/>
                <a:gd name="connsiteX2" fmla="*/ 0 w 4859819"/>
                <a:gd name="connsiteY2" fmla="*/ 257442 h 257442"/>
                <a:gd name="connsiteX3" fmla="*/ 54720 w 4859819"/>
                <a:gd name="connsiteY3" fmla="*/ 0 h 257442"/>
                <a:gd name="connsiteX0" fmla="*/ 4859820 w 4859820"/>
                <a:gd name="connsiteY0" fmla="*/ 0 h 257442"/>
                <a:gd name="connsiteX1" fmla="*/ 4805099 w 4859820"/>
                <a:gd name="connsiteY1" fmla="*/ 257442 h 257442"/>
                <a:gd name="connsiteX2" fmla="*/ 0 w 4859820"/>
                <a:gd name="connsiteY2" fmla="*/ 257442 h 257442"/>
                <a:gd name="connsiteX3" fmla="*/ 54721 w 4859820"/>
                <a:gd name="connsiteY3" fmla="*/ 0 h 257442"/>
                <a:gd name="connsiteX0" fmla="*/ 4859820 w 4859820"/>
                <a:gd name="connsiteY0" fmla="*/ 0 h 257442"/>
                <a:gd name="connsiteX1" fmla="*/ 4805099 w 4859820"/>
                <a:gd name="connsiteY1" fmla="*/ 257442 h 257442"/>
                <a:gd name="connsiteX2" fmla="*/ 0 w 4859820"/>
                <a:gd name="connsiteY2" fmla="*/ 257442 h 257442"/>
                <a:gd name="connsiteX3" fmla="*/ 54721 w 4859820"/>
                <a:gd name="connsiteY3" fmla="*/ 0 h 257442"/>
                <a:gd name="connsiteX0" fmla="*/ 2910568 w 4805099"/>
                <a:gd name="connsiteY0" fmla="*/ 0 h 257442"/>
                <a:gd name="connsiteX1" fmla="*/ 4805099 w 4805099"/>
                <a:gd name="connsiteY1" fmla="*/ 257442 h 257442"/>
                <a:gd name="connsiteX2" fmla="*/ 0 w 4805099"/>
                <a:gd name="connsiteY2" fmla="*/ 257442 h 257442"/>
                <a:gd name="connsiteX3" fmla="*/ 54721 w 4805099"/>
                <a:gd name="connsiteY3" fmla="*/ 0 h 257442"/>
                <a:gd name="connsiteX0" fmla="*/ 2910568 w 2910568"/>
                <a:gd name="connsiteY0" fmla="*/ 0 h 257442"/>
                <a:gd name="connsiteX1" fmla="*/ 2855848 w 2910568"/>
                <a:gd name="connsiteY1" fmla="*/ 257442 h 257442"/>
                <a:gd name="connsiteX2" fmla="*/ 0 w 2910568"/>
                <a:gd name="connsiteY2" fmla="*/ 257442 h 257442"/>
                <a:gd name="connsiteX3" fmla="*/ 54721 w 2910568"/>
                <a:gd name="connsiteY3" fmla="*/ 0 h 257442"/>
                <a:gd name="connsiteX0" fmla="*/ 2910567 w 2910567"/>
                <a:gd name="connsiteY0" fmla="*/ 0 h 257442"/>
                <a:gd name="connsiteX1" fmla="*/ 2855847 w 2910567"/>
                <a:gd name="connsiteY1" fmla="*/ 257442 h 257442"/>
                <a:gd name="connsiteX2" fmla="*/ 0 w 2910567"/>
                <a:gd name="connsiteY2" fmla="*/ 257442 h 257442"/>
                <a:gd name="connsiteX3" fmla="*/ 54720 w 2910567"/>
                <a:gd name="connsiteY3" fmla="*/ 0 h 257442"/>
                <a:gd name="connsiteX0" fmla="*/ 2910567 w 2910567"/>
                <a:gd name="connsiteY0" fmla="*/ 0 h 257442"/>
                <a:gd name="connsiteX1" fmla="*/ 2855847 w 2910567"/>
                <a:gd name="connsiteY1" fmla="*/ 257442 h 257442"/>
                <a:gd name="connsiteX2" fmla="*/ 0 w 2910567"/>
                <a:gd name="connsiteY2" fmla="*/ 257442 h 257442"/>
                <a:gd name="connsiteX3" fmla="*/ 54721 w 2910567"/>
                <a:gd name="connsiteY3" fmla="*/ 0 h 257442"/>
                <a:gd name="connsiteX0" fmla="*/ 2483720 w 2855847"/>
                <a:gd name="connsiteY0" fmla="*/ 0 h 257442"/>
                <a:gd name="connsiteX1" fmla="*/ 2855847 w 2855847"/>
                <a:gd name="connsiteY1" fmla="*/ 257442 h 257442"/>
                <a:gd name="connsiteX2" fmla="*/ 0 w 2855847"/>
                <a:gd name="connsiteY2" fmla="*/ 257442 h 257442"/>
                <a:gd name="connsiteX3" fmla="*/ 54721 w 2855847"/>
                <a:gd name="connsiteY3" fmla="*/ 0 h 257442"/>
                <a:gd name="connsiteX0" fmla="*/ 2483720 w 2483720"/>
                <a:gd name="connsiteY0" fmla="*/ 0 h 257442"/>
                <a:gd name="connsiteX1" fmla="*/ 2428999 w 2483720"/>
                <a:gd name="connsiteY1" fmla="*/ 257442 h 257442"/>
                <a:gd name="connsiteX2" fmla="*/ 0 w 2483720"/>
                <a:gd name="connsiteY2" fmla="*/ 257442 h 257442"/>
                <a:gd name="connsiteX3" fmla="*/ 54721 w 2483720"/>
                <a:gd name="connsiteY3" fmla="*/ 0 h 257442"/>
                <a:gd name="connsiteX0" fmla="*/ 2483720 w 2483720"/>
                <a:gd name="connsiteY0" fmla="*/ 0 h 257442"/>
                <a:gd name="connsiteX1" fmla="*/ 2428999 w 2483720"/>
                <a:gd name="connsiteY1" fmla="*/ 257442 h 257442"/>
                <a:gd name="connsiteX2" fmla="*/ 0 w 2483720"/>
                <a:gd name="connsiteY2" fmla="*/ 257442 h 257442"/>
                <a:gd name="connsiteX3" fmla="*/ 54721 w 2483720"/>
                <a:gd name="connsiteY3" fmla="*/ 0 h 257442"/>
                <a:gd name="connsiteX0" fmla="*/ 2483720 w 2483720"/>
                <a:gd name="connsiteY0" fmla="*/ 0 h 257442"/>
                <a:gd name="connsiteX1" fmla="*/ 2428999 w 2483720"/>
                <a:gd name="connsiteY1" fmla="*/ 257442 h 257442"/>
                <a:gd name="connsiteX2" fmla="*/ 0 w 2483720"/>
                <a:gd name="connsiteY2" fmla="*/ 257442 h 257442"/>
                <a:gd name="connsiteX3" fmla="*/ 54721 w 2483720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3720" h="257442">
                  <a:moveTo>
                    <a:pt x="2483720" y="0"/>
                  </a:moveTo>
                  <a:lnTo>
                    <a:pt x="2428999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63" name="btfpRunningAgenda2LevelTextRight456905">
              <a:extLst>
                <a:ext uri="{FF2B5EF4-FFF2-40B4-BE49-F238E27FC236}">
                  <a16:creationId xmlns:a16="http://schemas.microsoft.com/office/drawing/2014/main" id="{CB7AEBF0-AFC6-40A7-80A2-38E62B161751}"/>
                </a:ext>
              </a:extLst>
            </p:cNvPr>
            <p:cNvSpPr txBox="1"/>
            <p:nvPr/>
          </p:nvSpPr>
          <p:spPr bwMode="gray">
            <a:xfrm>
              <a:off x="2495906" y="944429"/>
              <a:ext cx="242899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key regions</a:t>
              </a:r>
            </a:p>
          </p:txBody>
        </p:sp>
      </p:grpSp>
      <p:pic>
        <p:nvPicPr>
          <p:cNvPr id="64" name="Picture 63">
            <a:extLst>
              <a:ext uri="{FF2B5EF4-FFF2-40B4-BE49-F238E27FC236}">
                <a16:creationId xmlns:a16="http://schemas.microsoft.com/office/drawing/2014/main" id="{6F67EB01-2F72-401F-952E-E439788AC47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646654" y="6191366"/>
            <a:ext cx="1261892" cy="353608"/>
          </a:xfrm>
          <a:prstGeom prst="rect">
            <a:avLst/>
          </a:prstGeom>
        </p:spPr>
      </p:pic>
      <p:grpSp>
        <p:nvGrpSpPr>
          <p:cNvPr id="67" name="btfpStatusSticker149086">
            <a:extLst>
              <a:ext uri="{FF2B5EF4-FFF2-40B4-BE49-F238E27FC236}">
                <a16:creationId xmlns:a16="http://schemas.microsoft.com/office/drawing/2014/main" id="{EFF9A0EA-2C77-4E07-8F5D-02B69FBB4F2D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632714" y="955344"/>
            <a:ext cx="2342950" cy="235611"/>
            <a:chOff x="-4859410" y="876300"/>
            <a:chExt cx="2342950" cy="235611"/>
          </a:xfrm>
        </p:grpSpPr>
        <p:sp>
          <p:nvSpPr>
            <p:cNvPr id="68" name="btfpStatusStickerText149086">
              <a:extLst>
                <a:ext uri="{FF2B5EF4-FFF2-40B4-BE49-F238E27FC236}">
                  <a16:creationId xmlns:a16="http://schemas.microsoft.com/office/drawing/2014/main" id="{D96E473D-7556-4485-A149-A1C61F71D3D2}"/>
                </a:ext>
              </a:extLst>
            </p:cNvPr>
            <p:cNvSpPr txBox="1"/>
            <p:nvPr/>
          </p:nvSpPr>
          <p:spPr bwMode="gray">
            <a:xfrm>
              <a:off x="-4859410" y="876300"/>
              <a:ext cx="234295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TECHNICIAN ONLY</a:t>
              </a:r>
            </a:p>
          </p:txBody>
        </p:sp>
        <p:cxnSp>
          <p:nvCxnSpPr>
            <p:cNvPr id="71" name="btfpStatusStickerLine149086">
              <a:extLst>
                <a:ext uri="{FF2B5EF4-FFF2-40B4-BE49-F238E27FC236}">
                  <a16:creationId xmlns:a16="http://schemas.microsoft.com/office/drawing/2014/main" id="{30CC9C0E-5773-434C-B4DA-3108F72663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4859410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btfpNotesBox194876">
            <a:extLst>
              <a:ext uri="{FF2B5EF4-FFF2-40B4-BE49-F238E27FC236}">
                <a16:creationId xmlns:a16="http://schemas.microsoft.com/office/drawing/2014/main" id="{3D960D64-B5EF-41FE-8C74-58549A63901A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90729" indent="-90729">
              <a:spcBef>
                <a:spcPct val="0"/>
              </a:spcBef>
              <a:buNone/>
            </a:pPr>
            <a:r>
              <a:rPr lang="en-GB" sz="800" dirty="0">
                <a:solidFill>
                  <a:srgbClr val="000000"/>
                </a:solidFill>
              </a:rPr>
              <a:t>Note: Series shown for key cities with # of job postings across players; Players with N&lt;15 hidden from the chart; series represents respective MSA regions, for e.g. ‘New York, NY’ represent MSA region –</a:t>
            </a:r>
          </a:p>
          <a:p>
            <a:pPr marL="90729" indent="-90729">
              <a:spcBef>
                <a:spcPct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ew York-Northern New Jersey-Long Island, NY-NJ-PA MSA | </a:t>
            </a:r>
            <a:r>
              <a:rPr lang="en-GB" sz="800" dirty="0">
                <a:solidFill>
                  <a:srgbClr val="000000"/>
                </a:solidFill>
              </a:rPr>
              <a:t>Source: Aura, Bain analysi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D322C0B-D0C0-2980-A70B-2DAEAE4D0F61}"/>
              </a:ext>
            </a:extLst>
          </p:cNvPr>
          <p:cNvSpPr/>
          <p:nvPr/>
        </p:nvSpPr>
        <p:spPr bwMode="gray">
          <a:xfrm>
            <a:off x="2393667" y="1717549"/>
            <a:ext cx="1198473" cy="4473817"/>
          </a:xfrm>
          <a:prstGeom prst="rect">
            <a:avLst/>
          </a:prstGeom>
          <a:noFill/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8" name="Picture 6" descr="Caliber Collision logo">
            <a:extLst>
              <a:ext uri="{FF2B5EF4-FFF2-40B4-BE49-F238E27FC236}">
                <a16:creationId xmlns:a16="http://schemas.microsoft.com/office/drawing/2014/main" id="{7BAA36BF-CA03-7FE1-99C7-C37FF1942F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491" b="22714"/>
          <a:stretch/>
        </p:blipFill>
        <p:spPr bwMode="auto">
          <a:xfrm>
            <a:off x="1152584" y="5772380"/>
            <a:ext cx="551810" cy="30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2" descr="Crash Champions">
            <a:extLst>
              <a:ext uri="{FF2B5EF4-FFF2-40B4-BE49-F238E27FC236}">
                <a16:creationId xmlns:a16="http://schemas.microsoft.com/office/drawing/2014/main" id="{37428E92-F56D-34E7-84A5-609D56CAD0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9369" y="5818468"/>
            <a:ext cx="792601" cy="215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4" descr="Maaco Corporation logo">
            <a:extLst>
              <a:ext uri="{FF2B5EF4-FFF2-40B4-BE49-F238E27FC236}">
                <a16:creationId xmlns:a16="http://schemas.microsoft.com/office/drawing/2014/main" id="{CBC7E508-FC0B-187C-E62F-E4DB39F1494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411" b="30469"/>
          <a:stretch/>
        </p:blipFill>
        <p:spPr bwMode="auto">
          <a:xfrm>
            <a:off x="4263502" y="5800104"/>
            <a:ext cx="645274" cy="252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0" descr="Download Carstar Autopro Collision Chandler - Carstar Auto Body Logo - Full  Size PNG Image - PNGkit">
            <a:extLst>
              <a:ext uri="{FF2B5EF4-FFF2-40B4-BE49-F238E27FC236}">
                <a16:creationId xmlns:a16="http://schemas.microsoft.com/office/drawing/2014/main" id="{7DBB2646-BBC4-96C2-8152-DE4E0B7E20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694"/>
          <a:stretch/>
        </p:blipFill>
        <p:spPr bwMode="auto">
          <a:xfrm>
            <a:off x="7315554" y="5827304"/>
            <a:ext cx="858187" cy="198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5270BBA3-9F76-D293-69CC-CD5699B90452}"/>
              </a:ext>
            </a:extLst>
          </p:cNvPr>
          <p:cNvSpPr/>
          <p:nvPr/>
        </p:nvSpPr>
        <p:spPr bwMode="gray">
          <a:xfrm>
            <a:off x="2648107" y="5810037"/>
            <a:ext cx="691946" cy="232569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>
                <a:solidFill>
                  <a:schemeClr val="bg1"/>
                </a:solidFill>
              </a:rPr>
              <a:t>Swerve</a:t>
            </a:r>
          </a:p>
        </p:txBody>
      </p:sp>
      <p:pic>
        <p:nvPicPr>
          <p:cNvPr id="35" name="Picture 2" descr="Classic Collision – New Mountain Capital">
            <a:extLst>
              <a:ext uri="{FF2B5EF4-FFF2-40B4-BE49-F238E27FC236}">
                <a16:creationId xmlns:a16="http://schemas.microsoft.com/office/drawing/2014/main" id="{FAB7FC20-F133-8250-7565-39D5E946DE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0018" y="5843980"/>
            <a:ext cx="608499" cy="161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9" descr="CollisionRight Acquires Repair Shops in Midwest, Mid-Atlantic">
            <a:extLst>
              <a:ext uri="{FF2B5EF4-FFF2-40B4-BE49-F238E27FC236}">
                <a16:creationId xmlns:a16="http://schemas.microsoft.com/office/drawing/2014/main" id="{15D32E2F-BD89-7975-3E7D-3FD7E43E9F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88" t="34059" r="19297" b="31237"/>
          <a:stretch/>
        </p:blipFill>
        <p:spPr bwMode="auto">
          <a:xfrm>
            <a:off x="10682928" y="5827209"/>
            <a:ext cx="511698" cy="198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32AC48B4-3BBF-7925-3A14-A3C86C6E1255}"/>
              </a:ext>
            </a:extLst>
          </p:cNvPr>
          <p:cNvSpPr txBox="1"/>
          <p:nvPr/>
        </p:nvSpPr>
        <p:spPr bwMode="gray">
          <a:xfrm>
            <a:off x="10718709" y="1579508"/>
            <a:ext cx="458600" cy="192003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900" i="1"/>
              <a:t>LOW N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EBDA7A39-CC82-E5C5-90F8-A9E04E71B760}"/>
              </a:ext>
            </a:extLst>
          </p:cNvPr>
          <p:cNvSpPr/>
          <p:nvPr/>
        </p:nvSpPr>
        <p:spPr bwMode="gray">
          <a:xfrm>
            <a:off x="10603607" y="736640"/>
            <a:ext cx="1253430" cy="43007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dirty="0">
                <a:solidFill>
                  <a:schemeClr val="tx1"/>
                </a:solidFill>
              </a:rPr>
              <a:t>BCN updated 06/08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95248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btfpColumnIndicatorGroup2">
            <a:extLst>
              <a:ext uri="{FF2B5EF4-FFF2-40B4-BE49-F238E27FC236}">
                <a16:creationId xmlns:a16="http://schemas.microsoft.com/office/drawing/2014/main" id="{7DB5C9AC-C7FD-9345-CDA9-22656F16F03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9" name="btfpColumnGapBlocker160029">
              <a:extLst>
                <a:ext uri="{FF2B5EF4-FFF2-40B4-BE49-F238E27FC236}">
                  <a16:creationId xmlns:a16="http://schemas.microsoft.com/office/drawing/2014/main" id="{BD267788-30F0-F201-B2AA-73425D34EFB4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2" name="btfpColumnGapBlocker209094">
              <a:extLst>
                <a:ext uri="{FF2B5EF4-FFF2-40B4-BE49-F238E27FC236}">
                  <a16:creationId xmlns:a16="http://schemas.microsoft.com/office/drawing/2014/main" id="{CEB2B347-AAF0-B1E0-73BA-C260F5BBBFB3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30" name="btfpColumnIndicator773219">
              <a:extLst>
                <a:ext uri="{FF2B5EF4-FFF2-40B4-BE49-F238E27FC236}">
                  <a16:creationId xmlns:a16="http://schemas.microsoft.com/office/drawing/2014/main" id="{516EFF9D-4DC2-5E26-47AD-C85840E98CB0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btfpColumnIndicator406692">
              <a:extLst>
                <a:ext uri="{FF2B5EF4-FFF2-40B4-BE49-F238E27FC236}">
                  <a16:creationId xmlns:a16="http://schemas.microsoft.com/office/drawing/2014/main" id="{C995703E-A982-682F-0382-D1E29D07F02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btfpColumnIndicatorGroup1">
            <a:extLst>
              <a:ext uri="{FF2B5EF4-FFF2-40B4-BE49-F238E27FC236}">
                <a16:creationId xmlns:a16="http://schemas.microsoft.com/office/drawing/2014/main" id="{EAC45C01-EC45-6662-591F-022D1A0C8DF2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3" name="btfpColumnGapBlocker304580">
              <a:extLst>
                <a:ext uri="{FF2B5EF4-FFF2-40B4-BE49-F238E27FC236}">
                  <a16:creationId xmlns:a16="http://schemas.microsoft.com/office/drawing/2014/main" id="{86E01DC7-3B54-04F2-FCB4-4CCACED9CA0C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1" name="btfpColumnGapBlocker687016">
              <a:extLst>
                <a:ext uri="{FF2B5EF4-FFF2-40B4-BE49-F238E27FC236}">
                  <a16:creationId xmlns:a16="http://schemas.microsoft.com/office/drawing/2014/main" id="{9B238E70-2E1B-8620-173A-C176D7EF30FC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9" name="btfpColumnIndicator799630">
              <a:extLst>
                <a:ext uri="{FF2B5EF4-FFF2-40B4-BE49-F238E27FC236}">
                  <a16:creationId xmlns:a16="http://schemas.microsoft.com/office/drawing/2014/main" id="{D770FE2B-45C6-C459-91EA-D42B0405CA7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btfpColumnIndicator140903">
              <a:extLst>
                <a:ext uri="{FF2B5EF4-FFF2-40B4-BE49-F238E27FC236}">
                  <a16:creationId xmlns:a16="http://schemas.microsoft.com/office/drawing/2014/main" id="{95A82243-5296-2CDC-8797-E6AACD48AEAF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Rectangle 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sazhwdFdSLDdbXIo7nzJwjvEhDVkM8leqdxV6LwqHg+JPJWpVIy96POplfuU/5GdryopAdlbOtPjy8eg2xKAU7oEtHN0jtLpjRgp/CqkV6XAgL/1YbbAvxbHya5MH3wxM80UXSWb/9kS43PdQ8nyj2UW1ZjQjo16h17FxbBRRH4o26rZ36jTgcDnxps2J9zJbHH3QahYk5IiBnQrk0FhKRmVMnH/uXDM+J7W9RnKZA0MWcIH6TwKb9wNtp4/79Pdjiz5HmClKJw9RzZpH1VtJwZQO1n7/Qb85UoPT/TcxNU3PoSoAYiS9Otu8wbAGKE49mbCsqlJbMyjhotIquu3Ti/sJ5yJT6VWEqBRZN08U2dmCF4C6BmVdbyUTLsKcBMgHBqb7NXlggoVI9/UpSE49G5Tu3++XXXQS7CafH7Nmek0YyvSH7UltimTwvq7aNJqovmzK2ze/9zvKopfZ6DpbEKUjUFLqkBaGf//a+vAA1qW+fQRnRJOyPfSU0ubgndeII0cMREFN8CYhcpb0ttJFYv+d1+UYoy9Ekhb5hpqD0iVLZSSNqIr9cKKVI+qHgb05n0GwlWuLGvMoW7lAiZ0EdQ5SvfwxOTqd0MFxb1ZDW+uYyA7QQ+AbfU0opcKQ4xIQhQkkPu0cGXzb5ob+YwLIPpprUezlk1nyDEZNx0GETQ5NPCnaYP9ZQ3W1IKssAX8R43YsoRdc7f0SjMYbpcVz61ja0pLeJUfvpHb1C3PSlZJpDyiR9MPOjG97UFA0IJUKRF+4/lnNrbeNLKpsGPtIr/Br1lTwyjpRT7Z+VFMMSPvxlRJxT+O/IvGmsdDf6gvOsJw/abNdfrXhWWuCvbW5q9N77kus6Jifz5+MWJ3IOWcE90xctr5J7/T/QEn5oveLSXmLH0pGcVOzZe3+80aruNEFKzwxPdZZiiVTQ4GIPvpf9eyTWcJs8LOPzsIGvPA959WTJZj28Kowasqcr/RCEUYyowkgpwB0NSzDzvrr6tpu0BgvzN2vb2e4aKYdd5apLHxPRdQvCDUa0TE50GBr1slXjJGW4GRn3WqEtuS3YiZ5KJLlsGhJWAnL1sIB4X88PyELlJtQLBH24cRa57NBMEeLk+NEihLtxJnPZgy9H5q7qHgF93Cx1RyJTsRin2iukiGjKKacnDdYZOsMEl8jJXDtLFbdLl+tGZ4xsV3zdzoH+Irh7e1o1B2uMAm2YXlQY2FFKI1rxrDfQ9N1xfJ6hU1ak8bBTdfS0D7ZJhXM1xqAMYta2Sr1X+xp8uOAa95Sld9YnBuHxsU7jpbAEW9eVRNsO9lP0165QOrnYTXotM+H8ZwlAf/KOeqMavOrM7xKu6h4wU+pFVn2jxJmN7fgQ2RA8j8WA6QzVxX7F2GuBnnpENrDKMuc46vWfJa5VmoYM+tXQ9GNoGaF3hMCwkhK+qQ3JwT4ouUt5YCN+mmCl4tMa2NCNiwGEiXeZPrTEtf1rytFEXkdGjYFngc50I2tkemcTmMc9AEhAg9HrnP/AhhDjVhfMbaelu49t0bfWtBHRNwzZqWH/RP90egYiltRI9wwR8Hc7OyNonym792jPkCdgq+TpTW6G5+H8y/kIQcAdYtQcRDW8t8iuGj+ZG9lOJEKG+2f5kAjAhxsdqga6XRTbnmWpWYqmqErLsOJ2smoGTYqj1CzJSligLaO8a9l4XhQrzYjj6sx1iLySntMRZxkU+aCmLi8LPsYzsY4b5aHD6TIzL8GIdp9UvXppMWnhTRTX1eqed5nbjca/a34fnkCjMUb6uHa9evXKDGXH8we41QMqh0I1pCrTyRSvsRuekGF1fPqyp9E9335yUyxXcq56bViJDAlV7RU/uExQ/5QZh+dZ2ZF5MmjaQjCxNhw8NN6gk2lASHPjwB9UYOGaLhugxHytLXMNz13xWzH7RhgPoiGHolWMK53eu95DjR1D5t71l5ezkkii1fbclIe/xZcMeG0STXgNULuqNqIxBGfxbWU75qiX/rvQ8lBUsgLnAvYk7NezfekbQlAYrhWnols2o6j1OZoP/zw+Blt5TyXxszQlbkp3NjJmJj8WKcyT1HziTH9PP22rfFS/e9BbwZiltBtpr00s3A57AL85WOR37qo4Oohm2DCZpFFuY7dM/1FVVRGr1EX3BB9+DVgYEDq6BmxMpoHV/F8I7uU+7Lsr6R+HPq9vTsHs+hGC0obJSA/d0Onsh8VagqyoKc9SeBwRqHntg/lbHgNPRxgrjb6JpErezvbXplJBycuPQn/7ztieSCM233Rx/V0nsv2V/MHoJnRJOdSrlySBJsTtSUGB48eDIQPpyYsko1QO5JbY45QdqGcfkv+Cu0iTN1wASdBEc9MSmAGLeCBfOlSBjKAJbmcvcLMg6kwBwjFp+dciP/LNTbFdXKAk2QG0BFd/HS8GBtW23p1XQQf64B2y/NwzrV10COMu9RuG0HTvFt89GpP23aWVH6djiMWfWmAluCOhh0URZhrjlep9DI2Jda84Y9KpesyW9Ec46dxIO2hv/NlbZ5tNvHz6HAytffxBet/JQ8K1o14j9M7sAiHKwgbIFiiFheOxgdK3aoo4WAe2EIh0NsrDQrGK45pD1QKI4joqilu2thksi/7FL1dtkiFsHqfM/KcHnji71UQlo6km7ekwlNgCyQ6qvjkEL1HIkbHOtN2vUemanxO8wuX9FJckXvNeO/bJgbx5dDw4Ldv/0dF3fTBmdjLC/4H2D7L5msr9xQNa2lFCZlucmu7CqKwJUcDMJbRo1owqaRAqmGOfHP3NIUNFV92DLm0WdT82HVM48QPfS7VhNcIOf3wDdgFLQbibySf+hSykG9YNxiXP2KXwn3eKWjiFoHNVSBsW7i4jAX71mg/m9kv6AY8gmJiPQ9Npu/2DpzCqHPXNu9nGgFaOjONY6mLF0gXRn1jL+AnaMhjd31ceWJp0T1N9Q+WOoZF/0pEabQJzvZx/pUMxD5h7QQ8vcb2QdO5xsoUm8CMJ3QBDVyucibxd3DvRIYIPZr1znWjyfRLaZHjFWeaGMPOSEWpJCFvw7oicRfM/H0G31P/S+YIvn3MrgWOLKwZ+GgajSJmvfYX8lJuILcbvukdadwgcqCViZLvf+lu39QyX2Wq/5SRrTY+RVayHBkWnUNC/T1R8Un8FwbDi2Ttqszwmu0DoR7UOcEpixNYyPCIX/JpwkXfrC0i4bcpumD5FPXmfMXNdvvpEPBtW1fYUVivQURXIOTwHaaFNGNGiWsR80JbELQT/AOrNNSOMSxCSmGY0u21Hij9RuAvXc2Fw0sB0dnbkAnJPic9CIulY+BXE3spBcd7hCwMqEoERyfqrQQmLeJd1kYiAIeMefRAsPyRLLxkBDTsWur6XjYVyxYlfDuSuPnPIw2COu4qnR8CYgm5sPrw+CYfTQW8vLqbwQ4apyZnqmOrs116mcSWXjCFaPa3D3k0K6t01slAlytOSvJpiet4SDwcedh8P2fY4THbls/1ArRU27r4za9RCZ4rsQ7lNkgwzmlRlz7rPzY8L2ErxdpQGMh956SBK1tNfD0TIg9IHi0Wf72ruuitbnVa6aC1zGrLlbYGlpIKP42h0z/PwPtFA4eVDJeSvdR8pKJ4geiEOSqVk0/XIyrINJT0D4RKNMQEHW9Tveoec2utzpKKEuQYHKTjwMOyO+Pl260ZHsh7rOr2yAjb4y+sou5AQxT5LiKbtHX+W5CyVUTn6fcqFKdHBJ53VY/rnlJ/osH9unTUfcL7QYU95tUJZ/osCO9ITkfxVt/6z+xWhm6jVFCjtxDxZepEK1Z293X4jeLEFdB31yn/BFMwZFlfyq870dxAcA7Duj/2YGZQ7nIOFAFtPFjgo3Vk8nh5vQEigU1sqfpfPnKKnJp9J1AovD0XNr53jgiRXFjoJzW+md7Dr3dDZJdVwkyFTOmUb0lRs47DzqEmUO/LkQWX0s/NEsGw3jElmEZm2q0YWuMSQ0mQct/RgyBWRIGDIHwCdv09ThW/9CBDtE3s311tDiCRLaI9HuWtTEAncJ2rH9xwYIHAFGZkOojpiTHA9IMDkjuatIIDiHsICb1TIV2YKGBXy1uIRpu+sJgI/MIbdXKgwJzJlR7taVRskKeetNaf1ZhFowvxW4h34werB8QSb9qHWZOFdrnxx0XultlJDAE3fKqLhPHLYC5lQbIDw53H7aABFYIz3h0K5gDLTmGzXR+5C1VT9PHDDBsUqnXl9ei6HWqNEIFL/xeS0I1RkfBg/4SJphNKexT6JpWRZbVwTRqDFGhd2i0LXBaPSlRijJsfaQyrLy15Pvw4nRwdy6dHBlAcH6oDh3V6SEIFQ/uu3RcCxb2kWnKtx/sHQEfcG2fRZ/rHBqTZIpp2xe6+7/jXqfLnDFEoE9qxYhsIwxzlKPa5DuhijL9sze08gmQDyRDo2DhGLli3P8OQHPMil464aakboq4LkQsu3JXK4Z361Q7jD4hpzI078Z0jcl6NgTZUud3kOFNPIWwT78crKoiTmtnJBorm7tcEnu0LqSGHDicI5LnZ0RYKgvrX02nIz1t0/5/tu/BF9T23Jx13QI9GgmA7jY+ie5sqFiqb6WI8VrxPjcxDnnX7Lw7aPGSplTh8NLU0/iXoqc83VWT+CLtGcV4CWjmyMLrWEPLixx+06ZErEmI3t/siy2RbBADnTF9NdCHhZPuoSkLpopUqOb1s0cF7KrVP44b18lEBJKQ8+gwTQwy8cfLTf5i5eWq1HI7A/HIK/hAigcBdjj1azluxhYMfATpZC21sJ4Ub4UIqZDxLnqU94g5ki5JZEI2NkineVzIKP+hNQalgfBwvfk/oJujZQ4vp21AS350Q2TTok5wrQtAUQWYq8soS17SWkyu0oosgn+l+dum+PvIqWZOqc+k+hSe/bGoGTidNH7qFc7L3rX6dUv8QTm30M53OOps28A5g3Mjg4j9cuZw5zEJKXEFVSZxzr7+jtLOmAfOogDLHx8zekvn8oA+tELDkZbbKkF9c2+rJbN+u7e9ZtLEjTtsasaUjTn/JgfhjOiDvk7yDQ4cvAQ4/VDfLcLcFf7NWRmZL2DHE4KrffT3aaETxU5gcobERlkZ7hkUo+Z81/p2TIVRB3dbsNObmrB/uy2HvE16ScaArmWKlm1xePID+q+jausucYyg0MGKQDyFHWufqOrMEh/DJRl32NSHE8GCMu/r9o2ETmgmEILD+dMkZd7yqgUa0Xp/zBfD+tHKWROEUn4jLZMz+0aTVVQ6I6rIjYm9dPnqbnofF2q53YtDeHjWLgYY8Y1ePmroGLBP+GFiwKFKMDMc4H8yZe7snOIYgr1EvbCnc38QBN2f7BEbwkjTr66W6OcU5EinFGyaFZJ8BehZK0T7fLVfAre4zZRqGoHz+Vqrt1vr/wlHJKcN7TOuJzFwbNnWZu8yvSe8jU+1nEwiCqSNglIS5RZdkVMy9AdPZBvcixTdrPLCuNPsj6+VTp3zN34e9lMGht465CbCCQM0eARPZOLAI480jHahVM07SY3L3zCFHHXmjl9gwSBW1IYG3272xGsIYmSJR+fQRklBO49XsDx6MwrdsTN4iC3ewY2wCz9J2vWNu5tWQU9M0YxDaEUPOUY/oSwCAUdTbN8x4E7eBCSHEKlo9HGjPBqridvATHxv4l45RIDBJv/c8MeFHEG9wlAlwY8Tt8rX/gR1DClK0xkUuR43Nq0/EAelvAIaeou5A/3/hO2CjWEu5z4ROrYVtJpqXA0XvLnilPp7mDbmA4Az7vGePOsLN+WGIrWknxUh1xPI3oRleSK18IwAF2X0H/TLRa/msZxwbC/kMRJmdqBdEkusGMYtd1yVC+id0FW5/fN6cF2kDtJFu1c1HAtZNVpac20LoUvkPf3cQ6eOzm7cTHvM3ug9gYIrsk8DnG/lYoxFGMV1LFatNDugWoA3TTZyRHKeU4UZsUr6V1Jckng+8+XyTcaVS0xYjrQSOb12ozJ7+ofzfh8EaXFQG13Zvphg6oFzin290e4j5b4p5I4/lXbw/y1xfyoOSp1/FLo7IyhuDpvSTm2SniTxsJVGvwQqvk3j67HA8pjD9r5RVsMTbZ1Tm+GFcE/Kf3lAnhhj+c5znsFOfyrcFlLLexlWVuc2EObVMjA4qEoS7ehU1o1ck4PX0JRdgkgw5P/L8kuZGDHtT/WfwDuJqPtR255Z/O/0ZiNwzqSpIvrDL9Rm62u1q+PYwv0pi1NXg7LbOWrLBRNSQPLz77qEZoAcBzGNd53bTodz2uAhspRdb0Lenx8akzNVIcyfGb7UlZ4j7ikp6QggS4Kw+THV+aAmxoPuZJdSrjO3Bz8LsgLQ2Zct17Rwz6+47P0yrhQHtBsBNJxiuwT8Ed6Okk5P3CTdAWHz13UgZZZ7z2t7ppOp9ZczpLfjhKscUM4D2i1eElWchj35DkCDuWwA2H5aitoXFGVnjizILBiwl7pz51C09cN0CHXezqCrvzTQpnW0MyyMU3sI4qEV3htzIqTeaY3qaYHDJmzvl6ODoci4lu5RHMEYouDWTTD3Yfv+IKW9aMwzaNAAcVl9ee/wWW3Jn/8t3HtlU9eHahJhtUmI277ZUyAxLLYIZI+NWT2UjzFm95d4a0mRcGjcjm+h//YScjapGmCdwmJruty0N8T1XHkpoooDGfrAKlJeL1MxkmUqkEBkQMiK9ZG6EmQplgG2tpfDV/AFIqdu8jLYaPftYZacrp5yEiY9tzHb/cU2hiv8fsEuZ4LtZD8qVfBrgqixydBw97XfMqYc2H2TQOryarOH3C1sC9kTv0kxnwdhAVTnJL40VW92vja17gkMjupIe8OQxC4dZbmNVfDlQaGYh4/6GsH3BfuaignuDI01wjrZi19p3SyL+ze3h3mXtMSqmB8aXhDKn+mOcB0Hk8W1XRJNVSZwp0ciVc2wE0caJl7IZzHds6C+v2ueREfce8otg2Tjub3/Au0GlsSdmuFwoPd9AF9YEGeBm6ujvPxQToGvcDDwWivE4X+0kttQRDG5JwvQbott0dxVsMbDrSaUQMk5YPKaekZ+4ZudARtJZY0p8m7qbLeYdbqX1yYIQRYVGhL7OAvMyK42NIH2tJWtunaPTKmkV7oGIpXKLXfOtHyt81vM0CcHIXqHnKx9OGSYXohdv+2NV/Q2NSGvmbO6hF+PE0Dlf9D0J6aZyq7aTBbOe+XjEaWeoRcDZehF0+lNtwAb65vS3LKXAeUAsDq5RlUkC2nyEWlFuNi6g1qElvb3lVbpBJ3VkSjBoqjqSncFm9VEHkd6BeIhTVSPXrwAhhPJ6SQWjTyWtrnku3bmTtFQ0n2RosLn6v7WhAH2/gDZ1/5q2dHuL4afXJQcsswkkSg4uM8Heu/fLQvHibPlUgmFG5TNKEwMTbj1NeskL3hqtqHxZ0YYvtWfqnkNATvljdy3kVLl1Ti/H8yt5S8InuUkadTcyB1lNJZcKXb21XFjsn9Z4oy3pTZWFRBqZNMl9OEeF9Nr1cAP8XLz8FuHYLSk6LHRhQjfyMTEPM1cpB1spVD0kCt30pqujw2aLBNnyLRTaQ2oN41Os2w8zlf8WSvsao0f6QGYeT9bmbAluGiR6xRhu1y2rf7uCTNmyJxzfnCoMGmbZ8NranD9tPdiobhNX9ht4IPD/Kv7sOj4iqFReACZF9Q0zYvK1GbJE0M1elBDvuxBn2BL0HTf/0sesjhby2FXwkX3NjAuxc4FsjFg1aQhqcnul5RL2mmmSBG0y/y8gL4XOoHmMjdMfJDdqEhC23k9fA36XvkeG7T6OzUQZqYLttZ3F4D0/3LWUmxmsGtJYuD/3LGiTZZL3NqDfi/g3A2LH+kVebIS0OB5+U6NCbCzd34yjDrvpjBon1qqDiGBGonlfumZI4cGwCvyZeg62OvlXUyMWpa3F4/6Yhx6Sg3Iey1NOWhvl5Aj5hTcBy9pcb8azPV8Cppy4pqZ9HEn9KPARYFLiqilXscgH1o2ui+t785OmUAYna+JjwEnAupn4q0FRbGy3bBev3JjaLygJ5b6o367DaM/eNlFkYGbsv3/jjPzGz0GZdXFnGRhiwy6IhKQj1pbl1uirusMCo5cJ0BQa4OXp41di7SfIoFF+09uqycW5XdG0cFTvfoEXm2trwgLJKFAyYMC4/8BUUclD0hzWaRwZU/dx1iwKSCIKVIXkgaOqBS+itbc6tNHGMd3MS4cZDYggLQye8tE8Gf8wBoMm2dCcBNosU5TlXemsOZvdVbdABIvYtsi1w55oVPwOU5qKle4ObTHJO5nw4M17WzH9kfMwXdnjP15rDncZoIMje4SrSLpcujMywYywuwvZokVJSRes1X0Xbx3rAOtu80AuBGv1jFgM2CD+Y1G+zYIyMP6jUQvcwpMWWd0AOIS1eFUPDElqUalZG9OoeUz+zdsB89Ro1kE4jUhjUj6PCCGgzhrHh25nc6SKRNETg4nEhv4VSEgZmY+I4XZ0QGz7tjKInB3/88CSzXgGmqVckz+Xy1CFkR9g+XiF/N+7NviM4bw1O/ahZEDEV7Cn4lDpfPBAgI1NvUMnFJaekmjDscZaA1btmhQ7UNMSobrgLN3wwBKSnW/xRiywwdl/qY+l1plpXjyFq8IMk09mzska/Rzh0ibbSoD9PDBxD50pO0KzdQvzg6J3SF75vC9lufAPc0KXIBJaZd0IehUdolvOhsfTxpyAUP1ldGaeV9VGaFgWun7plB+it+pWv8UoO7Wzz8zp4YV48XPpW/MUFm9Bhtwy8u/GGB29GNzAiSYJZZoMvEAP8peK3qNUF+3s5oIXiGTuSksBQMfk6I/yivRX6oH+LvZw4h9SrZWmVYwtW0oEuybLR0R0FhCrlDFI9Jo2ker5/cfAsH6obSa2pJ/F0nosNDz936wBjoPpOnKZxOmA59vTyoQ99CAbXVTFB9mSu+ZHcyfi/A7nMXfJ9bDXE3+3j79/YruQa18P5XRy1Y6Sa6cYGEkR0mL5616j7quC4K8fnQXoiCWVKIS65OX0S+iT3Xz5lDD14ZNfg68N2ozKYKvpBlwsg8k3+AW50NGoSKwLc5cTfoJNxkXYFps0DCk5sVqfERUEzRhtP9aSV8KPxbV946xn8aZaLuht6Cx70ZOUY00wmdc5QjOMPJwz5i2mR4PKNZQRNXIAwdmgSCKp+y6toX23C3Fans3MGgaBcSwsa9d76aZifDCEtErgBtS8nSmwWh7Pt61MEgpbkj3zN8JaGx1rEAjhp8wqnlgh+YaYmagNojnWcK2+Tht64miFdxUJs0ruP4zfexTfiNJO3Vpk7YB370m1a7pUJf8UZa5Dex4BXZP/4lQAonQjNjHd9XmTTmsLbonFV2XOXrVO+Bu9n9IKV4vm4D90b6q1wcirKx7BEgzReIab3PRdj9fnX5JvNGLL9JIdU2VbGh/jrQ044oSKJr2PE9zClF6TNKS64gZWXYr/hFhd1+JDpQdt2pn8nWXnoT+3DW3F2aXv4XV36tCzXMO5jeGD9g8p4gmmThcUeRRVVq5QMjH0mTRuNzsjxCgVwbI3RjAK+c1RrLxAkqv7cFKDWVYCKNEHIw67o18phfSNVHgG2kL6lOQLw/je5WB0CUpW68/gXHiHSOhcQKdrQZWSRK82LOeBLsZJppH+nhCeT8+Ba8/lY2cdse6yS81ieDF0Cs909vJQbr+qCMDsZY1AueGZ41TDWuANV+YOr0ysRBm/rhrBki37I5ArxK4QoBdXu8UtZK/jE3rhkxmRdDEuuZ5ONRPHvfCXFTklUaw1uWjf/bSyKS24HtAwiPvctn+BJz6v5vd6oVvz1MEmqo4HwCEeT3EAOwa6sKxcr6xVKXB9hkfl4HcfsqMsWSL4fWGQrrX/BTrN3iQI0H9TX5e7U2z9hvO0MhgYr3BbTYyABooo5U8Z+Ty8S8rPsT3CCA9hCwbmN6b2SWRUS+TNjPnTJoyf3283uGwipg0C8CA/KgjnNVi5xppy+KGDXxgg7ctFzZh0HdpG+MU7fdP+lbq87HHONZAyYIrCTbwEu9YODXR64VhDV5zPTagltWyb1ChhiEz03DEeA6UZ3F6tP1I+0hxmhbBvP6JPHUyl3MNa9DRrMX5u/Go3QmVS9geWw+tju7xYPCGlwX3AN3GtMRSxnvkh03yWrMvhDUrAPruBYR9Use8zZjjKRytWf6VPI7gJBEN3RNzReYFg9HKGyQUrHhedcaODddt+0OvRT5GRKlCV95LlLGQmmYauKdc0KaeuMSIYzZlz9197EDTSXmSaRiLNDz84UCrrh2Agkb1nCWlhX38J5Tul4OBhL+D2Q8s0qD8Me3zhj29lVTrY8qhK9A4Zi3SfAknrBNznzMSSj8UPT9JLaFVkR46nuhIHBGrqIJyQ4yq5mmSItd+8y2oY7+AwrEXx6vZ11uj02DLjms3MuuD64eeQPGuRbwvyGT6wytL7+wwVpE9pKpUntq/Fsdvx8VW3zEk3hC91ZDXzjwq7GquegkxWvyAy8Wgl/CCCxSqKBTIIwXv0UfV0l2NCiJvAFM34Io+pQjA23TqfflnLMkrvVFT5uB7ncfW4ltKVXkko7nKzWzyd4k4qwgI6f6P2DpO61sl7TrAInxMeBOKt4I6gUFmXMqcJVgtcJ9B4/ZpFH3wbWsnYBC8IsEAtkO14UNn7k/Fuf+43j6MVpRtdHXEeDoDVAxbdRSm34NOgprYb63DKPONy+Xs7vw+N6GWf25ylZ9L6zGXEX2WgP0xPZimzNxhpXzoQXzoNIsGVSSJeLGhuKqwPcMFKtyAgE09W+iqL3e77y+eoy4fNlbtflICwWbikcfsVzatEruSZ3t23KKJyp/FI9hSMayNRuq5vtsenwa5pafK6dQ1zGRIroIfXnQL6MCg+oVViRu8suIv3VgKGw6i5RfrNNutdqAl8ZWya4jU+89hCr8auZi8j4OfxKe0HNgTbsRrHjNKy4CA8c4JP1x6NtuDYlXCLuOenCxAS+sT9uNYSH5Z2Ll5LKy6JJP+Z3vqI0CMtPB5B8M8RwsrseEIPUjs1RaW30tP2DktIdRD/mMahEzmmX2QClCpOAayqLidgQmxXM3Sfz3arNu9V/j4qO8veydPujpJaDa31Dxsq09P8NlFV+QskAEzFs43wurzJYz81QHbO66dFhXOpnyQyKz8tRChZEGeIy4f6ayCxrpg8KvpsipJJ8oHgntbQ5GQ5KCMzOO4swQBunUiD0tNQk6mQaXH/X5EudJCNB3by/fgTA7lk8ZJTkKwaxX+MKag+HwRvEulTio3P6lMzR3k7oD773Wr9pLRS/dYE41zEP4fhjFO3Chvq1yHtY9+iMBgP3WDZI90ewKesSdh/eqrrzETK3ATIaf3Hm4TjHq2exmHazxhId3lr8t2jFVij1qIZUbBfK1lVH6zF7OLL1BIsKAag4EmJn6y1GC4h4hoY00A1KahwQgQLCUTrIo+gHC2PkF0TVooqmuj8QUQ2ptKXdkwk5Iy8gy7OoMmGHDk+mb2WxetQZ9Aj/YlyaoMD7PsZY85ttyLHPQYQzbbYv5BOcFJzSqC/1hXXApK9D6MlJlf07TWVJa/lWRpq9mgIEMFb5aWkpxRz7gU7B+fm5SiKsbTFUYea76ymDc4ITc22OxLzC8H0elTWnPNx1+vJocSTHTwYpvWvSbtce87B4ipBCoqmiGrKV5nE61xjS1+lBXp0CKzKzoRVcQZbopICO3lPAhGccocjK+d/the/saB3McZoT2n4p1xPRLIM5cWM02Ssf8xiaQ5n34uCnM9q/PGuh9g0yzrf9g5SeNgiUEOZoKsZB5LH2A8hfLbGmkz7/zVFPyOB2oNueniYvoDBOEiEm0engMAzXM9LZKf0TuJj8WQTX69qRgrykaYC0uD+8TCbLpbgh14xCridWm2BbdgIc3QBahTWkNafi0hfORkzG7LbilOOMgIuAJtysW5cN6mMg2UjZ+b+oKQ3Kn/8j5NdOnrdRxpOcty0dhPlY6xk4FcqtWQmB5p3aZ2HBwAcAdy8zr7EYMH0X810xEOSKwXqd0tJkKG52lNdWO2QGD/eReUxgKjfKBxplcctGTiGSBos+lXeGUOIeWhUzCR3sdcSIxfIPiebli6PqWI4dGCux1NDgVvUX8aPaJ9kb7PVL8KDPk3BGemJhaJBuaI32Isins1jr85/pNPqjf2IBnmmaJvpuUBy67WnrpxUOiGjWMfNbkcTGIgKB1WdjdOG7Xa+BSqtGSVvJRmVJzICposiCP6BVMlSjF2iu4uECIW+pPLJFmEFrV9AP+/FjQ7tH7HGHacCGsJ+SM45pgTQdpF5ocskiveUTIIiiIZULrUM2QejTasVHR9MqvNbXkd64lcU0FF/hz8ZwCFsAVO5EYNIlj4z2zlMS+Q+6g1BKiax/NUwC7plFLP15Rh0pl2aaDATVBJ8UTyqDK9DtGAWfL53SYbTiNWOjNIvJnMJO/jmQGIyz38rJwcQ4PCo9x7mDgvovv4rYYum+C7h8uDBweZA3zKBfS3Z9BO/1wC7ojlOWCwZOd9h2BCC6eAqclX+o1ImbFCYfPjPj8ORdGMhJ71dITTiRXw5QulKunwxAcXMYaJoqkkAj7mrI+kjapV++K1TVBuhpvr6p0y5KPWLCYQ1+PexxtC4Tay6Gggc2z9hyIrk+8gV9ZtOIMsm5Fs77Fh6MuzyYta72IOJ2wzdgkqd+JKC5xtnNXKpsx1b3nUbcdVxM2VUFXAEHIrleSXhGVqKJrN0JBtyOs3RzHd1nqaKmzTA66UAfxSjBvzTPWdaOkKnHTLpAXC2KwUo47UwaErjfZEdoDVkfjlJK/2CMjyL4phvZRb/94eFg1wdjmMIz0dxPzN25JrwRQqXlsGwv59p88Mg3TeEAOfBReSZ/kigVlLjgr6iU3PEMBuwE5iVqqj/WNksXFhgGbuyrCoJ87udo76E7cm4Xk6nZBcwidwhQ65jAXqgP1qA/AG+QpjacStWfqA+xpWhU/PVwbYXUZPmzmfkD+6nYiIgCEgMB4FSaYX0jN4TDuN5SXx+S1n+OH6J6FZTHPLIEutn86bVIQTjsWaBNZYi9nM0jfrfOzKRQp+PP7+iXKhczcnCvzYeNl/GqK6c4yrcYXhpTcN/B2GQWzsGn8ZN1TMl15eHMmTSaX+YGVooGvrSEoRmNDxHYqa83dVb4XvfIsfG9VxAR9qenbh1AGXZtKnLlznfwgED/z5CSgsqbC8ZqikWJHw0qrlzzjQL/Bvlx+ygsiM5VXl5Gvoshgz8VW9+/YsTbaNIZdRoGBJqbitlyyEw/U6WUXKaIAGSp3EgQofpbjzVQHNKh8Er8L3bwOkaUgQIz7nKjcD2gaO7wliWnxXEOxmm+o6ZFWLZzD03frSp6N2IMP0tJHkOz+oIINbZEAQbdr7cT3nmn3s9Q9AakzvV+c2xPIdu9WkUxTg9gL+qNx42kQHxHxgWEHiYHKL328XgffqLftohAHtNELbxsyGpbe5dybVJ7m9MzAydaBLGjuXQ++Wy3ngugTQJD8pGL2C67O5wKMIdD1KBUFoeOK0mG/U+bk2emUtPJQkGFhiOXOQycoDI9NF8at2pEVNeVGa3S0HU8DnbT0imBYZ3m8qP5SExSESKHFQ5gOq/6XksINCIdml3Y174A6gAWGy9LrHqhPja/m9iwJtDuOaBpJPPhAS/xF2jeJhRy9Z9ATzDm6D1eeTsSnyKCBEFxbkNAif4Y/3RwahZf9p/G56hbKlaHYbopeFGs1h0DLpdecm4PySxY0Y4mhIlZjPD52SvJGyEcqshnKFZ3XFRos0CulXvqtAZIa760/BGq80bReqLvPKl0NnhMbMMt7v0ULYGV1EdpFzMCamDY8mvg5DjZ+FajGw++laAojxrnHhUxnl6dgtPin5gzYxTv0vNLGrT3sUuORFFgqdzA+OIShmCGJB7WYOxECN9hQDvddN8P2qIVmv7FWsvCTWE59Pj8Cqvm+w0F7vH+fJqhdgUfntlfH1IOrm7nvKVLG82VVrH0GK8Fpi+18Wxbasm958bZyrcgJyHOPoQPFm60fo30Rvl81/6BtdyxAFUCps14+Yi9kAXDRvYZFrfC8qwVr0Woa4uKvNkemaswdOOuxfLNUiDKNHTzpOoENRMpzf7fFoQ5aHxOqtX01wcxB0f964punb946GfwwwFWuasZ9kA7SwORMhn+H+J+t6RMRJV74vUdHU6hyMaI1lLSV3BTUp4Nt8uotZtHf9gJVgmBrksbTVcrQ56MXkdVmJbtaOmcWyFOOgsmKouEF5nGWaWJ8LhJeASvtZrEmBildtpm58mg6V8KtFSdpIqs9pM5rIDSRpfsqx5daj5Cgz1suNckSUykVFztzSD3CKfXPCZ69uiyF3sXbB0rxV9V3kSfgoRtxlYBF2g4zm0eisQ8jPUB7wn9n3v5K4Wf1oSpA5fApTNmPo11NDAe6/Zfz2Hxx/WtsGgz2dR8FUSDmmtul05Mj6iz3dRy2htYdTS/0+N+Inc2NwCndAnb5RNXrFacCcx36VeReexXICoM4oD/HqEiIXy7yKHaXIIHfDRBj3qqzsTMwKW9pOKmAhYy4+5AnLM77u1d1JaZT7fRculnnNpHlR8XoM3PzVWceG7j3VDCzmu5+tH3gPSwZBj4++OhHqTWFStImEc4tVshmtGT/Essym4DPy4ps7z1OGmRTWSzEgBkn+n9Iutsw10IKUHlktRmOZFihBT0Stclt6tq0jhQJgmBQ0AvOCkcDVavNNZU4bn/MYQ43ogFihmw8OnawcBq+p7RKDtDDPrkmID1QLBN95QdfAyfQjxzKsByXTlEs8lXvwFY3lgirw/CVr6vnJ4pMGEfwO4ASqiAQ9UP81XAAtZsWpfdLObkydKHYujoCNKS0NWwraDOpBVu6kbiTxcLVTE6X1BeaiQNJXJuXWCoKUVtM+bTFEwTIexnMr19OuWo0gWidVRvgxuT1UUtw5f72alL3CPNfD3uYNY8+LnScumobPJM4AQqjcRpgT91Vbvvd5IwqyYjfERiEO6u0ZJXitApOJfgBuk7MDqpu8fslYHiToo316A153S4EVqBFD9wlEm80oqUUxdtt479PjxrQGgJJtmBrTyk25DpHXC1sHiF1V0M5g1qEzbTfqamXJb4b2YR22pf5gRZXikbwXFvCws2H1STw+Hauk9hgydqSJpdYhwar0v4ZItxhq6TbElH2J5LNBsjzG7ekgEBA7L0Px8AcgHOuytUuOdJA5W4Sa5HWzqn1LHCD9WFxc/nKEemaK+iZMVoontSTnVcY5Qi9VHCxGDEG1KchHu9KQoeb99mM3YUCxKy4lGhD1Pzvghyl0lOyI5BAVKYd1FL+1LwR4etheqAAoj1iOPNz5MjS//w+L6TF3OWoo1xSpx3we/bsnroLKJLd4ea0gBpmuTZhGenQu3IQiXZcLX15jgsWPcH+gOTeaW8RYL7e3ky+kUFrf4WajNf3Vi/KcJj/bmtFIoQ69TauUBJ6RhClBM7A921Ok465KhvZfEl40NWnCNzGH12wevovAiEzrt9Dxh75yuCLdSXzHz7BugsWvIUuOY837uJoAYhmh1JO3NXdVaX97HeJS9WgJsWCf6fd4STPQ26HHJRLsyjR5/9hWtkYWtSfztVd+yOXOVbKhKhYYkTzc70Sx2TYKhXjzQEyVTEnmx5s/jKZUpFiKg7PFlLO17mQz1ap6OTrm88wt0z4Jea90Ts+U0BpuXHy0Q0R+q8ELCVg7WHdF05bqJPME2hsUOecq2p6QT7HUUECrjgjApISufkSNDtiOdw0QXg2RnIkNPVGBD58FxxfR4+zX8mWqOGru+NW1FSU7TiAh8BTFGALdtNUF45pufbqQSsgNP94PqrU4aUIKKfZsLwho3SLj9LbIvovca4MVWANluliEi9ma/w8E4IvYW6k4M71l7oR4FK+ELERfGX7WEQboaaYTP3y4BcvvRZP+DIT0/zDaLPLkTYgGrOpagDRx+n+NJ47EI3EYIwVD8bAhUv2Ppe8oFAolRs5Z6n2e38/F0n1Jhm5wUyoP2F6XX2zlieablGm47UdJlrFV6HxwiMoYMcN5CWIQxi0UKT4asfdMVROi/AmuoRHMYO75OpwglIaWIb9nQh4ZTtiVdv0I1MOSViZdnz+zcl6L/gjLi0slI0aNHPVwQ1iWJB0UIuto+ctD/v5MqZY8vZdH/xboQ+EQ7vPKIUa7nmHJ9pdiO4TLqUFDA/vPuD9nALITIhNXzAJQ65fcGx0rHXgf7/95doMW5VncUgCrfqH6cu8AtRz2OpEwXwDRrSeyHXzHNCUogsyz2UBKraQGUerHR3rftW9qTxIcsD0lfwWp03X4wDyNmWna0q+LQprOgc5GUR5P7b5mrvdvLD48+0NIuOLjUyoVKHQnwLxRqp6TJuBmOguoMWqDWfrySykmpYO0hX6GaCdeoXOHjP3G96xGxBLNNP3MAUhwBrVYXIlyBEa/3MPzAInqT/taWrGtMaPSn6JhIumEAq2DqbVBrhpwK3MGbt1H8cNUMCR+tJgAebmPYStdGEQ/8KmdJvMQRex0DcsbBVB4OHiHrNmYe0eIZ38qlypcnabV8XRQp69kFtz2EmFuwEm5TD3TKwS0iKr6zb/Ny05fEXpRHBrKjlppNL74NV5ZSB094A17iBumE4krkFri09jDTcb7WF+Gmu/Y7JtweVYrBAosx6j5/GclHVOnWLVCj8magIvajJQcNp7Pk3zw5VEKrofeoLW17cd0xSCeuJDFr/4TvzfyXQujcAoLkSTkX/zsKtOKKX29O2Ugk/Ns3+TE854pdWRurja7vZNVXnt/sjLIhoD5emwlA3X6+7VCoK8JCSs9+DkOve5tr2PHbPQWoAH7+cAqgOtnvxE74gsTS1AqIsNVByJNgNxgxHIMu2sS1m0fmep1clbfQaSN4yREKjHWkPvRwcKyjeE5Lp0ntiZeOY7+Q9tne1CxHEMLpzL4B+YqIddzIFmJWUg6KZwO6t9//HiMEqMK6jUJhqQ8KLEBTrisFcoW8ZnjLIvzAJI8cm7rczTLGaTTrY3qIa3fTwW0PH19X2hfkfp5qnIfpecno8KplIjmEd9wIEoWXUkVPVTJA2safmkF+Mn7C3k2oHOZzCpL9t1fT/HqoLsxfZXeDoMNXKOnYEZT90VIurBS340/51nozefVWozByCUyacM7JWneTU+JSUHpkD98YiTokDdkyMDKK2EwEa61zlHtw649XNyiCJwnUUgOzK/oaHcI81vCTYNnPpByDTGUpPLxfFF2NGE2vrPNf8dLWXajzM8n/ADRuqDzjLOcx3kp4qeVYnfEKGU0+4iQNeNrsSFVt4AtgfhBTxoiKn0r7b0WB/ZQTjI5rXJv5eaD0/hxnq3NFcbzPV4Eu5dNy/pii42LV80xH1vWRIXsmdgPyR+pH3AFcz1mS5kFbMWMnYWwiWbzn90etBicDSRLwi3OfK471BkvWwACSQGcFlZHTQuLBR+IefukMxjXDgg4hr+lGVAk+Y5nWMb5diR+Z7ffVEP8o+v0YJzXKWEySmEb/wvz/0h/qyAyVrMGAZUnZpPF7mTn5aLT2mF+p74CN3T0eExCcLagQV3WY/NnQHPrdTtaboZTBTJXme9cxUePDeGLYbExkos5RcxLVtdor38Bwp+0HxgB4P/RD+6KRWrMEUBjXMxor++c2P4yn6mk12Uszn1YUDXBpLeBYOnqe0CotRPA/k02mgpuVWwSX9EPW4Y/sEW3tx2NA45Wf2hKVo9UwP/cXr4TbZVM0a55DcTVLucQiWZ5O13nhfSOkA0CUEYqNbB8i/1RWjr5AVg6d2JAMD8AbGd5HdvSi0AdgW+W3YcqH+NxmvNawdDN07wETwpTavQBVHFmNWTS+Hurf9iDyOiGug5IKruyt0mTS+YIQ1k90xo0+IYet4ftLp8N7SbmySW4Cq1ACfnqXCDuvd/kbYc5BS6S/v2n1T57KorBZOMEZ6ORCEBbNk5DCjG1rouC9BCNKGMhxC9Lg55ljANHt/ppOuzFpf2wRqa8IGDNCWE3CORdFm7GRAEp5X6gDmlRV9EsEd/aLpgSMnc1jVkxJabIxNko+bMf+K+RJIPIZxyXZ53LVMk12Bxy8aMGHLir221MQuEwfsFx+0pI32MCFedyKQLD+JCk6IBGXpeqAOe1SyMNX8YE+8V6Q9l+aDd3PKMYWPSQvaPSGE+4VwefqiAcI2atbgVUk21Pk5xL1HBIWyn9Ne5ba5ko+GYJg2B5/N3NjtxvOa45A/EGeKwNE6h9XRlQlcY65w5xsoDVyeOfiqZUWaRD64YEN6EIvw7sq3O1lpFZeZmcbgw7YuowCnP63wdRkbSOAQ6CxE0RtR6Is6sVP4VjYqMbYH1NcF9DeOupWTTOTbMbxcgeDrQA7guXFhSym9AVR1jYrFfEWmlKtY9c+Jb6PiES8YqLi/LBg8zi72bPbi1OY+ZZT3KTRYZyuovFDMTZm3pRDrtA+ZngdxIGRpXQto1fVUtlDthpmkpbrlVYe7rEdGhyiXGU7s6z8W8TNMgFEd6ku1xErcyLCRZFs/piGLnvkxyr+DHHxdgazZCsz3qFGU+t/OC5kfsNvOqbYTtjSBGcoCBFQvCadd5VCH+sOzmdIoYuUcxX6id+Y3hMgEMda8H2Xe8VbKARbM4lf2/V39VhUsFmI+2nQ6N/cDBRmBGqLCumfGkxz5rIudkMxO3d9u2TrddDyEoozgD77yRyv4alPR8QN4r1cvB5VpFa4s45lMm8dJTEipb6JdK2WDVhkfX9A1WeOeMtauWi5bS9L/XJiz6t5dwcop5ziJj8eonw/tkFaR5y2aIwsN0P62OnB4qG5ScS8ZnADT1c+RnOWEh/XN+PN8mz9W8CvLuQnZCKT9WmnxFTY2G6QB0NICdNupx8Y6fujmsfrM2e796U003r1MStadqdUZ5laSdktX01g/E5/47Jd2jHmnmpEsoc+40fZ5K6lbcpUKBQDNKFMZC57jHcn6WI/l/sJhPEB+/C/xwQwr1wxafo0bGX7OF2d4pYprgK8S5IfylEUQZ7jTmERpmnxyX+M8RDvfCr0KOQViGh0o50Ef9QEsSMDSSOaVFCm8wjKG0mmyJaw4sxCVcv3e9XaOtYZN01rFuIBehSieG4AhgX2cLpymLqG3MEmvuXfVv55ricMFXgx14uS4AGftFbJSWK/8YMldDk7CMJLafwzzg1OUpQum/VY/Lw9Cqy/M9W/oyEc+otCCfByHv1VLU8b1Py7N5448pthK0OGxoLN/blkdaJ4YKbJidKXbw+df5Yqeqgooi4QsRMVMrT9ivn31OjxYQWSZVr+991fAwWiNyDIDRDL3hNW+l/T6zhPLnRWVoUBDMopImpwGv0N3F4RovANCd3rcqNWHw8BBxYYXsPciIybXN8FONyS9TUKm5kLkjGvcNaUzKqDh8T/kz2n++z/nhT/4oCt9jza/Ad3/pWooBFCurrj/SC4wRjo6AS57aFhsp/WX05E21DrPWE7H+mPpyI1PJwDWfK3elXg/Aox8/Llqaw27fmEq1mx+pTChK10iAoZca9U9pdezYjzfDUR2vP2DHvljWSFcq58So97nHk8dtcsJkpLdacR2aN5UbF9bv1Xzfy6pmVAvMLuIbTvdvGwVik/o/mJqO6+B8Ehz51fQmK+ZC/aO7TexM9MYJbzELPSWmlRqYSrv2N+5W1cog/DPVtHgEQrDwt+lTLDha3VV5S1t2/hYJnSzNJOY9TzncCE0QmhfnqJ4Go24VV0t77d2cS8GKJdQu9t9TbGxZD7mnkTIKfVA/aQq7AvdmGFJjjSB0h51Jo9MfOoBarI1imI76nvwvip2GjVeiur43FdBh6I+xQ7n35kMnoIQyJJch58bCbYIup5Ou2uUi4z9sE/JDEbyY5ip30TN09FViWZkYIAIsOjSYujamg5C7TjKum/9GBCMQBlUqtPdTxWHk69s4H2fZM1ZpyPKDjXdBJhTUdUbipGeWPArmXIRVPrHwlPZRhInP/tKPiWIakZ3c4tJNm7yaSvwfuCDWvDYrTFkjY3wHRGDrgnZrdu2WNaAlaH2yW+oXl6+Y9Vy1hfQIu0JlAkRHgpTPKbOKgU4TQjvSaZO7Q9G/+xaLrbrhEEgeulW16e9542SsieL3NQJGrxspSWvsTlW73HRwonW+EGjuH9SIW48egsmu/vTwSdWUsx7cWO8/vt2TtwHNY8LYiVkFKXvfdoegDoX52aORQTkTPX/LEaSOXXYx4CWh40bIwjkzt6qsDfnB2KhQLwD/aGn0ikhPHDFhfLlezWCcjbeqlhNS4DYoc3k+qRwzTx8oksBOJNgE592dNYQ9q5X3y+ABAcj2IM2Rqx47TsCbiIzoHPe6vM7OZIxMOIcFlQ/HOj4Btg5PGLFXwxvvWRMcFub5c8jxKXj/QMjW2gQV05fMLlLGjJBK+u2QsyoMH3HO98JxoRyHqQiBzSxNMagLHFLTA8D7yQpCv/Isxw/e27AmC3cVG2No7281RJCQg8cZ1pP4dzYYFvU6GIJFgqYbUpsC6tn1quILPYkGJirVNe9Yn/Nuy5ZPLkWQtL6wnOkABExPUFnmbbQ7I+4dey4w0eveznbiDGvVGpURl9dy8Zld8jCHes1SW4Tj4UjgaKUJs7UY13Ipwq2PO4IddRe6pAtLCRYOyG6oa6QHR23OMWAtmju55SLJF2cbhFH7tp9RUp2uWgUtcKadaHVWuHxmsZ1J3Xx57MleL4VS5zEz2HuHAiwaFryWQmk3+eqTRNGmPkqCv1QnFSnOD4iYeKGWk9d2dbFsm184uqWMI0FG+iCVGPgBJIG29m+Q49w9E1H01JrDu5wWhKUpNmAgR7ABwcz21nBgRC05uIvK3n89IyXV6C9nsVFr6Kd5mpRmY7WT2bcRDGjyrX/gXLRx3tNyBTIGf+0HzTCpwxUWi3ai/5U5tbEunJi0sz/4TQghzwehYRQG6tqZIkuq6FzmkmRI4RqYLmk6J+H0gls3CP3beDU+994LcKGbqUkvaLAAibFlJSxyjs9lMVkZfwq6Bn/x+5XcV5nfrzpSVSRbLDEyBx2TZOD8R4gkuW023cic6MtLMCFlwLo3XTY3NLI3ndCAYeRfaV3NowFjoQIju7LtO6DODz2hl8E2Nxo0Eg1DgGHQ0Pq+bGwUoVThcJX0J81oAHtvSnkaSoJjN9UlEV3W/4vNoiBfaefbgCYCvwpxGD/j93S05PBFbg2vufc7gQyQ+T6uYqiBzmMfOxsJHegAov/yv4FjecZZPPYRkIuCruBl1MMu+68C1xHwe1BK5arrvX0z7EsThawLKmiSOm5iteRTmC+GLetxHOjNrIL4vfdCJulOKkA0h0BKwr6g/UAccNjfmd3IddbxMaGmYECzE6unJhhLPYcyNmYsQKM7DyyPklsKpD9UJlIqwh/oBWDjjKlUPaAS0qIWafH7qkMsONv5kqq+yVuZs5fvKqFBuQJwmFJgJMgIvJc2HD0mkgiJ1SyESMefUkkipliotNrvZ2tvZE4NlFVKWuVXlJlUXFv/HYyY0DmcthQ1F5MEkD8DTfUzb3+gBCGHmrZF2LyoIcQJ4aKKjJlYvcVf3SZ+dkrHikUUCYTXNNCaExGcpXiaZNsyNFo6UDK+IxqoORz/B9I/3gwJlMg41PCaXHEB5gjVXGhuzCyzZ4wP8nxqb0212xQk4pAIWBQtK4ZanH+b91y25jtBziWhIf8P+yZzqkOW5uRl3k+GJwbNHkhLL5JAp5ICGaCIECUE18yPmOc4d0iBpEKxGw8x0Y/2ZdAniYWvD89YKq/HOfjdzfXzzP1dHjNSLRDX1KIrfDwcNbkSY2epcSK4bmwM1Hvrq88Cp+6hGZ00gjgNWsmXYiPm/cGqzVCBWXsCoU/ixNgJTPxo5gxW7EDw6NvycdgXA1Y11ditlRDBe2Peqr3zWqupYDqpoWMQI4/6W0SCKaDoxl9qjNrXE3rnkuesegZj+cg4uJ1DzRmGL3k2I1eZUYVQgl4bJVssyfWslU3kN0TCNyBoDCz/noRxqMdPdxF78pa1J55Lh11rxXpniY3lJzEmCs5exZO58dmrqNgEqJCJSnywBHmW9kothq1sNiQIuW9emmxVUP8iU/sD3WojUBJW3UPmjWrDB07vBduFHsLLwCxLXEnVaWFIQ2kCTTWjw5Fq4dWqkDwo/olNhbFy05q3ccrKpaUF5uVqGpjyIxXu6MxAcPJfkD6FZbYzh4oW659B1UWqlsovyE1aVIVgNniKdzvqnVHvmH2DVl3OTRa0uBzRp8BoGarqAaZ20tGd8HbRBr6VhuyaRNNPVvgXbjXfegHv70W1V0xbfmtF3ZpRi0auekRf9Ni9Jcydy4uVmPqBDTCKFaKeXcyYSMhrqT3nf+Ps9+BT7kPC6R+T0vRWxrrBL7ETscrVz1Ib96w3ED3KzbITxgLtjE+Prb84qXncOHHsgBIBXUHFxdC+cjE3GsEbjw3CvtjNOkD28PdcKCXuj0VBmE2Dn8+acbvMV51g4qsMTpWUYOhVyw6dSykwB4lSnc1ZDG2MmruCcGpgCyyTtDAT+Vvi2F4kP9d1251ezVoNKUVWapfphMluDDTG+REssUy1L+9JNJFgaikpDIvEuyxv7amkdXkELaAaoqj5Cq0Ft+DxwcO89PBfQlA7NFN5NDaI8NU5ZxvP7EdQuPGvOxUP9glHW774FVWR5gq/oIG5Xk92rqwZkkJsAnj0f7xJ+JsbMKtwRFeUOyIn20LgLgvB7JiDjSf7JbbwTu7LHOOV69Eg0W+XEK5BPj8+zKcXsuJ/u0RyLgmni/VbhlIiBsrlnpD61dDh6RcIilabPcUroq2RaRzlctNo8FZySqDaqXisa/I18em12JJltw2wvIfp8aQMxN+uPOJ0aYtmlewyO/fwYp3sgh5lYjMzcRZcGVODqIUL48zH9u/T54Cmo1CxAVbtQANb4XoaQKkFCIwvtCl1sv9PIIpOPHj1Lo0Ik0D/evUyLP1S815RdpsJCevsBLTFgpYHOlz77hHuts1BaeECRXaUr2JRrjsLCeFLXApkiQqRsLyiEYwObLP6CR7soA+ouRL7odJc/ZckCQYl41OMhj8/aonq7kf43Vepp2WDvvQoqWzFGjnNhsJ2MjuaD0ogA9UHILCE1U2wy3GUVda6m0uEvXqscc3Pff/0SK4VHb1VdEtgjoah/cnjNIUN9gUXjoZDeaA5Vks9LZBFNK8BuR+WB7i1RhpHXkrmtlGDGI3Wz/4xNoEPvmUbDz+HCALm4pHyGqbpZ9rlb5BVUyj/69z7lGmd2tY8ciqm4sFLv5Yl3iRpMlXJg+KkrVVQC+srJHy+chr74Hm4wNEgO6EJCdPUkbWIPIe287nBaZVd40WA2SMw9tGER3yFHSftXf5QpPgAe+SYeVQ2Uk+ht8hecRhq6+JoSSuKRHdvWPKA6F0h4zaJIa/FIA0HnoiDNaXFkkiwSLplvqyHUAaOmuiG2qqTdOduA+O33Y0fjICVGssipVA63K8ulFQKSgomgc8P3XsJ/H9a93MoxsZGnrbQF+tyhG032rTPj8a72NXxsA1MlYoVoATiNeb9rbSDuh17wXeeHBsqT0A0WRIiSoQzG+Y2mm3I7if5e1DL0fJ+hPOl+UTpEbhQ8UIM2SHgT8BMhsvBYOoNRLmul0zSGWcZS8ZCyr4N441jcB6PQCq9tvRhNCDbMpSYKvKtVZg873TEsE7ft30zY2+8C/7KLmCystr1Of/Qb2r8xR/1+gpohk6VGVJg5znfGuzuE749MLjU60Kt4jrDeLS3exEzmnPUb+3QHZJ4puawiuHX+7RWQLhzgG+oJ68x0pIVmUIPz+/IdLKFSrovw+Ye3vJASRpXaPdLH0CP7TBvFrblyjnXUwHcb4Gp7kr07SuSzln20h8W1lWxhOuF1bvQ6aubdXwh2s3hfs1UN0aBPTWouTXh7zlVftEpiFyP7XymiJmLO/pU8LYURCXmqNwn+aRBiSnXmRrGv+U3F0Ju1jHVakjNqN1rg1eRpdt2hywDTF2p1/JUAztVkUIT57Kk//1PvpDhjCmSrMQjPVOT6BDoDRcrymShroJOvtQlZjqwhdP/TjbeUOZChgo9p8pM2edQxlzAgkRkkh304nj1lU6CXpCHSGKp1AwQcsI7zr1jB/C64qc5UnonnJi35YX7d06acEKmOEFILpdBEXIqJhR1hQ69oEaCv6wJlV8I/f3iVfZZXaiwIuFHVXlKBx9yXiuL+kQfdnQJ/osY+boHPWBecXChB4M25/t8JlTtNLGEm5KGoKnRzOGK/OwcbiK0HR6uR5d9yJK1u9AISZZAQbYJjs5E9ApkjeCutkUJDlbGQJvhHT0J5hhZqON/KbJ2S7QllS2AFXTpZ76qQ+T0iRidcPKA+/TNgMuk3sodMvybjJKqVo3YrFANcJUEiYUKGAIljo2n1hZLThrPBrtZX/oQaMMsz0D+6jY0iLESKvApzb8KS6KxiqPz8JJI9ujLHSY6WH/PWm8u8XxxR7mMSuX3TeLAW1qGRuUPHYuR3z/vW+IUnCiGtduZIMRH+C/aByDCStrNJSiFczR1x0R3o23jvbi+ZLJL7ooPIeq4iGiBTynLE+2j4fHVzmN9TGzqIBcEZ4u3cGfk2hHwNWAVv9ySj5GR3dttSRwFg17QKQmFVYzNPgQGq33HJ+3pGWxyLOIgRquzB5m1W45KuioIaPTfa8JTkvNaKQfc3MfUXz4sTkmfhuo1GandCEURMahlloCdPcUmBQeza3yS6hN/s+79BsJmHtfjByidNhoeMZVNx2MvJPYA/Ab6gnB4OnaQVl6D4a6j1YSgzHmlb+X5LD/144imipwKHilxwJ27I3P1F8tiwY7/ULyt4WO600e0Om8bFHArrUf2Knmkb3Sp4Q75mJeOCbvlI25bMUJUlTT2AAxaoMzcAXR5OEl6mCDDH7MHrNjSDb0s2S6eqc2u6AtmMoL9ftPa3AnlwfTZJAHb4upcPhwykiQ6yRqtQItenWl5EQZheYfEOIMc2O0DsBiGCJuB2MlhbS4ytJWI3sMYJYu9IgHfJYpM5e/y0AXQeGiDqY5RLH9plbSaCYxaDjZooWKudAyBCbzeUHUJcwLmLAWzUIkvp2H2pcSxWzpunUsXOptKOgy3vsjBUPv9sVzfHfT3uPhHq3IbzvmZMx5hOKREVFVYfmJBbjUZmBFndEeMIHJG+9bnmVQTVGSoEnUNjKXV4nXIf0Gzc/nauVbR78LhpbUfrnlXJHYOKDLs85YoMYkTkQl5FH44VLcf/NWA/YllEtYaPEdScGj/R5f+jiHkhl3TWY0evVTFIJf1MGugUWrZwfysgDT5bJvP5Y1RjGWEi4/GRX9dyCctRVWImDkK6Q3/O8IBLJ62Fh4aEZQ+jHrLyDcay18+YLQhAGT4aFsQO7aP5CdDmci0EUmThboCK78h3N0bRAMkqNgh+Io1iYnMeEJDe88LCc+9tYiHlag944nmTGTCS3eaCPy9Ok6eNFFYyBaAzeWYM9hB7lPBPYOcQOrCy7Mx04WSiuk0aeSi9/5a1f9AuBe0ID9oYeaihMjwyCaWBExbVW0YpUt20LxQJycC/H2nvH7ZNJNczrtFLjJU0ed5ZJsZct0QZ+IyuHFjBAtB9oOHWM3u3qgxeNeufOcqsdxox6qTmwzJWg3X+qnot7ZY3wyB3q26P36rdu4x03Gxovr4VG+Pb2mCVynHzk8By/H6fJ/pMWYn/rwu1sP3g6rErEyme1UDV07Y7L4ssflhTRwOvDLw3th+lfClRupIqIMhQ4F6H/3ESjs49gN2VpC6d5KpKrSX4R3gc3DHMukDBXNDunv8rNkfuWIQRJffM/TlfOT9E6KU5L3RjDKLx2Tbq80MvBlJoqnGG3zb25N5RzqFJauBueTj1yAekx+V0HXLoo5ojm63T+CRiAMcQ8fZhvqprkJt6Mz7M3ohEvplxPq2g77PXVCwhrnGtW4pEZPWbmRJLmv/crW7S7IQdfaqY0B5r5MaGtzW6nmM9s5yGd/bJ3tAnv3bCgK7i6JQ987HHjr46v/R/TdRm7+q1bstlqfFZquFzBOMcgZeJS1MIx2HEYfKjK+earHzlYHqJQm1/8IybrszEfuLiJt/VGZEhJqcYio3NCBlAKXhed4UZyVcW6Rer8C23zkr7q1x0USlY5qqIotKCwNGLuzkFtr/k5SAzGByEUfNsDqJuWt1rZXBoG/zBzRYYZwqbsq3GwNypHt2Po9pdCqo5aqwa74tx2ssm7Y1V87a3UDD3W9Rhg4rC3aOwGahokbUKAtLE+b+W+k65hs5fZXAEeYGxZufeezaFbcJyk/G0P2qWfnrfgGd1NySO3QqAeVPKo3zIN31HsVYhbz6SfcSNLSp5sM8vyRmzvfVnPykxw1Uy/GjXpUntmds5OJaD1PKu7hY7I9ojS5BO3PGxxRf6QYg7iMY5EgMYozue2Qpe9I75NBfAy+R4llGsNz6KPizEYHaynVO3XGj3GrqJwRukxM9Tnpj7eTCI1AJI8s4d0ftHqCh4IlczQTxqk5k4PAfdEVtEXzbeJrb+X3xkrG3EuHWZFCbaNgC1aBN8xlNSKgIvE2n8ZmAfGIHEyApbNBb4t27xrKbhQrJfXz16ljooJqYscK/4qmQpl6B8GNnmcrLEA4uLko0ijzbdYJz/Gd4byZFwwNYJs2Qt34n3AIWj14+L9AI6u0xxQysmx6idSQNH5zZ2OEOL+spuvRQTs32gyvd9LjXj2JyOlrgukUWPmJseXtj72aemIca6tNcmRNLDE+EWU8KZUTrf+EBlGlB+nq4qPmwtq+avHpWLOeKEmJdH5Mk1WhmTyKWqrPMUhxsSAauB2e8eX274YjUKlABvvUTe5mapWRNNt8LDTq/lZ/LvDRXfQ7cet7Zy2dJ3vdWu3Fv29Vjy/sasQJmEibA23R7Qb3R20dr/VNPw9Y3zcuTUPePARRA4O+zQUK+oqfe6ZzRnm1HT+N78WcpZVlLNvecSbLCKIjxzNbv8fZAB+x14aLDs0zxQQ0AqxtR/LpsI7k6FK/n26TfQmcJtVj6hrwPb3jKOQYCgZ5RJhwmfoYcb+lSUkBD/kRJZ1aVO8z6IwbdVvEbpvu+YYeqHIgBDu0C0EenA/NodaEtZHRA6oXTT7iGv/GFSbC8XhkGhHteGE2hou5VhnhF6L1PHjLlNKZYKDmhCoMmp89UHYy33ePV7w/+ab1FQs2K8YUwzyJFkhonQSINKjIt6GGRhX2ZwV6B2nFed31Jkp96kVsv1tEMvvnZhHaBOPZDj4EhZ4y0duUiA+GrAq0oN77JR4FxGh38vRR5AVWtN7AC4USbtFnmrvcgDNKy0Tv+XAYYkLFbb59kYjglaRdr+gaQP4SCAJWsuUCL7yaQoQTaiv+Cbmbv62jL4Fp111adLgFH/8QQOhrPD/yM/+a7z8YBgRbHergrkvkzWgo2xj43zjy2cVcwsPVlTccQBWKB2VUerNYWgVGMjm53KabdBHLx2hEpgpKMgRX3PwRG6v/euGBe0RgDy5LUv+uZ+GzrGjUIZXmhEEqquJvu2NULANcEvdSvgYpyLMiubiJDsVav00PKx+Ve+yFpPGtBTGCoz8YEOgKnbOHn3qulB1fkU/Go/aorSigY73HxFdMMq4oazv7Y3iCnBuP54KbQWOTKoIdjJ20VIx2qmUynRnB93aJoe3ANQyhP4mN5K+aAW+dmJPzpsfwA82+wB27afm8paDUJUktNl7Q8Sra8I7Q8cRbQXEkax/He7jG71F7061Umh0Nx4ip7ND9Du6fqCAJXWpIYXOmweX51AXet8wX4BYnmDUr7WUrH1qWnhqWTVNIyeuNzNacRYxzgV5REYEiVAUHXfeU5XjJLfLS4L5644w5g9I2/illl5AkuK//9sYID+/Kfum6sznZ3DSSX5tIzr6D9bV1uqAAu/RRMUqzkb4MOf6FWhq3miXwqHmtjhYDLEACf83R1rk4GUzXBJjNxutNREBGKdC8xuJQ6KBwgcW9Op1vw0WiUr/BMBBqI4oaWCttfHxZ9rjUOMYNf5RgRapQ6gjVn+ninyAIpVAeuBIjPDJ9d47wExb4+D675M8OGexwpqBzI2HyxCoMgn0Z6LgawK1je+Tdvp03xdx2jMsvdx7ovFXvAJcK6rFB+5TICjBbv3bEZZfxNuhWhDtE2LMi2wqZu7+GG4GxcZBy2lzZlNHhd+++aminyb0QvtP9hc/pY68xOTGbwCsoVALRqQBmuh+HrIVo2RNmInjnE8kh+tZyBOFozPHZAkHh7Zm5JS/5PF2r6jUUU+0lpC7Dor7ac2q6MPo3W3HyWgbDke62dnxqT99QXHeQzYMcHp8CC280W2ONfbuUaGcyvpqmUWHJmw85xbxgYQuUDDYg791zWpvbyaqGZvQk11VCDh9Ti1y9EkG2cDW4ZtkbjLjgpx/g0+5OiImo3maJ9rM0v/n6JdngW3BkZCHdA1ft4tD5Pj9/DH5LW31qAetmDiYX0LpwwIoxpkVi7eVVOZx1VSI9Miz1u5me0KPCdCRsTJuzj8Y9B16vNW+3QgXEIKaPH7omv2MrernmjDR8sgT/K5oTgjaMv+31h74bW4f3UJZQJWI1+9ntQ5Zp8ARrYvZQkBOu+zJ3CaDh7O2K+myqUIzJqD3CN7nZdjbOJKumaFpoj9rhg/K5iN1PWfN8CWY6C9jKz4/VnLdc8cR7SgUWT1TpDbaWry4OG6zqEGD8Q66d61Dn47zjaAzXnqq2i+mlGOz4ggHhPggbs85G9gsVFTslgf65BMH0lB4AhODQqZxVZ20G2BQ7QsrGlx7ql6I8T2N7NRuWyHxqeiHeTfq9zy4/YExcXhdqpgXV2MCq3wfZ72vt56RKg5BbQhkdzL03p1TPPOjJJmsmQ6mN2ay32cg2ooWSwUaLtzQ78pLNQx1BvN/GEhRcWHQiZ1rLZChORYkajxU9scTfemtyvl3tdC/PsVCIkV5E6rnHhuCFwf1bVEtw+BYReyKWqdNpzGNO4bw2cA+89xoDFQGItgixDRvoFASC1+3t5ujHcShp2OgrITbCVO8EawMkWJnhfEKF8B9MiA8SBtJpw/d0NhqeXtx+5XqNqJGYNMr74ERnITvAQRuHaavlsw9zY8yvUXFyFq6Iz9sM1Jv6bfshxOJpb+IZ8FMor5aiYBiRDtoR2L0emT/LTftQhvBZgEOjEyHs76BxnvXYcxK6hXeYeSfa7swVKFqYTnX47oD85fy0t00tX8LqxZ0i8biJDq2GVNowkX5GQeR1UHFl7HrBt1adGzQsy06LJ2UDrVMv3syLp3wNKyG4+zScHcceSpnxxvu4ssDmHsYpKu+aBN4beiXs+t7FWgqNVmoJrC2i298QDXPQmMEEwqbIkc9jTwfOwfSk4VsMo/XuIKLdJyRExnT46SagN9weI5ly/ULfR/Vk/HKnnMfZs7u+vdUglcSGDAsRe8YwxHauMXrt8SKeFD4OsIld02Ie91PjfYywNWO6xZ9f1OHGNrfpNIXgtujaf8L5GKE0jNhoX4ipm0+3BTr1TP0qhZidO5D8gy0K1AezWUsI351jw6W4NS2mTo7870CJ4X2i3SBxB7FK/5V8pg8Z5Qd26+vtgwlwY3X0Ey9w/IKUOGtTTzqjlm5+9IBX462e0gRWsBShLZ/+c5tzSve+7cbqbyuwc/dJ8OV6dzKQrQqhKqkoTj/ogsxW8VIjebVkIGtaJuRmFFlLOlcGo03yVRw6/5SSf/fJFHMnt+rHRknBZQvP71Q2Jwf97OB/km8COWJFBwzfU0pY2JLDM2FTCsjsA8od4FgygmnXHCJzJmSm7sPNmMIHhV+XD0HkuQdixRyRAsue9FyX74EhB4u/GBR0nq7T/cA1vhSKjbrb48uThE78R8GOX4tXcFFhiEQd1+lvb7jLmSWUs2p0Mgm/PE6QJZFCeFvI/GamvSen2bIHVZKX3xhKTVBzcAP4dVVcjYHKqXrsQooQzIH2qMsSM6V0qKB3TmclFBtgZBlYiq7ed7w5mwuIJBCeLLogGNhMSTvH2U7LfbinD10JoXXPRSxfGqeAY8E55mgwlPZlCxVaEJ2temMGhl2NUIODXGV0Dvwaztbi5QtZiVUwyfsi6vLI/PxObtBxuqLPNOxjVIJlpHHqBvapDCidnX5hnqSpOZOdaHQ8NxQTE/NxIp7X1iJCOcZfVbfzEevabJya9S0G5J/bYkFawp/5bTpcDpAEntAH5BxdJM5exKwAGu4ebSAWKIKatWwOCdvvhXzme6UB2uoXvtm6YHflp03SFq37kRMmzaEjA6qqYUsai5My0N3zRTFdZt1vllT3CaZ4IEGhSfibk4eNOgJHDR+ghosVV+C/MguH13SUaMbjw9HzI0Ts6pbYvRAuNtNXxvd0hvEqgeLDdAllveog905mf1xEWC0rX0J32fWie74m3Dd/t+U/9mHeH536pDdA7txntNtOwUZ9m9GoRie8Xfdq5mW4oXX+UG/MZqFr9cnE3kpRP++sD9ZMLtdpQJjfpOmyJ0GQm5r9GhoHiiO5gyyEQtpH56XkzvJrCcSjWNBMHEUFYAtJE7KM4nyzj49mfLoL3h5aocRH/tseub0ZCznOZAnlC7cLy+CU0JAebiMCg8gHsSoXXIQkhUYvRqwDtbUNXDARCfpy6tdOgCXBOiZHx0we/wxVoN0x95+zuJdejIdnnjlgbH9uxk4YC2MKX9j5r3ZyqOmDpZ9puvy1HeORkpModZHYbDJ6mTpji9vlyt5I1yUdGdeQH2ZtxN8bzbtOwlvIr+rVS6LoGbnPjzvhWH7NOXdGuF9FhupdJB7ls3ffy4j+WbeuwBGEeYD7xye7MCT0La7NgE0FlDmCstAeH8A1YykGbFHHsYMJ6lRW8vvrFNrco9lk9uDVKHBmhP2AF3aYQNZcsKQg+0Hf5rFpCwGjhGtaRvmccQXKWmO5RFG0DPzaOpYLdlpd00RyvZfaG8GgdoiYWVKwk2JU7rtG4qccOcOAY5m26q9CHP4C2ZbHVGSWNfm1wYXpV0MWoJQGuPzAhphx/dwtYhMrmSUGeuFHwcrzeUMGcZzTukZtAkhdvBtWaoAWgu50mUYE+2f4gPyIQT1RV/wTL8v8CcCTWzHGm/AXUkryxrMfEuVYh0MDp0PJSH0UW0PK2njanoQWS6SsQKabycgH9rol1tr+LVT1XVAzU1C3lNH1dC88E8JMLrQt0n0yNbzQZVwCXcAztUSSI/dSv/d6y8jEJTxjbfPwks4tZogKMDpr+iPXykGefc9KV6mkj90AY15HFXpFQKngv185LM09rueWk8LidtaexH6iz+sz+ejFUMiecbuogvB6m+3ABbH686iQ6k3YvKqvRqMmcTJKLkDoaTYCOXe8Vnog13dHpswHRotcOxPohIl8aQNBbL43D3EtVW4dU/ATncVD3VTY9anPDC6Vl5ZS83G+nlxvADBIf4S+kERlQapiBbdfYXuDxgtJPxcatb6Gvo3S5xi6ZxMuJXtT9RxkdB/QDvRWhwe8DbUtgJCxfrl7zFDm6khr054VF1Cz9Fp4kz8iTBECK3bPz2Q5wDNYyEkBtLaG/MSkFgEEbe3C5OII02AT4ivgJ/iKBou93B/NreSHJwAEidkak8bUGUHlwcORExivrE28LTBNfKTly1v/4K3YB2b0fTjv4pR+0KOgg/jkUqedj9S01yY4NuoO3hiPQ7yQhz2WseerrkV+aSONA/F7OnInPXfCVsajkNdEOaNYABhi+L1eyrUorVPbH/7SDpSeo2oiKSmg76MGBniEXxDXphgbqxy8x9v7sZmaQJpVSmRegtOCpAxUO3OxfANgPUI/SM/7X2JoYl0mxmv32lrhuKaHoFHTvfKOe/tN34pnX/eBQBCcgPJNMApQCmC06yLwf/ySBYuGVsp46EEv1+wgU/0/8evbF/rNujklymw4xBFvlyldlnbDwCJjtcq4iLXfIfmJ7X64opKO+9OZZ/ddU66mGZVLESuug9dkOGFX2UsRgTp2VgCwtoVJodtp1k/oWx0PRbZQ+k//gpRPh3KD+IWS5E4YvenWeU5O0rVZpEEksm3UyLLMEzARwKhFdihJYi+IpjK1pOLR0zxUSJlFHOrFXZoEkEuHVommCtyLLsDzzsqiIFs17ZCrm7N3r05HVSuFFO8mYGEZY68Tgt074Y1VsLv0hwCRmhoKcP2EPwLCWCmqcagQoh8nqcLz42Xb8p+A4BAvT2G9q5/Y4y3+CtzcclvoaJU8Xt0HY//xeccrlHcRaMmR1RjTpHlz7uvdklUd3AArH9/rDqHptnYiszLRl7fkSK6sVPdtD8TgM18DFlh8oDh7Vrkh+nl4WRVyWtXfOa0cbOwNOktEZXZd7T95sxMfRGaRkkNFuZQCuLRWtO3JiUpsYv2LcyQCP/iBHW0azBIhcSA8vp1Xmo7Gfmz6o9aWAECxiFnqG+xlhudzC8X9ROv+kxLbPvMq9hX7buxtsVxjxNlF/+TCS4PKFXUC7K0C+ShTRWJsTJUo1cxyzh/+9T1EBY/xL9MpjEW+Ef4f/wE1xiZUOeTOd6oBzt24nJSP55ShU0iUWEFgMKf6WLyGqRbk2d/YQyfFHqezbsuhJWEuZ4ULybWeEI9LPRG9o6vixPSnkTGvOIHfTGuwYMfXTiAJJ2MnalgCNQmei0tC/Y3cO/di2BihVEOlQ7+MhIy8e7/kfIykEurdyqqXkMdnd0QJgyDPz7KzM/Sg/MWz2671Gbtc1gLkpmRug1XhjCAf7nhH9f2+auNyEus968KIP7047tHhvphyf3sX9qw9jI+ZGcGI5wKl0V94jJzAI79bnaGUvIZVT2BD1hawekU/ZeAQvZ8faFFttviAIvpBwXD485wv6Ofjh0XhpFqAVPDNBJWX3k8AzX7kU0hyancjYTGQWIkv0bdseQkN9l9rm2yCXyZrdGfMiyNg3SS4aVlVF2APVyTnME8wDb5ngJ2pSWUq/76UpKK+Hx/fc+bS4PmQ60UFu9a203zEA7YXWIfIy8TVrxpULWOhf6rTwpoTNRfXn2Fcaw09G6218ki6nWnr/c4HUylnD+hN17QUg0Ari12CMccgl15dQYthcozL6Ca4X8wMB8usi8O3pgckJ7z4QZ7xUl9BoZtQ3KdqxXv/4EsnepAdA0ej/OUorqljsABQ2FDd5UKfiolVVCtRwqsz7cByVMYBaenDMKJDd7bbWbiHjQv0UZtCViTYtRSu+JAzsAqHBF8RvulrjIY7WLqL7wPVAakjTOPKvF3FPBci3RytIHY1Pa+fZ8R0V47iyNpYRIY7i9QdP9oAwzb2zIsFB7xBOXIMYqOhRYQveTd7c15O0VcQLXiP014NVeoMqMrv9ZYncgej3baHwTy2vhRbj+tkYvKO3IMxmHq5INZUGnoq9awLis5h2IZ46R5wwva9rwFLkhzPUcJAcEaEqyAurBlwYyUjDbcZAd+ht5p3lCNIxJo4NS9luqIuzZcqBEudY61oIErLd80cTciSgzvZgb0iifPo/OcACuT0uUjFMF/ufFFnffvdCRqLb6Jig1xYFASL9lfeExYvO1WGQCuO8fKQ8KEXVSRcORNQWTvtQvSmyk0xNt24oe5dn96iWYX8K32pDwup5bUXj84ynODjHoOLh+NWb4C82TeSrLBzw1Vwzy+gsCdXJ3agJUXzqiC0N5PQdhwsKsZD3TlyeBkhB0xw88L08u+k34CYegwkum14C12XV3ZzLvJHVxi9OklYnSh1ibcR784d+fYnDb6BD9q+CH5R10MddFb++YeOlZrjB9ujAPQRlIpWvCODZ2xefTR1Ctyi0hIETMTVhvY3ZJL+68RPIXbvtmedQbHi34YdQ5VpKACTKOUQsGgn4lFQwbec7V7T63lePwfVXVvozG411t7cJvEXdbbyVeyxSSeXfh9JHKlyTXhwBH7uJAybCX309sM7p+i8JlpUrO4RNB0HSD7B1EGBu7o3sWitkFE88mMc2ynRRQjnpHIuTpthSeuq2iK16HSqm59j8wx7p2NyQPN3zx9ffgSqRzuibJG8dMQ7FiYGazbgcYeLwOZdQx+usYQ5Tr+va04ZEoOzcshEGDz8NVpeb+DQ8SPCfxxLZXRrN8ZmRU+fUwsxQD+K3d691pTjzlEjSkTmyGolCAh+HMbGyXKci4giiLfJPzBhZbOT6WxFjJGJy922Q31VhvmUb9hCk+BEQsYL06Zw0ufv3pgT42u1eFDFIL4kTM5yoSLJEoaWdVR/V531QfWkiv1sQeUbsz6MnCENCP096Uh8+08IYxtP9eVUHb2RksDS+HJUoDhexXkHoCNq6ALJI11xbcR5Wsxvlgt6kx7KAbNCosELz4EdoiqvnRPHxf8M3HX6s9W+H58YkgE3DxRIPi4Yg1u7LGED9bbhKNTUxPsP4uCaKI28DxMQycJrCbkvHxbG5sNDrkYu2BvxMggq83ZLYy6H4gA3PjK8cfNBl4lhmhUE0AWgjr5KrnFVNYCyBaYn/cTpGeCEsi0zPN2H2KG+N8bi/TTButZOfd+v67iRrckeIwyiWF6CVKdBH86mstEPKe2R/ZLzHgkGvhLgofU3U3EJjo7ubuhBoLauG4z5ZyQLI0YzFk6a3CJDzLigMx2D9Lli3d/C12+pK7ok1ArPS0raTWUBp4leyw9UU6X5D54/Iu2E3luJEuHAwS7jAhh+noSKTr5HAQAoXUmG+noaj47+eA26RRanEI+NRxEHvNf7fkLSKZsFpdOhdxpGzcCn0Rkg4eoAqvj9xr1jszpJhdoK0IVvxQHZtcA9sqglgZ+S0tRaqI5hKoARrJCG45kX9cj592/5JBQdShpF6EAXPJQaIax0uRsBsx84CDh7sf7shcK4Ac9Pg5A3M4DYMHUtT26bBpQMFVBy7WalR1YEiC5ErKmtymS0IT+a+uVqzhDUq1GvMEF7CHzd7yjOada0xbt2xgmh/tFtzIVbJeKw2kZXef8MTDmEVAvzPOkY91KscjQWgSkRn4sILHKM9GJ0FvXLkfPUFdQYqJZiEdwaZL2axsYVaFVuazgzlzz9imqCoZdKA/hYN48EOAdHbpdkE9z7txaQucaS4SOd5w0GbCI95fqSKTnf1mLQkk5I7lijzJH+ndWaEGKEBasODEj7p4GKtJeKVEzezWM3O2rVg/dmvxxlI3tocQ6p7rwUfoiFGJIKzT1Wc5vnVqwlfEj8QxSdxYQvMT6aciCO5DAs2DxKbXR7xXktPtTj1kPFrX1x/9YC6LMc3GWORV1YHJWXqyki7VIRZiGTd/DICQ2fPV6FumHa6huAJcqhvVNZtExfrXgBmk6ffv69f7ADKur5rcPaZCat0tgVcauUdE+ZPILb+0t8Fb1BHxedSiFrMbAiRGq1tizbtROhw2PGRJMwM1mlzWaxnVFlBHI9IiG/3UkTUz3fDPma70J4IYS7NHPkYa54dd3BMvcbInO6jic9nTBghRv0koFBp/TMSrUkqWFLIYxC2D5Gm98TlCiRHniEegKLBrTNb3qWagLHdSdsuTHYHHgcL1b/tjPIG0Dv8y+Orpo6PDx252KAqwEvV7EcHNnLNvV/bNfEj693iuU/u10kgIYV4iYva5A0X8opcJ88R/M3/IvhA5JFzN2TrmXrQQOtUe+YI1HehZHWmnQWW5Nc4Xgy77JQS+BedSu58hlQhkws0LOSk+RZQ/x8sxrM+GArgH33hqiU+CvcNVewxsqTvj/ODaE4pVGD/BEXc3wi3Avst1WAnoxYCPaZGfwROtwlKrL9CgNKBxmEKUeQoMPL4fXgHK9NfdxKlkJzuSN3GOmyRVXbSjOy4ki/CkAAyTWR5oY+O9gNzcNw2Dlj+/5TUjmDbfD1n/R62NhUwGtDAgQsK+1v52jZfg3rbq5DqDH/KWVDA4RI+62bRfFIM4xFESvVOx5ul2ZmbmdD3w4+ccv18Rnf0qZqXL0LwjJ1qznMwZPPNCz7HWWFdrf1hHwA2tStv/+AehQBBsQOjlEU2QlJgI9Qui2o6054bPfWeZXZaFxOqaP12DDQkt7pP9wDmj56Rzb/2dx3ttygOIs75UjKF3bHUk/DiAVsCIsh0EM34A59u3Uhrf8JOoCgrrJvi2wVhUh5GuYsU73jO4l4Kbb5RULkU/5VIWj0chFaP+x6CPAlyhrowEhypos5bJpydwYg0JE26PBhwGT7dvT8I7MzXDQIofspXjg58mEPUGFod4I0A5zmBweoRph/8TXQ0SV/vZi7PCE/Ip372PKA9/PudVuoL70SEwQZwrstmvfPdFDpMiW5laqQUShXGjhBajZw+gG4Hp8tNm5qBXxwQGFWGiolMRLF17JYxKtBg0MPwxVvzsEuzqVRmZDSJXc2r0zAk+0RVGT+3GqlCFrNYAoB/vzTa8ZQ5oAmrlTJaWrb67vzLtDYGPmoFepwKNvDN3QyuM2aCAWpXsfqH27mv19tRDDuRTBC/unwzLdDRWK10TW5TwmhC1oPtHq12gOfLtEOzkEK+PFxCC/5mGA5hKLmItNBOz0CUgp1JxHtVh/TCNBhOWYuC5eMt2iNvZ58E/NnZvwuAG6KkRuvr39hvY1Kll0JPFzMaw3ujZSEGpnQDWM3f3FKbfAM3JnWXKoS5Hq8b7+rJWkNvk9tJ+YZmYDguixaYY7JtQK6dQnztgDwrzbjg3Yts7mKlG7t+4Scan9fR4eztMVx1Gvx2Fb8A+9j3j/DcGzBeysx1+G4X653IbnOc5os3nRMPBZJbrBM1ID0bG+Q39NeoPEkdDRQwXoeTpTtnTIICbYp/XLQarJ7wTLFe+4SwTHHT1p0cUNxfMTuRDMfBsJSpJueU8WZmDoHc2jkjtxAkEnr23Upc/qwnmrxxhuLvF6KTvdRHDKClxsFqbYA4j+o8nZVN/iqiu07Zu1trlBxQjYg4ATUHqlhF5lyX6cSiN4SLXzNslEJP4UOv5UJX53lcdpfikBwJ51WGScD7wXTicb6O+GnX8MGEjGIQlU5OjkcAXgkmiqSrBkqqguXSYrGRg3Ig9OlNBCgNzWvhACq43efS/VovX2rSnDp2JqrIfAeCkkKScL3BkI97Aq1j4+ifelpl6r8ua/BTJuZaQUDMJ2bypiIh8MmSblKveKQIVqr7ChR7KTLksJbdqJruMPgeOm4ZRHjyyHRf+OGe8h8TLU0unpvS9YYGI6emuc+Id1qzqqWc4nR5xhB+ALHnH7hQdBL56MCbOLjAPZQ4RMAAJS2y+iQDFRNWioTtQ62i3F3jVaAk2g6z3YNNh6j9KBWd7QyVikRvC3Hhs9HRLwgHkz0nFlGLCHbQz52S8Rpeis4fZ5+ktCvpxF+XuEz6jA3bO7E2wJLXXXkXpHnxM9ylgKO8GlvJXnTlCeibZ2noLUyyyDDER9tlYOQ3/qOkmSmc1tKDWBJ5zH0VPord6W5dEBU2hL5ZaTXIJ77fZCZ4OVGxXcm8zTpDIFOWNnwOznP0jsACrOgLw+bu3L3nmBt9s2CVD8yY9AuBmmVD1cEfqeNjoTRhO2CwwhFaom7VaV5QNOo3hXFVcvnESZ0VZQKTq5vnEkt2ycHZZdEzfsyAh2zvK2KsVMqdzNkRgdmcQEzJiJ5+aOCoPZJ7KYerNeO6o26qbBGwSEWzxH/BBh8DELKADSQ4NiGYAsHyE3dBdhUls7aTDm/q8UQouZ1+/UMCn3CE3njTqXPgCOSBTGZiy3osTulmUlKuuc690p3TfnlnBNLhRatECf+WtzteIafCzZdcnsZK1+WVyPBrFleVreHYR0D1EdY5jrpVRUnObsQWU2CqJaDkj8Zy1lSGfToZDB6CEu8YQAmSSQBlfod+oO1e5m6almRJ40kp5bQUio7F/tIp94kCesrZb1+Qb5/l+mJq87S8GkYKPSgEKzD3qXF8YiFRkV7qIww5fwm/R4rAH9Gijug9V+/jzCSJpi79qYe978px25oJU5O1KXOVPDkZIOZ8ekk8WCXtsnOQlhoq24dgtUOQXaeS1Y5Fto3pCFg3uscQOxrGZptHyrKbNClbJXeFdksFBknbFP0pu4eWxw1Niu+k+og97IAwrnfW2G5GgzBKnNJrgnrEwliYuQ5eaUkNw4+BlW/b6+6iATa4HYiRBtFiF426b0YCUJ5DjtHQ2XCYVxH0w7VVSN64l2+Fj1we4cgBoO9vzoQXpm5UlXF8MKu3y6xEgCAfSgI/4OvKvxhuOps/4w7KB5Ki5xhBjxVnEnAmDnAgLJ4a9ZWxAh6bHnvfvYL8Drg+hHW1opObQG3GVL3a8kx51+nx0ZQ0qqjtrSs+O6AGIQS9Lkx9aw7u8BR0Kj2urQfrVBMqshVlu7utRz9zZzU16VFXmshUtk74ushsk85rrPqU8aUBCglcVNP9bwsaLxkpOJafvCItTM3sty8S02DdqvjH01GF2Wfhe4Xy+lwwToCnXmevLnWpEKHLaqxjxcEYSUxRqqcBJIVDNiEgsmMgO+prAj5x68T9impiwpivheT6tTurYU1FlNM+zPam3RQc3CofKh+b2UsEYsjrXaCMK7BfEru8+K+p+XtUCbhhBGyqivtPHcVftZjsomvWM+OhRop0OabgPfJ6Znx5oS1/LVQJNU0K+bgkITeD7vJEA1ek5UVT+QHplPHmxKh4ZBC2PIRW9XwoNlMKM8XmyrwnHEV6ERgmQ5afWqnSq/Oxww3McA9CC6DqZY8WNpnmdDGDuhaMU2Et6WQIcN1GNFz5gp08Ue5SZ4XbcIW8HLzs3yCFB7Gb4YOgKWatwgU38yLu4XYFt46fgZTEj1BkagnS77DQ4sgbBQhrcVNhLdFfkP/WU/OL3J2VEfO0seAYqWKinkDn00TWHp5R2rDbxOejT0MSK95ehPWkbthAYp4sIOPzgTzduW2ue2Ps5YkfoakOlXCkwpnh+opEo59kE4LInX2/3mvkVTDbgtIUXv5jaYQo10/6z+n1gZ8CPRd0zrAIqYhoTlqic6w3QT2x0sTraWL/GKKJIekG6+1YgaUhfSPbOet5cRtIJ9JGGA1CpLX0ZedN6I8Ns9I6U7wI1IynC+TJSjs1VpL1Rz805W9Meb+kwFPE2NR7ETWEX6cctb9pk4/JtOAcmmUvD8ZuBryk/8QkyVpCxibvYV7Z4y42jHQO4i+9nIMv62m8OIaWgjdHToiFS86VYxAPeV4SJBklfporR9czPmrUh16b6Laz4+OTSoFV3UrTNqTq5PQPCXBV2rvNideg+Ug8KRrOpul7XvKfvmGfj84wE0bLSUhxt0djkEIrJWlz8IGZyjXHDqIwx9SKWXw31v+a0gyg4cT33AvoDhyUfrrg93CNhbxS5SMt6gLvF1A1rT31P7uSBkGcY6qs7Qogqt3O+YDPBfe/5heDBySuui2MC8Tjw2gOWw20gTT1+CTXgVYX3mQbRAUBZahddGRNA9SgFtGhaK+xL5pIdivCi2Q9Nge3ir+F9Tt7ycZPoa/3Bnlk5lukjgntttRRFz6J4NQYxCezTXpYFiXIfTZtSi4J4UjnTH5pufVYV4vpI4HFWbTw/zZffHru10rZtmX6i+tt/NjlOczT5ibrn1ubfddXNfQE1ZanBCUnwFX5Ey5qIEox5+hsUm3v1/L8j+lzlvGyXendwiJxDZwitIEyud84MjzOhd2NBvMhZeKgqzwSINqVs8JL7tIOWhzqHhzLdhVLMDfEHt5Axn0K9+HK933albSHkdU8MO+icFPPQGxBJUZUZDinoQndq1G6fELxU5ujATIK40FoiV/5yC9uKviYiolEe83kXAUrchsZggIzVTmAnqLOxcX9yvpJXz01MTbchuZxD8kHq97Knl3pMGgWn5gZE2TrmEUEzPS+7Xx/csh8r8PcTWr/kGM9oP/xSUPnRMoQ2P8NC8gwXqWu3uTYndouI2ZARjPS7WFMpPtnxbxSlV3OxktqJiqlsvkpPtGWsbYAd9lHLs3szqTgDnNivmGtmn4somoPOVY3arrBjMMQqU3rYUPajBhg/W8aZo5Hk/MGKAL+TlzUhMQInb/fLmC+9BqaAcrlSnG+P2x3x1WEf3RG0+oRfEElaqacxKn1EXx8q4DZV6rXVvriQAearXvj3WT1XidDqxDsomkKNzq1/GZ+b4E8J0QiUuEJf0EzCukiBF1rV47ARgJwacjPT4cAVenQJg/YfhWDXdix0Mtu+Fo4lc+bxKhBCCCpPOdEK9aIMkvj6gsRhPGmqja30aeAPXJklEXrUfcIZwpyuPpS8wIzKo1W5ORH3MfdmmAsqQofSt1BQbkPVpUx0TPOCF8/sJ0VIJETk2MWhcisYQ383OS8Wrb1bMSE2c53VkqP8jNS3z4WjT4Ow7iRPlVX8cHj2RUtVGSOO2SEGxIpcWN5+0VQTx8Whbnwntih/n+h5q6Xk16SZSFDpUId0DK1VMOcFexxelrnLZcPUs/pOuhmGjOT+bqSOwzN3qtgBc++PWQ3F06HL29SFo71WGOYMs+LFHjB9fb8qDtfMg3d7zLAGKk2ML/F45wQPThy/oGPUGPGXmC28zPtJihF7osCVgIrFdPdE41NAJMfS6p20F72GabXZDl2Uv9R4nEzGC4G3dDKHLeJEvLkLSkeCJ3OMnQhzhveTFiJ5n07osvd0y3nJjcyqYeg3Niy3XXbF5h/rVolCIa5oklAEns9/yOJuJ0qCgsU83bMpqb+emzZkdrDuwdYzzplBkzS7WzGqewIUApO8El0wPXs9DyCI3cpJbqfYGi/uw7wUWYC42Ia5BdKJYWcGV+lRcHh9vo/wKxoikToYhXgQXFS+wW6jHowjhYwJ0hzNOxqqlwi7UskpUqZhN2yiW1IW7umh5VRvi8QAZK6F3ys51YseGDz4dk0xOdhXIEp5Bxf4dJJ93eM5DSw941qRAjtZTUjUIVkgBF9d/Waz/KPOFb3tvhae1Vbk88IgWytmpg2NxuPl3CN2YQV7SJyqSAoMhyUhkwb6EXz+shRZsGj7i+CyDRDEguGCk21bTRH2QLoiPI045VnGJ+5pCoAiZq54OT4UVt7s4DYYblHFEWUtFRBfkiZ4CuqUePUH0NNB/wa4O1YRbJ7J3W3gzltxSWxViHDIVt/09fDH5q62ZMqBO1vNETXXM0+dH4NpEBjdajQtrYL0AcQfWsw4majFgQ7n/Za/LfSo+TW0ThvQdoVgEpWd65Q6/VCuWukhTHWY+DU5QjgPfZcae7A4bNm2JVIV1Z/ap8N/nLquICBcRwpCdwtq0u3O1TIBQVfjgk+90VmHtfI7cOYoFq4NZW3AbELZj2oiNgTvC5DgMwYwX6wt0Z4kRkYtQr5rZE34U4EF6yoIVCUoTitfFUkXIhQGW9BxX6Ns9nrrvdiILCfNwHibMFaiFgsXmEsrk4W2obMtJ3XhdvDAlU3tCOSgpAx6DFRPSXeGLO9vyGAM/F+Rt4FH310J4/KTmTGozavUwKYeTla25Lp6QDt6bf8xloKaQolSQCCaFrb+N0qsE4gM5+CsmA8RQE6OSPAB/YD7Af6mi6M5p2Gtq5t1ojvC7EZvDLaQMD1pTILFmT3zvSMBFrCbkZfpuuy9C2+ApJnDWRhpklSpXz5hmDCoeH9hFcIIIgmbnSZOivs5UuNwPQQCgCek+tQzNTFo1L6K9kcvutFqm9JA/8KFeIcX+FnD9vumK/PuUC+uFiR86ZWk5rsrY5scVmArE/tSCtscwFZT6sLvYDMV+jeSZ7ElgVXBOZLdcum9LyoGckgFqLGlIYkIf4E90aUZhZfEgSm418JtaHnNxs4yNq0jKerelNMPg5V1GbH8ZcOnfzab0W3xnIgwbiSSb8Mhw3NaxcZnvx8uixdf9OKCO/gRJUfYaC56/ZcNK6hO25JLqTXAoOwJiPcxws379xa6LJVPszSWC3tD/BMqR6WuNV8D8yXgcLV/lXFgV9rKdmRsAaHvxSVMRqedjFMydhXQaS92KQsNU0n7LNm0YiNRoQdBmtcrQlONU3N9DisoDnFppruih8XYLTYt5rCUNzDHQPZMj2moWF/Uwq4EiS/ZLggH+YtWXvNtFEA4ghzHV6jTvm2HrM/npa6ru+x4TX7KAju0XT1JvsG8IZhz7ByEDbNyoZjOCHDZGd3AlEkMWnNlMqcXkbx9BNlTiQtPBbu6PoNRWK8tygL2kXq87yew2AUN5DDYAxygRnVbAeLfQWm/wbusg0321fxbplBJs/K18IgXPOnR4hleZif7epD7oXcLSGU4CRTmWy868ejJYqyOe2941JdSNn+gguNIJN3pGdARnEN30xzYQvX8z8Z1J8z9CNv+Dd31hQDtaqzc4NCXiJJZpSVqJAHjaCdskHP8shn2t0+guXNYnnXSToCD+espwd/YE+IL2+HCo29J6ZqjzE8iD16z/s7m/ig04B+g7blHly1Xxc+kmMiKUqWBTJJbueTZH2GiSjYeQp3SJfssUOU9UNo8+ujbjBCFw3VPQczMqm0d6nSWWPGndOW9ENgw3Ok27h8MQgkNkNxKvyGBP7DeBRCl6KBuxP1gNTv4/RKmg9EPVzD3g6iQyIzaSVTpXy1mSs9/1tT8w7Sr1ZacsMCXQmsyxAVkosXdsXded2DZOFE0BKomJtkAEpJO+lGu7dGYGbWOeYWshmW9ARVXrYyK8zPDbb//3C9A5Q70Nwuq9+lCMhzawadZbBohMqPKG+pxLWlSgtxO664PCFIfVYI9tVmVn6HYO2/2NUr0v0b2OcR90A0exz84AxQf2QnDkOCjtPUAiIwM/HQQpFq9IudZ5pSp1bmfEODwr27jva+TIJ7MLXyZs/w6Fqnz91eMIMsD39V90o06YBXNrAY0OVBdRACjldouKEaa8QswEQpw3ii/R48IHLtQAyqmVkI1BHrVTSRr7gviVJKbX/22M7910oKdV7PUiWLsotCbtNGR24wifL8kISLJXS7KHUKywRAhYbMbAkU1Q5XewdD4AmqWvIYzobPR+i+OmoHJAJapZvtM5v6I1P3pHX7akHs5jSm0qmUyDpSgV4ijaLc0Rc5bpJkGEcKX92uZ3u0BT0dYH2fFMK9PsePUKFEfA8IBGZsPpPPbxueaWgzXliWHR5eBHzPaNykP1oJAxuDz1BMujjqzHgZA0sOSAhcbqc+1osahF78IEtOzj9DgceR3QycTm9Z2a/qu95KDlnRejmOPats5wOJ4g0NpNb3grvwMTjnx3Aj/RjOzuDJwVu9aoLcbGXJoqE2LRQj6ytJEd+u4tv/m2WxDmtxW7SucJBwywbPro/ngqS+A0Z49D7AFSF4qYPtAfgB+4ERcoLh8guwsAHNoEDgQ8X88vSFsUUf5itb2lBau6g+I7vXqdGVxnzCIoG9BYcIoq7mi0bSnWcB/xGk5hd1qKwgWEXft2cIY9Y/QC7WJ/OXLHrRRZa9Sz1N5Z6ZLFVqwZo1eH+HbdDFKzuyOOHnNPrhcyE5VLkq5nsQWBYLYo7z+nYR5Zy5jw3Du0Hgvvgi3XMT0mfHns/pw9mrAQ5+3QlFI4YBsClGSwpa7dWQcGFdiev4uh08lN3p0G95/cad1NhbQrYP7nv3+q+oay2Kz7NSBD2XByjyI+AD12BWfNNbFqh30HpL86tAjjk+k6/q4KyBqXKxqo9aY77BrW4vWP5nAYus7fB0EnjbWVcm/OuGzHOR5+TGB6h6QbwAWdv5FsUE2W20m/YaM33wgMKog8QLIIp03gKLS0l8c4Q+DNC1l1R19lvs6z1PW9zA96E3k0/mregrbO+AJeoAIcREhUoHR2c1nqqWlF9m43l16618hj+CM6LJZYcJcjOIrVSKebMKufEeX2YaenukgCY4RAwbbwTz4y8G2zFAp2LcVdKh8xXswuLIuMI0Ut3fFPVHoxxdGhz5rwkLrT4iLuLC4Xjt4rkhZD4nm1oU2ya700L0FM7W046cIXcgxtWdKLoyjF1l3TdzoFlsrP5Es8VRnSW8iMwbp5wne6my1aERTMfSzG1dD2HkqtvIzMQGE6sttBRhovLUyDg/c367mUXuD3MNldnet2dY/HCll/OKwZbjrdzihUtleaECNk+T67YizI0k54b9G/2izJZWdrEFUyBwDfBb3TL7yIO220ctUFNK9k2NCEZD9AlACBKtZPnIl0xlSshHTau8a/lvU3t0E4BPuttWTmOhBRsegdvrsR7TdEtwpIOmViVB41YpwSyV0EwbkY6niS4xXAKXRjV9FSXphZBIXEoU5O4cn7sc412SRhSYYyWPkkYZlzwhVt3uRUpKsXsX8VnSBPrT0yywozwLjfjDD0wzVhnu/Ch2CohUk0AlSK3FLNzc33VP1kRWhDxLM6aAGkU7Jd7hVUSPV8zALCYXGkPX3+E25qRmXSmkr8iyIzTqEwgvrQk11qXDtQcS3AhIO8+PYz8dxln5EV0rDWTkdggkREvP3sZiTggpF4mWV6hyCOVmf/PzvZAvaV4VcRAeBb68gk4atx2YKJkRk+P4QPIG44xfrU3VP05tj9lJb7I/y4+4edV4ADfYEWnl8mgGZxV0+D4FEJSjIsjV8g/Xh3m5Fs2JCyfni1xDqKf2wbe2fjoIE5l8QVFUzI+1dTEiXcrG/quJ+qddY17mX1HOmeAiiRhkeg6XUSXzXRO0IKSmNv/hBk/7rKblDMdL8+n6mEZKLOQvSHkBq4U9aYWsKhlgOCIAXrZP4F8XFkrCdF6XC8IrQRPE7luyZl01Z0E1m1zyExE1GByFPrH2vwXMg0IFbNvrGaohXBfWkoDQP2sfifdNcMzZ/PTu5I+XJvKP1Uq+s7wfkwxF5tGv4PCnA3KbOnPQqi6/T+jur3GEjD6RWJ14wV5LHAjjIwcJw53XFahMXrbDA6Bd+BIkqpALTK5XkBulHoPNrEqNas+IWJ+hCcrdYy1ibnYCG9ggnr0/MPds23aN/D8fZS8a2Ja0NgMpmXN3JO+7s6ggxDlFO9WB6NddJSob7cVY88vDvO6t67ZVxAQyl4xk9COQneoII4ntp3udCJPxgYS4dhfTfpWqGh4h7Sik6+P9H8dh0qTfIK+r57n5rwf6pI1c1cfQPL2sRyJE8AOuyylFNPOxUcRPKEsGXwvhA21f29M8Gg/WONKlzUPpcYkCUGSusZtECFliBMYTuNzFNzN2PO3SIlkB+ajxYuMh5b52X/6AjRLdPmgUlG3ZRCX+R2QyRrQoVr0ydpqsBC7rRvUUgnWA/z1ewsHuJ2qMgYDNbMkMkj+m4/Lmq7Rw3T9ca93jwO8bjwLSc8LPGSxH33vN55ncLA9MRUuI3B3AKMlJ1kv67ziK7PqChNJ2STzZhgwjEPv4lkdM7/jwmZhpch1IZz92LhQ+B4TnZEcGhmvHGOlelwi4AJlqX/TOIcztmdAA4bjaj7t01xCXrlDi2mtTQNLh9esIwTiSpzMTRLmdvqA4i5RoIDV8P3S8Vm4VhbVHRMBph60GwfknMZsKaehYabM1SIfRDpiD61/wEJS5KrvdsAKKLsyle4oDq+L2xIRS9cfaxs+vA9ynixfdBxuLLZiyoOLPb6YxQp4XviBIwNXNyntPbvZvptOp10+sHC/4qhxuR0u8ZjWcCHKLgLaSFrl+idxM91jpNSe/pV+ZFTzSVBO6HCX1Ux+/Dh2MbsaVQJRY9dhCsSTw3GlJ954+EX6mWhFePj5Lq2Wzm5fEeIDM8G8xWDIynIBW/PKwaCl6MMC2mNKwcur6e3HI7DoEC8eRZso0VUReJohOJYyIKRvxOkCKDQU+ccDefQqP6TIGzHG8yaD4ssmusvxfIm0hw1kPKDFQm3PPQTiWHF4wlqKeymB9uNRgsIo9YthPGqXZU3s9VzL/AbsZLkHxKTPhI06p7o4IDqrtfv+ykIB/UIEsmvSRnKU9dhy/CUQ0jziPqsZrg22hFZNAnf4p3y0HzyRnhFY0t6nxmvEl/gTYTInjFxZiDq5bzbhWP5CRTzv3bdYfYhwRJ0vXk2c6nGQs9nEoI/AaV9mjp0lxqV/sF3HmRs9mGyk7kdgjSU7wyz6VdStLlZavbKcpwODniWUNpcsCe90egf4eYIp5itCQ6Lkpjo8UAfTsTo5FPU/WdI3cbr7U8aOzPc+YXVOf+zovLx8/HHuuemgM4v8laPwsdSKIWbhlnAfyKVXe2QhwVqQ4Z2SgTzfAvPK9+jrKKkB7gfG1/0Y6jWiXzpnh4m1PLAOYQRKhZ9Cm77k7zh6hCLRxDYoGzKROsD5G/D1XXHlM4nSmjjK16oGYOiR7rdqAYW1osHMMgn9hZpEhiKAnFV6614cWsOlEM062In8937bDyj8k+KDo71gJfkiXS5t/of8WKOZ4gDWrUsN9sAnVYZNJut2scpGV1ZrIcfe7kV9fad4XI/TxXDRPwRXyk6jIbAJJNj14jIfqKG0M/5d6ibFxXXRnBLpqRC9JCHe585okH8+ws+PMYs1MThKzGMLOnG0Mv83f5KrJUTALL46+8m+tWNR9+pk38hUQmisdYdfatW7LAzh80Dacjlv0nZ2cv2JSCXVqPxIR6Ry+6GRZfi684OXYxCP6H5cybUJwrP7pYuaIljWU/7BllBhcw9t+cg9KO1gL35p/gVRMmQT9k9EiqeS7Wz7nig+A0OT98HMWw/pjW6kOACNes9VEPJi3YA/9Eb5Tl6ZGRI0IBX5zFTXJ8h+Zlwb9EH3jyA+frF8VpFXtuh4MEYISPiuhGBmLkNRLfmGUqT7XZ1cLF4VOcizfdvv6QDrhvEmbGftjrfI9UJd8Rgn41OxbzdNLZv95KdUYlXHEXgYmgg0+4EHY5B/VBrVsfPf+bqeRcu4HSIFatcVtgDNt0YyoUd9IWmcjYG+A/7lAE0LIkq31snklbyMNKpdIZMELQFQQoEYuOaDz8RRprb1zIxFIEWBVnUgj3hSSXHus6qockrUlCetDNrA33QYzLcrppQ7qY1192Ki5oQtYXseRPikG+nb/CQv49X6pp0Vl4PWwYA8Iv4aVBaJymRAhKZxUsI4+5zwunjxn7rUFwrkrm2NG6HRDbalAttb+MXUcU+ky//nSNUNqwNPb/267172B+5S5LfnSzMQFJhSx7Nmal71sPUtk1V9/QX2tHO3qFMCaSpaHEfNKvTcGybp0upLq5i8InuH9VsYMagywlkZPhY9qXZD6QqMuHkraPMvoyQbgo+dIPQYkLoF6vN+qawPQlotjAgQBmjpsGLv2stswEh/X8lJdsQsWACy9VA3RrX4ZoClNqdTVAtcAxWuVPKWVRF5RSyGOJ91S3ejnuOQ9qZKhqo6zvv9jmddKeLAOxmItelbZAD9YWhKLh1WznpSvuZ2DI9fo5WtFednpkOAEHVCJPejyFGwcvtOTgHceO+35VLK652p02f/G9njiPPxUGhvAfph5naDKAVsimJuT5RYB2LlYotyxPuafgS3mMzd9Sp7yaLWRKMpn5O2ypKnyp0p3tjb3l7PbS/hUyd/Ngse1LGpV6bxSbSVZBQPBr6h/sTlvDFjU7pMTudgQMRzRasUH/nTxCQwRJCP5tF+9T6Xa0yZI8kCBPF6fCXjf32Cn3UgizVhiusWyqYOaTVy182rUZYnLaDPrcxQ5N2Wa2Jrn7F5nZQNrlN49OuMTTk9xH1QZbR5HFBKdqZtswIerDlCD57ZsZAcvDdRrZw/yqX4N9w4WaB35/NZPOZwhLBcBKE4DRfVFM171xNCOJr+qdxeGdyTp9wAD2uMytygDTabHfI6j8lwnX7In5TCuuw/IBfcKFWX2gMi3AQLqn1lrjheQm+T0nMAdLpGnvwV4V7qldTqKfAmJrSyA6YSzx3W+AYRXNM87HtklQKDA90Ht3LqhIONhD+E5Z97SyYA3gCd7t8lXxQuAflpeacAT+yMp8L8ZUMDPFZQ4VjPlBLBm5ryzaH6toEf8TOzvHf8Qq10UB6QUEFqSstZK/ARZ2r5KESix56M3Erle199b+K5YaA8x3FyjxoFdMpumshEQ9G6cpnNz+YhhnFBcTbRvJhN6BTCvR4EI4W3vD4X5O2jHE4zXF6L3A0cHdhoyliZoxMeUcdrLwAbW1VWWcFelh6b9m9cHqtDK8MRyg0PV2u5EztfC6NF/IiH5mh9cTfGEWxn6EGrrFmwpEVNEHHyuVO3IaWO7rGJAJwyP8Vvhy2yUO7eFbSfgaNbYJBu+thwiJ3yei7QP/755z+qy251nUHfqVn2Lb05mX1Ov2xx2PeJ9ZpFioKMf+PFkDGHzaOAU9lnfuV/WokUAFjcporbUJlQJwlPSeDGV1iNw1LKHf4ZVuRKxFSc6JOkCpZD6aoRQ7BmeY2pSIVU90ATkL0c24cBFkmL4gb/iqCNvqSBsczGvlOf4Yh+eJvBarpdWkxnMKkH1bUf1MfPZtpIrZZbWk/a8Ej8Y3SfrsaxCy0WJ4cdTq7vbG6RVOyppT3Zn+raaBfVyDkh1PDrxoOYYYADOE4gOM1uruDzELwwPJGxRxEDwymkFdkT4zcM1cjTloNba8DkWMa6TuydQ0olgCvZ22Tyqpg8fLb1jLHLgMc1Npw7P98YlgNVOSCKmghDqWvW9YkV+mdU82Eu+H7u9OfKai1tciteHp+GQTZ4IxcmXpK/E4YKKajTOE2jKYBRtoCDJKa0vtsXJ5h8hWPILeEJdC+Z0IyGYrimFHnYgd9iKqqqBwJP4mx2lm0ajJwr+6/8bktmFV2gw8YC8qd6nrBeLd7wEBV0fJ1tx5VyzvMQH5EMBnG93AyK/xVfL/L/AnDgZEgdTBYrmS0ioUlo8IME0f5ok9y3e13s0dq11TBCdmAGg6U/RJ33uYllDEFsEKgaJjRlIvoMoKiQQ7erfIkGH3N/StXvvqVxoeToQSzcDapLi91ROrCKv7PcWfu1PRAYUSeFjsEyxLAGTY1GtAHXXo7hrjRIvOAch5ZGTsXwvB88Y7NFn222IowKyupJ3kzzQj4lYNaBJUQXp5ZZmyFnkmBhRmWgRrNf16ZvstqUHJASzHogK3oYAimeuIPKxZgPe7V+yo+kPxdwv6HQbar2d24YasHdNQsSc04RrA3IrcLlqumRFUmpaS4twcavbtsFH+AqPqAwmoTK6KtEbEh7khTQ/+3MxLX0E9RsJHNjlLW/kUJRJwI0nME9sZWEB66ZuPoLiSpcqZrk0rWXU5ATOlfHQiAcs1giyP508HyQlVzh9rV/RshG2v25VzW/m7WYGbMicC0eYcVHvQowwViAR/aGqxGpZxaLVzg7c/5qRRCLGT8696f6Ycq6gqIbmnGF/uJwItyqJRPpBYp3VzERlKnmtc8OfdPva3SZaqRPSoor+a5OvJeAJue2hhrwdH7r3Es4AfPkXq9Zs5cBiNV90rnbnlrmvUz196cGxJseFzwvnSr1d+1/3Svdos/IM4aG77AHJtlskhK3P4sJhXg9HXsJfYOsUntMxFA6yfrJFCqkeBoi3IhAn1TMYxyvgI3gjSe0JuDY7pWRQiBK66JM8dWZp68eB3q54FFI8ID0zBmuJZrvD3nZMVP2vnqbQgvi7vvSx/TpmaVHi3RZzXkq0hl8GinUJHwuqS0PeqEu8JOtjfqgnFy+UJlRnDZ3uDMxQgvE/ohDG1BlcZ3W7PbO2zR2PaKltiU3vxX4GxWVchR8LM66cLhRIn5PQtvuwoU9IK+ZTCu+X6+26lJsfaGi1EG8r9MKTlQRnyZbL/ySfAzRjRf0Rw9KhGd9LeqimPm1JGrhPxavj8ayd2/br5nVg+18iUCEJNDE3pZjexlUUv9bQmyo3B2NNFsW3OoRiw28t1DY2BTA1yUMMzLtsECI/sGrn7lGLIY2jRQzngpG0Ta1dje+JEeK6x4il35osQXRu4rF8BlZwnkhhXu/fDRzO+lNY9625jIDrm6wrc8BytMjD6fvN/pm6qT3pMcnitzR3PRUB747/JUIPZsWtNPIcan8BoYOEJHiBKnEKLq6mK8Tp5d9NcWXjRGoR1J6hxEFSlg/NuSi7wccUwcoUmOChtfWLZN9IDCbHzXJvaaIkrRriPxxahqnXTbNtKnYT5WmBVjbwLN/Db2wIaSKpSt7K7D6mqdNx7KaWoGTKjJItczWZ9A/cZvDvYt9g1sHn3drNMyy3CLjYEO/08Y7apZqjy7wWFRxJxASSwkuU6eoVNcmivhmL+meKxIUYxrlDA/BHZcB04jdWOjxuG5VrzdyElxJpO86M5hKwzjyOdEzcGDGccK7EVBzFMCbE9gHW8wAtKrKcwHmBXQDYASCU2Alo2L+CsNiGuHcZ/nNIbfKSHqdjme1M5OSK9gS7ccdXLpHBB3KaT9rvfqDt3Zd/P+9V6hv8aaIADvuZ4lLCmYzktKuDj2DHkH7Znns8aFHL4BioFDtHsM0u3hkqbYZFdYBYSIV68ZNcXyO5tWfNPOORJUbPIpxdQnkVj5O8SHG4NQ0A75I5ApvXvNKRYmJCPEvSRgV0KN7rLlTBa0Jwxg9Dop+XLirHBQuLNV52ygqt3UAINZm3usQOwIKpfxxglrvWEgQkPubyKPh4ZUVtFkB6D/zWWtlrJ702rAzNUQ2ouUosXrOhVvS9I7E7iYo777tLA4Ip305innnYk9kWcz+3I++5ULk+B12gS/RbsrRHaRiiHHshwy9M9YCJ1cC790IvnuHvYMU+mWM4VOfrIarT5VGwWzGbOiBhPIOGicJcwnjO9TNv87EKk99KpdcvyRHl+l0isSjATI3u94rl3jQUR5SMeenJBCnNQA9JopZgOUCOaPp9GYh/CuNlCmj971GmQUCJCwAJe3vouKeoBVVjb5LhmRl3CHLoOlAounytJ+4axPKxFQtCNQkoO43RD7iWWw1WMS5s0p9UHk5rED3O9zXkuBChDoSphlbAlMRv/M9dnArX+JDQh/HchPrxe1OKGk8yUV1SxxvxAUxgScXeN48wRV+NjfT2oN6jTk5JdxGKvP0Hz72DK8JlxuIGdBsrOgY7EpnYPTdwl6C8vBrRS8XxNH1L0Ql8B8xMmrJI2OOJa96P8uBKAYznlJD7noe8/fKyAJgJxon6HV9MK90QaT6Gp7M+OBhx8WcW+WHsnScpT3HsJcep+jwrCFeRLLj+KzS4DezD9evEO471JHm9tHMzeuXAKY6tgZi/GV0hK3kBlpKggI6siPlJNAXGw3cNiiiG/VfbUNx3IBmYy8fRsZsDXJ7D5W1zZcM+t/qduVRL8aE8gaEMe4yg0ofqU8IiR+OGJjReBnKXuwfn7MkLK0i51mZH0eXyMN8qiSIqZv6dGS0AQLrxwFl8kWUrJYSBy5TjQMnpA6GtGSfVQC7kuy+AlVzikBYDuBXV383vE22Yqx17JnIvUWu4SUImu3UKUpAV06qVRLmlpSv8eobOv0o4CNVxIes2yn3SNto1Oqw7FbAFLe8RhcBpCbKol0jAwLZgcQWj6BvBzLGSO9aKAaEwsL+KFRyKHMowDfy13fGV95FPVBd7JYyiFp7Gi5qhRkuSrB+Qsz7AeU3VG2yfkOoG993kPRPDZfmEzSsiYVVOP0XXv8x0GGQ9zsIvLpMUM1R3FibPmOmAHONNIj3bqVyzgFP+ozd8I3yW1tqnuPASjaM0yhzEZewwOmV32OfzWs/S7Ojr52gwjia3pZCJHKIkMSlRdCUKbKYuUiWDHavIOHNzRSYv46yk9CK8Gu8jFnnT7bUo7UaaCnPXYj/ysJ8oGA1mV47KMH0F7OGRY2pedcQvPuugy8pznpYdDU/j1zKIx3ecMcS8z8nNHtM10XRlVISGtj+Tz2flS59JWOVjsuGvVt1hfP921b9ho6QqQ2K1X9c0+73bCycI2Al5fynjwGGr5dRYxc6YjKqphj0UUdtyqLvRki+bBSZT7pDo22mMbZ7dhHatvkikLBkGeNbzqoOCy+GSpcIN8+wuhExs49HzFw4xW8mKRF198K99zzYJ4omd3aDhFM3l+9AopyB8eNc+skujvaG/52wXGY0YSKN1J6IFgTTYaPfBPYsF/a4rdD2wS5TpwtItyOTzpLl7Y28fnZgSmfXPqT2M67calgAU9AB7Jpj7W9KU/YRk5h8e92shr+hvohm2ZZ/s9JTiDEg2x5Ogp4l3opPu1hS5W0aWHgMvQVXkZKXGra1NeaYOv+3abrgf1q0EdbF8GtWa8NFgoBMqxWkw/IvkLId2mpoYlhYW2fj+4VOdy8KyE4LvAugCty8cYdd3vCL4t2bpW1Xehgb32/o1hiRTR3C99mr10DqT+Urf+NEntaikWVhbshTUlwhGaZqQ8+yVyBn61pMEdEgCIokf6m+L14ISFRRi0ItbUDDnOi52+oQ0Ks6AmFRSIuDP/c6IPdoxUQT9xAFkyqetiy967d5VpUo5a7acFSASxsmw/YF/wfZvRZ0hmYSJLU79eNH2QIXyS6rAGS5AGJgfRLzGmcvQmBo1dPaKywtF19fX6XS875JCgRZNcvz3J91b7AxPEucJx+crWPO2mrIvEeSuhEwOrJpH7nheTz306JPt4AVXMW5aKSC0BqOduOP+h/d+kt0WOQ6Xz/7ynN5uMKwks8HN/kwww9r3gnZVDgIt2mLygtTnbsWxEeGdM3vg/ZOCTa5IM20LvHxcjKPphsz4syj358sugueZg5jep1j2DGmEqqmllBQR5ss5EYeFVd8kv9WNS0WSRl72+IfG/KzQ+jN/51rxFzQVOqpe1rRkz3P8sXHub5eCL1WseVc/Mf1sDq+uUj/ZOHIVKALGPNL8TidAQSWCuO+VIyEtliKQOlCIEvZc2oSCrjL/xI9G53ROUOjESZ3oz0bA9MNko9NV6f9GxE3Oyg3+6qS2PL/BFJ9OTN6m2eEmtIFc4uYYL+UW1Dmy4kIWs2045DhVW9Y0TzxSlPblnj4eZRBl/itu4ghOEPBNkiuO9TfE394DqFbMz/UtCjQFb0tKe5AddLeji2WNwPboZtXe6OTyHTX08VwqQ3WqEKmXPjE2m/L8" title="Mekko Graphics Chart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340691" y="1253002"/>
            <a:ext cx="11510618" cy="5122665"/>
          </a:xfrm>
          <a:prstGeom prst="rect">
            <a:avLst/>
          </a:prstGeom>
          <a:blipFill>
            <a:blip r:embed="rId9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3167" tIns="33167" rIns="33167" bIns="33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59">
              <a:solidFill>
                <a:schemeClr val="tx1"/>
              </a:solidFill>
            </a:endParaRPr>
          </a:p>
        </p:txBody>
      </p:sp>
      <p:pic>
        <p:nvPicPr>
          <p:cNvPr id="18" name="Picture 2" descr="Trintech to Offer Adra Task Manager at No-Cost for Six Months">
            <a:extLst>
              <a:ext uri="{FF2B5EF4-FFF2-40B4-BE49-F238E27FC236}">
                <a16:creationId xmlns:a16="http://schemas.microsoft.com/office/drawing/2014/main" id="{E63D01C6-C733-2A4E-E991-3F6ABB3CD8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9607" y="5482008"/>
            <a:ext cx="783621" cy="165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 descr="FloQast Introduces Compliance Management Solution for">
            <a:extLst>
              <a:ext uri="{FF2B5EF4-FFF2-40B4-BE49-F238E27FC236}">
                <a16:creationId xmlns:a16="http://schemas.microsoft.com/office/drawing/2014/main" id="{370298FE-C07C-9455-A61C-CDC798C1AE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5492" y="5476161"/>
            <a:ext cx="712383" cy="182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6" descr="Support for OneStream - 15 hours a day, by phone or email">
            <a:extLst>
              <a:ext uri="{FF2B5EF4-FFF2-40B4-BE49-F238E27FC236}">
                <a16:creationId xmlns:a16="http://schemas.microsoft.com/office/drawing/2014/main" id="{BF10CBD9-F4FB-460D-EC9C-04F2EB675A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1294" y="5495821"/>
            <a:ext cx="783621" cy="176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8" descr="Complete Planning Software | Excel Interface | Vena">
            <a:extLst>
              <a:ext uri="{FF2B5EF4-FFF2-40B4-BE49-F238E27FC236}">
                <a16:creationId xmlns:a16="http://schemas.microsoft.com/office/drawing/2014/main" id="{45ADFF73-5037-E908-BDC6-910BE7113A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0198" y="5492448"/>
            <a:ext cx="588746" cy="194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2">
            <a:extLst>
              <a:ext uri="{FF2B5EF4-FFF2-40B4-BE49-F238E27FC236}">
                <a16:creationId xmlns:a16="http://schemas.microsoft.com/office/drawing/2014/main" id="{92741513-C569-701C-FCF5-C44A267089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0560" y="5515073"/>
            <a:ext cx="712383" cy="15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A81B505D-E1FF-9CB9-A68D-C2F76A002FB1}"/>
              </a:ext>
            </a:extLst>
          </p:cNvPr>
          <p:cNvSpPr/>
          <p:nvPr/>
        </p:nvSpPr>
        <p:spPr bwMode="gray">
          <a:xfrm>
            <a:off x="1298446" y="5484702"/>
            <a:ext cx="782757" cy="199067"/>
          </a:xfrm>
          <a:prstGeom prst="rect">
            <a:avLst/>
          </a:prstGeom>
          <a:solidFill>
            <a:srgbClr val="CC000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 b="1">
                <a:solidFill>
                  <a:schemeClr val="bg1"/>
                </a:solidFill>
              </a:rPr>
              <a:t>Blaz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laze has relatively higher average compensation for both Mid-Senior and Junior level roles compared to most peers</a:t>
            </a: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189893" y="12058"/>
            <a:ext cx="8440615" cy="83639"/>
          </a:xfrm>
          <a:prstGeom prst="rect">
            <a:avLst/>
          </a:prstGeom>
          <a:noFill/>
        </p:spPr>
        <p:txBody>
          <a:bodyPr vert="horz" wrap="square" lIns="34180" tIns="34180" rIns="34180" bIns="34180" rtlCol="0">
            <a:spAutoFit/>
          </a:bodyPr>
          <a:lstStyle/>
          <a:p>
            <a:r>
              <a:rPr lang="en-US" sz="100">
                <a:solidFill>
                  <a:srgbClr val="FFFFFF"/>
                </a:solidFill>
              </a:rPr>
              <a:t>8_84</a:t>
            </a: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1034505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1720670007209267 columns_1_132463677118132399 11_1_131720674872631816 45_1_132463568791896469 24_1_132463880036933736 27_1_132463880036933736 </a:t>
            </a:r>
          </a:p>
        </p:txBody>
      </p:sp>
      <p:sp>
        <p:nvSpPr>
          <p:cNvPr id="11" name="btfpNotesBox914511"/>
          <p:cNvSpPr txBox="1"/>
          <p:nvPr>
            <p:custDataLst>
              <p:tags r:id="rId3"/>
            </p:custDataLst>
          </p:nvPr>
        </p:nvSpPr>
        <p:spPr bwMode="gray">
          <a:xfrm>
            <a:off x="330200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buNone/>
            </a:pPr>
            <a:r>
              <a:rPr lang="en-US" sz="800" dirty="0"/>
              <a:t>Note: Each data point is an avg. salary data point for sample titles (e.g., VPs, Director of Sales/Marketing, Sales/Marketing Manager for Mid-Senior level; Acc. Specialist/ Acc. Exec. for junior level); # of profiles &lt;=5 defined as low N </a:t>
            </a:r>
            <a:br>
              <a:rPr lang="en-US" sz="800" dirty="0"/>
            </a:br>
            <a:r>
              <a:rPr lang="en-US" sz="800" dirty="0"/>
              <a:t>Source: Glassdoor; Bain analysis</a:t>
            </a:r>
          </a:p>
        </p:txBody>
      </p:sp>
      <p:grpSp>
        <p:nvGrpSpPr>
          <p:cNvPr id="24" name="btfpStatusSticker443151"/>
          <p:cNvGrpSpPr/>
          <p:nvPr>
            <p:custDataLst>
              <p:tags r:id="rId4"/>
            </p:custDataLst>
          </p:nvPr>
        </p:nvGrpSpPr>
        <p:grpSpPr>
          <a:xfrm>
            <a:off x="10102664" y="955344"/>
            <a:ext cx="1759136" cy="235611"/>
            <a:chOff x="10102664" y="955344"/>
            <a:chExt cx="1759136" cy="235611"/>
          </a:xfrm>
        </p:grpSpPr>
        <p:sp>
          <p:nvSpPr>
            <p:cNvPr id="25" name="btfpStatusStickerText443151"/>
            <p:cNvSpPr txBox="1"/>
            <p:nvPr/>
          </p:nvSpPr>
          <p:spPr bwMode="gray">
            <a:xfrm>
              <a:off x="10102664" y="955344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ct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26" name="btfpStatusStickerLine443151"/>
            <p:cNvCxnSpPr/>
            <p:nvPr/>
          </p:nvCxnSpPr>
          <p:spPr bwMode="gray">
            <a:xfrm rot="720000" flipH="1">
              <a:off x="10102664" y="955344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33B2A53D-8A67-43A9-910A-FC189FF7DC3F}"/>
              </a:ext>
            </a:extLst>
          </p:cNvPr>
          <p:cNvSpPr/>
          <p:nvPr/>
        </p:nvSpPr>
        <p:spPr bwMode="gray">
          <a:xfrm>
            <a:off x="974453" y="2568540"/>
            <a:ext cx="1439974" cy="2689260"/>
          </a:xfrm>
          <a:prstGeom prst="rect">
            <a:avLst/>
          </a:prstGeom>
          <a:noFill/>
          <a:ln w="12700" cap="flat" cmpd="sng" algn="ctr">
            <a:solidFill>
              <a:srgbClr val="CC0000"/>
            </a:solidFill>
            <a:prstDash val="dash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6" name="Picture 2" descr="Image result for glassdoor logo">
            <a:extLst>
              <a:ext uri="{FF2B5EF4-FFF2-40B4-BE49-F238E27FC236}">
                <a16:creationId xmlns:a16="http://schemas.microsoft.com/office/drawing/2014/main" id="{FF693F45-326D-E91A-7A65-BCDFCFB7AA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92" t="24891" r="10045" b="19671"/>
          <a:stretch>
            <a:fillRect/>
          </a:stretch>
        </p:blipFill>
        <p:spPr bwMode="auto">
          <a:xfrm>
            <a:off x="10885498" y="6351704"/>
            <a:ext cx="982928" cy="238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11C08E80-9201-1698-EC86-B93760D64711}"/>
              </a:ext>
            </a:extLst>
          </p:cNvPr>
          <p:cNvSpPr/>
          <p:nvPr/>
        </p:nvSpPr>
        <p:spPr bwMode="gray">
          <a:xfrm>
            <a:off x="6620628" y="5720969"/>
            <a:ext cx="4927527" cy="15722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 i="1">
                <a:solidFill>
                  <a:schemeClr val="tx1"/>
                </a:solidFill>
              </a:rPr>
              <a:t>FP&amp;A</a:t>
            </a:r>
          </a:p>
        </p:txBody>
      </p:sp>
      <p:grpSp>
        <p:nvGrpSpPr>
          <p:cNvPr id="94" name="btfpRunningAgenda2Level318982">
            <a:extLst>
              <a:ext uri="{FF2B5EF4-FFF2-40B4-BE49-F238E27FC236}">
                <a16:creationId xmlns:a16="http://schemas.microsoft.com/office/drawing/2014/main" id="{50B807E6-8D87-CD90-DDCC-CC616160F9AD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-1" y="944429"/>
            <a:ext cx="6790829" cy="257442"/>
            <a:chOff x="-1" y="876300"/>
            <a:chExt cx="6790829" cy="257442"/>
          </a:xfrm>
        </p:grpSpPr>
        <p:sp>
          <p:nvSpPr>
            <p:cNvPr id="83" name="btfpRunningAgenda2LevelBarLeft318982">
              <a:extLst>
                <a:ext uri="{FF2B5EF4-FFF2-40B4-BE49-F238E27FC236}">
                  <a16:creationId xmlns:a16="http://schemas.microsoft.com/office/drawing/2014/main" id="{8377C622-5EED-341C-B096-9260849D1095}"/>
                </a:ext>
              </a:extLst>
            </p:cNvPr>
            <p:cNvSpPr/>
            <p:nvPr/>
          </p:nvSpPr>
          <p:spPr bwMode="gray">
            <a:xfrm>
              <a:off x="-1" y="876300"/>
              <a:ext cx="2327781" cy="257442"/>
            </a:xfrm>
            <a:custGeom>
              <a:avLst/>
              <a:gdLst>
                <a:gd name="connsiteX0" fmla="*/ 986067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86067 w 1816204"/>
                <a:gd name="connsiteY0" fmla="*/ 0 h 257442"/>
                <a:gd name="connsiteX1" fmla="*/ 931347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257442 h 257442"/>
                <a:gd name="connsiteX0" fmla="*/ 986066 w 986066"/>
                <a:gd name="connsiteY0" fmla="*/ 0 h 257442"/>
                <a:gd name="connsiteX1" fmla="*/ 931346 w 986066"/>
                <a:gd name="connsiteY1" fmla="*/ 257442 h 257442"/>
                <a:gd name="connsiteX2" fmla="*/ 0 w 986066"/>
                <a:gd name="connsiteY2" fmla="*/ 257442 h 257442"/>
                <a:gd name="connsiteX3" fmla="*/ 1 w 986066"/>
                <a:gd name="connsiteY3" fmla="*/ 0 h 257442"/>
                <a:gd name="connsiteX0" fmla="*/ 1164000 w 1164000"/>
                <a:gd name="connsiteY0" fmla="*/ 0 h 257442"/>
                <a:gd name="connsiteX1" fmla="*/ 931346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500631 w 1500631"/>
                <a:gd name="connsiteY0" fmla="*/ 0 h 257442"/>
                <a:gd name="connsiteX1" fmla="*/ 1277595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4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813218 w 1813218"/>
                <a:gd name="connsiteY0" fmla="*/ 0 h 257442"/>
                <a:gd name="connsiteX1" fmla="*/ 1598195 w 1813218"/>
                <a:gd name="connsiteY1" fmla="*/ 257442 h 257442"/>
                <a:gd name="connsiteX2" fmla="*/ 0 w 1813218"/>
                <a:gd name="connsiteY2" fmla="*/ 257442 h 257442"/>
                <a:gd name="connsiteX3" fmla="*/ 1 w 1813218"/>
                <a:gd name="connsiteY3" fmla="*/ 0 h 257442"/>
                <a:gd name="connsiteX0" fmla="*/ 1813218 w 1813218"/>
                <a:gd name="connsiteY0" fmla="*/ 0 h 257442"/>
                <a:gd name="connsiteX1" fmla="*/ 1758496 w 1813218"/>
                <a:gd name="connsiteY1" fmla="*/ 257442 h 257442"/>
                <a:gd name="connsiteX2" fmla="*/ 0 w 1813218"/>
                <a:gd name="connsiteY2" fmla="*/ 257442 h 257442"/>
                <a:gd name="connsiteX3" fmla="*/ 1 w 1813218"/>
                <a:gd name="connsiteY3" fmla="*/ 0 h 257442"/>
                <a:gd name="connsiteX0" fmla="*/ 1813218 w 1813218"/>
                <a:gd name="connsiteY0" fmla="*/ 0 h 257442"/>
                <a:gd name="connsiteX1" fmla="*/ 1758496 w 1813218"/>
                <a:gd name="connsiteY1" fmla="*/ 257442 h 257442"/>
                <a:gd name="connsiteX2" fmla="*/ 0 w 1813218"/>
                <a:gd name="connsiteY2" fmla="*/ 257442 h 257442"/>
                <a:gd name="connsiteX3" fmla="*/ 1 w 1813218"/>
                <a:gd name="connsiteY3" fmla="*/ 0 h 257442"/>
                <a:gd name="connsiteX0" fmla="*/ 1813218 w 1813218"/>
                <a:gd name="connsiteY0" fmla="*/ 0 h 257442"/>
                <a:gd name="connsiteX1" fmla="*/ 1758496 w 1813218"/>
                <a:gd name="connsiteY1" fmla="*/ 257442 h 257442"/>
                <a:gd name="connsiteX2" fmla="*/ 0 w 1813218"/>
                <a:gd name="connsiteY2" fmla="*/ 257442 h 257442"/>
                <a:gd name="connsiteX3" fmla="*/ 0 w 1813218"/>
                <a:gd name="connsiteY3" fmla="*/ 0 h 257442"/>
                <a:gd name="connsiteX0" fmla="*/ 1981532 w 1981532"/>
                <a:gd name="connsiteY0" fmla="*/ 0 h 257442"/>
                <a:gd name="connsiteX1" fmla="*/ 1758496 w 1981532"/>
                <a:gd name="connsiteY1" fmla="*/ 257442 h 257442"/>
                <a:gd name="connsiteX2" fmla="*/ 0 w 1981532"/>
                <a:gd name="connsiteY2" fmla="*/ 257442 h 257442"/>
                <a:gd name="connsiteX3" fmla="*/ 0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0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0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0 w 1981532"/>
                <a:gd name="connsiteY3" fmla="*/ 0 h 257442"/>
                <a:gd name="connsiteX0" fmla="*/ 1813217 w 1926811"/>
                <a:gd name="connsiteY0" fmla="*/ 0 h 257442"/>
                <a:gd name="connsiteX1" fmla="*/ 1926811 w 1926811"/>
                <a:gd name="connsiteY1" fmla="*/ 257442 h 257442"/>
                <a:gd name="connsiteX2" fmla="*/ 0 w 1926811"/>
                <a:gd name="connsiteY2" fmla="*/ 257442 h 257442"/>
                <a:gd name="connsiteX3" fmla="*/ 0 w 1926811"/>
                <a:gd name="connsiteY3" fmla="*/ 0 h 257442"/>
                <a:gd name="connsiteX0" fmla="*/ 1813217 w 1813217"/>
                <a:gd name="connsiteY0" fmla="*/ 0 h 257442"/>
                <a:gd name="connsiteX1" fmla="*/ 1758497 w 1813217"/>
                <a:gd name="connsiteY1" fmla="*/ 257442 h 257442"/>
                <a:gd name="connsiteX2" fmla="*/ 0 w 1813217"/>
                <a:gd name="connsiteY2" fmla="*/ 257442 h 257442"/>
                <a:gd name="connsiteX3" fmla="*/ 0 w 1813217"/>
                <a:gd name="connsiteY3" fmla="*/ 0 h 257442"/>
                <a:gd name="connsiteX0" fmla="*/ 1813217 w 1813217"/>
                <a:gd name="connsiteY0" fmla="*/ 0 h 257442"/>
                <a:gd name="connsiteX1" fmla="*/ 1758497 w 1813217"/>
                <a:gd name="connsiteY1" fmla="*/ 257442 h 257442"/>
                <a:gd name="connsiteX2" fmla="*/ 1 w 1813217"/>
                <a:gd name="connsiteY2" fmla="*/ 257442 h 257442"/>
                <a:gd name="connsiteX3" fmla="*/ 0 w 1813217"/>
                <a:gd name="connsiteY3" fmla="*/ 0 h 257442"/>
                <a:gd name="connsiteX0" fmla="*/ 1813216 w 1813216"/>
                <a:gd name="connsiteY0" fmla="*/ 0 h 257442"/>
                <a:gd name="connsiteX1" fmla="*/ 1758496 w 1813216"/>
                <a:gd name="connsiteY1" fmla="*/ 257442 h 257442"/>
                <a:gd name="connsiteX2" fmla="*/ 0 w 1813216"/>
                <a:gd name="connsiteY2" fmla="*/ 257442 h 257442"/>
                <a:gd name="connsiteX3" fmla="*/ 0 w 1813216"/>
                <a:gd name="connsiteY3" fmla="*/ 0 h 257442"/>
                <a:gd name="connsiteX0" fmla="*/ 1652915 w 1758496"/>
                <a:gd name="connsiteY0" fmla="*/ 0 h 257442"/>
                <a:gd name="connsiteX1" fmla="*/ 1758496 w 1758496"/>
                <a:gd name="connsiteY1" fmla="*/ 257442 h 257442"/>
                <a:gd name="connsiteX2" fmla="*/ 0 w 1758496"/>
                <a:gd name="connsiteY2" fmla="*/ 257442 h 257442"/>
                <a:gd name="connsiteX3" fmla="*/ 0 w 1758496"/>
                <a:gd name="connsiteY3" fmla="*/ 0 h 257442"/>
                <a:gd name="connsiteX0" fmla="*/ 1652915 w 1652915"/>
                <a:gd name="connsiteY0" fmla="*/ 0 h 257442"/>
                <a:gd name="connsiteX1" fmla="*/ 1598194 w 1652915"/>
                <a:gd name="connsiteY1" fmla="*/ 257442 h 257442"/>
                <a:gd name="connsiteX2" fmla="*/ 0 w 1652915"/>
                <a:gd name="connsiteY2" fmla="*/ 257442 h 257442"/>
                <a:gd name="connsiteX3" fmla="*/ 0 w 1652915"/>
                <a:gd name="connsiteY3" fmla="*/ 0 h 257442"/>
                <a:gd name="connsiteX0" fmla="*/ 1652915 w 1652915"/>
                <a:gd name="connsiteY0" fmla="*/ 0 h 257442"/>
                <a:gd name="connsiteX1" fmla="*/ 1598194 w 1652915"/>
                <a:gd name="connsiteY1" fmla="*/ 257442 h 257442"/>
                <a:gd name="connsiteX2" fmla="*/ 0 w 1652915"/>
                <a:gd name="connsiteY2" fmla="*/ 257442 h 257442"/>
                <a:gd name="connsiteX3" fmla="*/ 0 w 1652915"/>
                <a:gd name="connsiteY3" fmla="*/ 0 h 257442"/>
                <a:gd name="connsiteX0" fmla="*/ 1652915 w 1652915"/>
                <a:gd name="connsiteY0" fmla="*/ 0 h 257442"/>
                <a:gd name="connsiteX1" fmla="*/ 1598194 w 1652915"/>
                <a:gd name="connsiteY1" fmla="*/ 257442 h 257442"/>
                <a:gd name="connsiteX2" fmla="*/ 0 w 1652915"/>
                <a:gd name="connsiteY2" fmla="*/ 257442 h 257442"/>
                <a:gd name="connsiteX3" fmla="*/ 0 w 1652915"/>
                <a:gd name="connsiteY3" fmla="*/ 0 h 257442"/>
                <a:gd name="connsiteX0" fmla="*/ 1830849 w 1830849"/>
                <a:gd name="connsiteY0" fmla="*/ 0 h 257442"/>
                <a:gd name="connsiteX1" fmla="*/ 1598194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  <a:gd name="connsiteX0" fmla="*/ 950802 w 2273060"/>
                <a:gd name="connsiteY0" fmla="*/ 0 h 257442"/>
                <a:gd name="connsiteX1" fmla="*/ 2273060 w 2273060"/>
                <a:gd name="connsiteY1" fmla="*/ 257442 h 257442"/>
                <a:gd name="connsiteX2" fmla="*/ 1 w 2273060"/>
                <a:gd name="connsiteY2" fmla="*/ 257442 h 257442"/>
                <a:gd name="connsiteX3" fmla="*/ 0 w 2273060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2 w 950802"/>
                <a:gd name="connsiteY0" fmla="*/ 0 h 257442"/>
                <a:gd name="connsiteX1" fmla="*/ 896081 w 950802"/>
                <a:gd name="connsiteY1" fmla="*/ 257442 h 257442"/>
                <a:gd name="connsiteX2" fmla="*/ 1 w 950802"/>
                <a:gd name="connsiteY2" fmla="*/ 257442 h 257442"/>
                <a:gd name="connsiteX3" fmla="*/ 0 w 950802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1128734 w 1128734"/>
                <a:gd name="connsiteY0" fmla="*/ 0 h 257442"/>
                <a:gd name="connsiteX1" fmla="*/ 896080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2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128735 w 1128735"/>
                <a:gd name="connsiteY0" fmla="*/ 0 h 257442"/>
                <a:gd name="connsiteX1" fmla="*/ 1074013 w 1128735"/>
                <a:gd name="connsiteY1" fmla="*/ 257442 h 257442"/>
                <a:gd name="connsiteX2" fmla="*/ 0 w 1128735"/>
                <a:gd name="connsiteY2" fmla="*/ 257442 h 257442"/>
                <a:gd name="connsiteX3" fmla="*/ 1 w 1128735"/>
                <a:gd name="connsiteY3" fmla="*/ 0 h 257442"/>
                <a:gd name="connsiteX0" fmla="*/ 1314683 w 1314683"/>
                <a:gd name="connsiteY0" fmla="*/ 0 h 257442"/>
                <a:gd name="connsiteX1" fmla="*/ 1074013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0 w 1314683"/>
                <a:gd name="connsiteY2" fmla="*/ 257442 h 257442"/>
                <a:gd name="connsiteX3" fmla="*/ 1 w 1314683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0 w 1314682"/>
                <a:gd name="connsiteY3" fmla="*/ 0 h 257442"/>
                <a:gd name="connsiteX0" fmla="*/ 1314683 w 1314683"/>
                <a:gd name="connsiteY0" fmla="*/ 0 h 257442"/>
                <a:gd name="connsiteX1" fmla="*/ 1259962 w 1314683"/>
                <a:gd name="connsiteY1" fmla="*/ 257442 h 257442"/>
                <a:gd name="connsiteX2" fmla="*/ 1 w 1314683"/>
                <a:gd name="connsiteY2" fmla="*/ 257442 h 257442"/>
                <a:gd name="connsiteX3" fmla="*/ 0 w 1314683"/>
                <a:gd name="connsiteY3" fmla="*/ 0 h 257442"/>
                <a:gd name="connsiteX0" fmla="*/ 1474984 w 1474984"/>
                <a:gd name="connsiteY0" fmla="*/ 0 h 257442"/>
                <a:gd name="connsiteX1" fmla="*/ 12599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1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474984 w 1474984"/>
                <a:gd name="connsiteY0" fmla="*/ 0 h 257442"/>
                <a:gd name="connsiteX1" fmla="*/ 1420262 w 1474984"/>
                <a:gd name="connsiteY1" fmla="*/ 257442 h 257442"/>
                <a:gd name="connsiteX2" fmla="*/ 0 w 1474984"/>
                <a:gd name="connsiteY2" fmla="*/ 257442 h 257442"/>
                <a:gd name="connsiteX3" fmla="*/ 0 w 1474984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803599 w 1803599"/>
                <a:gd name="connsiteY0" fmla="*/ 0 h 257442"/>
                <a:gd name="connsiteX1" fmla="*/ 1580562 w 1803599"/>
                <a:gd name="connsiteY1" fmla="*/ 257442 h 257442"/>
                <a:gd name="connsiteX2" fmla="*/ 0 w 1803599"/>
                <a:gd name="connsiteY2" fmla="*/ 257442 h 257442"/>
                <a:gd name="connsiteX3" fmla="*/ 0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0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0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0 w 1803599"/>
                <a:gd name="connsiteY3" fmla="*/ 0 h 257442"/>
                <a:gd name="connsiteX0" fmla="*/ 1963899 w 1963899"/>
                <a:gd name="connsiteY0" fmla="*/ 0 h 257442"/>
                <a:gd name="connsiteX1" fmla="*/ 1748878 w 1963899"/>
                <a:gd name="connsiteY1" fmla="*/ 257442 h 257442"/>
                <a:gd name="connsiteX2" fmla="*/ 0 w 1963899"/>
                <a:gd name="connsiteY2" fmla="*/ 257442 h 257442"/>
                <a:gd name="connsiteX3" fmla="*/ 0 w 1963899"/>
                <a:gd name="connsiteY3" fmla="*/ 0 h 257442"/>
                <a:gd name="connsiteX0" fmla="*/ 1963899 w 1963899"/>
                <a:gd name="connsiteY0" fmla="*/ 0 h 257442"/>
                <a:gd name="connsiteX1" fmla="*/ 1909178 w 1963899"/>
                <a:gd name="connsiteY1" fmla="*/ 257442 h 257442"/>
                <a:gd name="connsiteX2" fmla="*/ 0 w 1963899"/>
                <a:gd name="connsiteY2" fmla="*/ 257442 h 257442"/>
                <a:gd name="connsiteX3" fmla="*/ 0 w 1963899"/>
                <a:gd name="connsiteY3" fmla="*/ 0 h 257442"/>
                <a:gd name="connsiteX0" fmla="*/ 1963899 w 1963899"/>
                <a:gd name="connsiteY0" fmla="*/ 0 h 257442"/>
                <a:gd name="connsiteX1" fmla="*/ 1909178 w 1963899"/>
                <a:gd name="connsiteY1" fmla="*/ 257442 h 257442"/>
                <a:gd name="connsiteX2" fmla="*/ 0 w 1963899"/>
                <a:gd name="connsiteY2" fmla="*/ 257442 h 257442"/>
                <a:gd name="connsiteX3" fmla="*/ 0 w 1963899"/>
                <a:gd name="connsiteY3" fmla="*/ 0 h 257442"/>
                <a:gd name="connsiteX0" fmla="*/ 1963899 w 1963899"/>
                <a:gd name="connsiteY0" fmla="*/ 0 h 257442"/>
                <a:gd name="connsiteX1" fmla="*/ 1909178 w 1963899"/>
                <a:gd name="connsiteY1" fmla="*/ 257442 h 257442"/>
                <a:gd name="connsiteX2" fmla="*/ 0 w 1963899"/>
                <a:gd name="connsiteY2" fmla="*/ 257442 h 257442"/>
                <a:gd name="connsiteX3" fmla="*/ 0 w 1963899"/>
                <a:gd name="connsiteY3" fmla="*/ 0 h 257442"/>
                <a:gd name="connsiteX0" fmla="*/ 2132214 w 2132214"/>
                <a:gd name="connsiteY0" fmla="*/ 0 h 257442"/>
                <a:gd name="connsiteX1" fmla="*/ 1909178 w 2132214"/>
                <a:gd name="connsiteY1" fmla="*/ 257442 h 257442"/>
                <a:gd name="connsiteX2" fmla="*/ 0 w 2132214"/>
                <a:gd name="connsiteY2" fmla="*/ 257442 h 257442"/>
                <a:gd name="connsiteX3" fmla="*/ 0 w 2132214"/>
                <a:gd name="connsiteY3" fmla="*/ 0 h 257442"/>
                <a:gd name="connsiteX0" fmla="*/ 2132214 w 2132214"/>
                <a:gd name="connsiteY0" fmla="*/ 0 h 257442"/>
                <a:gd name="connsiteX1" fmla="*/ 2077492 w 2132214"/>
                <a:gd name="connsiteY1" fmla="*/ 257442 h 257442"/>
                <a:gd name="connsiteX2" fmla="*/ 0 w 2132214"/>
                <a:gd name="connsiteY2" fmla="*/ 257442 h 257442"/>
                <a:gd name="connsiteX3" fmla="*/ 0 w 2132214"/>
                <a:gd name="connsiteY3" fmla="*/ 0 h 257442"/>
                <a:gd name="connsiteX0" fmla="*/ 2132215 w 2132215"/>
                <a:gd name="connsiteY0" fmla="*/ 0 h 257442"/>
                <a:gd name="connsiteX1" fmla="*/ 2077493 w 2132215"/>
                <a:gd name="connsiteY1" fmla="*/ 257442 h 257442"/>
                <a:gd name="connsiteX2" fmla="*/ 0 w 2132215"/>
                <a:gd name="connsiteY2" fmla="*/ 257442 h 257442"/>
                <a:gd name="connsiteX3" fmla="*/ 1 w 2132215"/>
                <a:gd name="connsiteY3" fmla="*/ 0 h 257442"/>
                <a:gd name="connsiteX0" fmla="*/ 2132215 w 2132215"/>
                <a:gd name="connsiteY0" fmla="*/ 0 h 257442"/>
                <a:gd name="connsiteX1" fmla="*/ 2077493 w 2132215"/>
                <a:gd name="connsiteY1" fmla="*/ 257442 h 257442"/>
                <a:gd name="connsiteX2" fmla="*/ 0 w 2132215"/>
                <a:gd name="connsiteY2" fmla="*/ 257442 h 257442"/>
                <a:gd name="connsiteX3" fmla="*/ 1 w 2132215"/>
                <a:gd name="connsiteY3" fmla="*/ 0 h 257442"/>
                <a:gd name="connsiteX0" fmla="*/ 2273087 w 2273087"/>
                <a:gd name="connsiteY0" fmla="*/ 0 h 257442"/>
                <a:gd name="connsiteX1" fmla="*/ 2077493 w 2273087"/>
                <a:gd name="connsiteY1" fmla="*/ 257442 h 257442"/>
                <a:gd name="connsiteX2" fmla="*/ 0 w 2273087"/>
                <a:gd name="connsiteY2" fmla="*/ 257442 h 257442"/>
                <a:gd name="connsiteX3" fmla="*/ 1 w 2273087"/>
                <a:gd name="connsiteY3" fmla="*/ 0 h 257442"/>
                <a:gd name="connsiteX0" fmla="*/ 2273087 w 2273087"/>
                <a:gd name="connsiteY0" fmla="*/ 0 h 257442"/>
                <a:gd name="connsiteX1" fmla="*/ 2218366 w 2273087"/>
                <a:gd name="connsiteY1" fmla="*/ 257442 h 257442"/>
                <a:gd name="connsiteX2" fmla="*/ 0 w 2273087"/>
                <a:gd name="connsiteY2" fmla="*/ 257442 h 257442"/>
                <a:gd name="connsiteX3" fmla="*/ 1 w 2273087"/>
                <a:gd name="connsiteY3" fmla="*/ 0 h 257442"/>
                <a:gd name="connsiteX0" fmla="*/ 2273086 w 2273086"/>
                <a:gd name="connsiteY0" fmla="*/ 0 h 257442"/>
                <a:gd name="connsiteX1" fmla="*/ 2218365 w 2273086"/>
                <a:gd name="connsiteY1" fmla="*/ 257442 h 257442"/>
                <a:gd name="connsiteX2" fmla="*/ 0 w 2273086"/>
                <a:gd name="connsiteY2" fmla="*/ 257442 h 257442"/>
                <a:gd name="connsiteX3" fmla="*/ 0 w 2273086"/>
                <a:gd name="connsiteY3" fmla="*/ 0 h 257442"/>
                <a:gd name="connsiteX0" fmla="*/ 2273087 w 2273087"/>
                <a:gd name="connsiteY0" fmla="*/ 0 h 257442"/>
                <a:gd name="connsiteX1" fmla="*/ 2218366 w 2273087"/>
                <a:gd name="connsiteY1" fmla="*/ 257442 h 257442"/>
                <a:gd name="connsiteX2" fmla="*/ 1 w 2273087"/>
                <a:gd name="connsiteY2" fmla="*/ 257442 h 257442"/>
                <a:gd name="connsiteX3" fmla="*/ 0 w 2273087"/>
                <a:gd name="connsiteY3" fmla="*/ 0 h 257442"/>
                <a:gd name="connsiteX0" fmla="*/ 2374076 w 2374076"/>
                <a:gd name="connsiteY0" fmla="*/ 0 h 257442"/>
                <a:gd name="connsiteX1" fmla="*/ 2218366 w 2374076"/>
                <a:gd name="connsiteY1" fmla="*/ 257442 h 257442"/>
                <a:gd name="connsiteX2" fmla="*/ 1 w 2374076"/>
                <a:gd name="connsiteY2" fmla="*/ 257442 h 257442"/>
                <a:gd name="connsiteX3" fmla="*/ 0 w 2374076"/>
                <a:gd name="connsiteY3" fmla="*/ 0 h 257442"/>
                <a:gd name="connsiteX0" fmla="*/ 2374076 w 2374076"/>
                <a:gd name="connsiteY0" fmla="*/ 0 h 257442"/>
                <a:gd name="connsiteX1" fmla="*/ 2319354 w 2374076"/>
                <a:gd name="connsiteY1" fmla="*/ 257442 h 257442"/>
                <a:gd name="connsiteX2" fmla="*/ 1 w 2374076"/>
                <a:gd name="connsiteY2" fmla="*/ 257442 h 257442"/>
                <a:gd name="connsiteX3" fmla="*/ 0 w 2374076"/>
                <a:gd name="connsiteY3" fmla="*/ 0 h 257442"/>
                <a:gd name="connsiteX0" fmla="*/ 2374076 w 2374076"/>
                <a:gd name="connsiteY0" fmla="*/ 0 h 257442"/>
                <a:gd name="connsiteX1" fmla="*/ 2319354 w 2374076"/>
                <a:gd name="connsiteY1" fmla="*/ 257442 h 257442"/>
                <a:gd name="connsiteX2" fmla="*/ 0 w 2374076"/>
                <a:gd name="connsiteY2" fmla="*/ 257442 h 257442"/>
                <a:gd name="connsiteX3" fmla="*/ 0 w 2374076"/>
                <a:gd name="connsiteY3" fmla="*/ 0 h 257442"/>
                <a:gd name="connsiteX0" fmla="*/ 2374076 w 2374076"/>
                <a:gd name="connsiteY0" fmla="*/ 0 h 257442"/>
                <a:gd name="connsiteX1" fmla="*/ 2319354 w 2374076"/>
                <a:gd name="connsiteY1" fmla="*/ 257442 h 257442"/>
                <a:gd name="connsiteX2" fmla="*/ 0 w 2374076"/>
                <a:gd name="connsiteY2" fmla="*/ 257442 h 257442"/>
                <a:gd name="connsiteX3" fmla="*/ 0 w 2374076"/>
                <a:gd name="connsiteY3" fmla="*/ 0 h 257442"/>
                <a:gd name="connsiteX0" fmla="*/ 2552009 w 2552009"/>
                <a:gd name="connsiteY0" fmla="*/ 0 h 257442"/>
                <a:gd name="connsiteX1" fmla="*/ 2319354 w 2552009"/>
                <a:gd name="connsiteY1" fmla="*/ 257442 h 257442"/>
                <a:gd name="connsiteX2" fmla="*/ 0 w 2552009"/>
                <a:gd name="connsiteY2" fmla="*/ 257442 h 257442"/>
                <a:gd name="connsiteX3" fmla="*/ 0 w 2552009"/>
                <a:gd name="connsiteY3" fmla="*/ 0 h 257442"/>
                <a:gd name="connsiteX0" fmla="*/ 2552009 w 2552009"/>
                <a:gd name="connsiteY0" fmla="*/ 0 h 257442"/>
                <a:gd name="connsiteX1" fmla="*/ 2497288 w 2552009"/>
                <a:gd name="connsiteY1" fmla="*/ 257442 h 257442"/>
                <a:gd name="connsiteX2" fmla="*/ 0 w 2552009"/>
                <a:gd name="connsiteY2" fmla="*/ 257442 h 257442"/>
                <a:gd name="connsiteX3" fmla="*/ 0 w 2552009"/>
                <a:gd name="connsiteY3" fmla="*/ 0 h 257442"/>
                <a:gd name="connsiteX0" fmla="*/ 2552009 w 2552009"/>
                <a:gd name="connsiteY0" fmla="*/ 0 h 257442"/>
                <a:gd name="connsiteX1" fmla="*/ 2497288 w 2552009"/>
                <a:gd name="connsiteY1" fmla="*/ 257442 h 257442"/>
                <a:gd name="connsiteX2" fmla="*/ 0 w 2552009"/>
                <a:gd name="connsiteY2" fmla="*/ 257442 h 257442"/>
                <a:gd name="connsiteX3" fmla="*/ 0 w 2552009"/>
                <a:gd name="connsiteY3" fmla="*/ 0 h 257442"/>
                <a:gd name="connsiteX0" fmla="*/ 2552009 w 2552009"/>
                <a:gd name="connsiteY0" fmla="*/ 0 h 257442"/>
                <a:gd name="connsiteX1" fmla="*/ 2497288 w 2552009"/>
                <a:gd name="connsiteY1" fmla="*/ 257442 h 257442"/>
                <a:gd name="connsiteX2" fmla="*/ 0 w 2552009"/>
                <a:gd name="connsiteY2" fmla="*/ 257442 h 257442"/>
                <a:gd name="connsiteX3" fmla="*/ 0 w 2552009"/>
                <a:gd name="connsiteY3" fmla="*/ 0 h 257442"/>
                <a:gd name="connsiteX0" fmla="*/ 2720324 w 2720324"/>
                <a:gd name="connsiteY0" fmla="*/ 0 h 257442"/>
                <a:gd name="connsiteX1" fmla="*/ 2497288 w 2720324"/>
                <a:gd name="connsiteY1" fmla="*/ 257442 h 257442"/>
                <a:gd name="connsiteX2" fmla="*/ 0 w 2720324"/>
                <a:gd name="connsiteY2" fmla="*/ 257442 h 257442"/>
                <a:gd name="connsiteX3" fmla="*/ 0 w 2720324"/>
                <a:gd name="connsiteY3" fmla="*/ 0 h 257442"/>
                <a:gd name="connsiteX0" fmla="*/ 2720324 w 2720324"/>
                <a:gd name="connsiteY0" fmla="*/ 0 h 257442"/>
                <a:gd name="connsiteX1" fmla="*/ 2665602 w 2720324"/>
                <a:gd name="connsiteY1" fmla="*/ 257442 h 257442"/>
                <a:gd name="connsiteX2" fmla="*/ 0 w 2720324"/>
                <a:gd name="connsiteY2" fmla="*/ 257442 h 257442"/>
                <a:gd name="connsiteX3" fmla="*/ 0 w 2720324"/>
                <a:gd name="connsiteY3" fmla="*/ 0 h 257442"/>
                <a:gd name="connsiteX0" fmla="*/ 2720325 w 2720325"/>
                <a:gd name="connsiteY0" fmla="*/ 0 h 257442"/>
                <a:gd name="connsiteX1" fmla="*/ 2665603 w 2720325"/>
                <a:gd name="connsiteY1" fmla="*/ 257442 h 257442"/>
                <a:gd name="connsiteX2" fmla="*/ 0 w 2720325"/>
                <a:gd name="connsiteY2" fmla="*/ 257442 h 257442"/>
                <a:gd name="connsiteX3" fmla="*/ 1 w 2720325"/>
                <a:gd name="connsiteY3" fmla="*/ 0 h 257442"/>
                <a:gd name="connsiteX0" fmla="*/ 2720325 w 2720325"/>
                <a:gd name="connsiteY0" fmla="*/ 0 h 257442"/>
                <a:gd name="connsiteX1" fmla="*/ 2665603 w 2720325"/>
                <a:gd name="connsiteY1" fmla="*/ 257442 h 257442"/>
                <a:gd name="connsiteX2" fmla="*/ 0 w 2720325"/>
                <a:gd name="connsiteY2" fmla="*/ 257442 h 257442"/>
                <a:gd name="connsiteX3" fmla="*/ 1 w 2720325"/>
                <a:gd name="connsiteY3" fmla="*/ 0 h 257442"/>
                <a:gd name="connsiteX0" fmla="*/ 2552010 w 2665603"/>
                <a:gd name="connsiteY0" fmla="*/ 0 h 257442"/>
                <a:gd name="connsiteX1" fmla="*/ 2665603 w 2665603"/>
                <a:gd name="connsiteY1" fmla="*/ 257442 h 257442"/>
                <a:gd name="connsiteX2" fmla="*/ 0 w 2665603"/>
                <a:gd name="connsiteY2" fmla="*/ 257442 h 257442"/>
                <a:gd name="connsiteX3" fmla="*/ 1 w 2665603"/>
                <a:gd name="connsiteY3" fmla="*/ 0 h 257442"/>
                <a:gd name="connsiteX0" fmla="*/ 2552010 w 2552010"/>
                <a:gd name="connsiteY0" fmla="*/ 0 h 257442"/>
                <a:gd name="connsiteX1" fmla="*/ 2497289 w 2552010"/>
                <a:gd name="connsiteY1" fmla="*/ 257442 h 257442"/>
                <a:gd name="connsiteX2" fmla="*/ 0 w 2552010"/>
                <a:gd name="connsiteY2" fmla="*/ 257442 h 257442"/>
                <a:gd name="connsiteX3" fmla="*/ 1 w 2552010"/>
                <a:gd name="connsiteY3" fmla="*/ 0 h 257442"/>
                <a:gd name="connsiteX0" fmla="*/ 2552009 w 2552009"/>
                <a:gd name="connsiteY0" fmla="*/ 0 h 257442"/>
                <a:gd name="connsiteX1" fmla="*/ 2497288 w 2552009"/>
                <a:gd name="connsiteY1" fmla="*/ 257442 h 257442"/>
                <a:gd name="connsiteX2" fmla="*/ 0 w 2552009"/>
                <a:gd name="connsiteY2" fmla="*/ 257442 h 257442"/>
                <a:gd name="connsiteX3" fmla="*/ 0 w 2552009"/>
                <a:gd name="connsiteY3" fmla="*/ 0 h 257442"/>
                <a:gd name="connsiteX0" fmla="*/ 2552009 w 2552009"/>
                <a:gd name="connsiteY0" fmla="*/ 0 h 257442"/>
                <a:gd name="connsiteX1" fmla="*/ 2497288 w 2552009"/>
                <a:gd name="connsiteY1" fmla="*/ 257442 h 257442"/>
                <a:gd name="connsiteX2" fmla="*/ 0 w 2552009"/>
                <a:gd name="connsiteY2" fmla="*/ 257442 h 257442"/>
                <a:gd name="connsiteX3" fmla="*/ 0 w 2552009"/>
                <a:gd name="connsiteY3" fmla="*/ 0 h 257442"/>
                <a:gd name="connsiteX0" fmla="*/ 2374075 w 2497288"/>
                <a:gd name="connsiteY0" fmla="*/ 0 h 257442"/>
                <a:gd name="connsiteX1" fmla="*/ 2497288 w 2497288"/>
                <a:gd name="connsiteY1" fmla="*/ 257442 h 257442"/>
                <a:gd name="connsiteX2" fmla="*/ 0 w 2497288"/>
                <a:gd name="connsiteY2" fmla="*/ 257442 h 257442"/>
                <a:gd name="connsiteX3" fmla="*/ 0 w 2497288"/>
                <a:gd name="connsiteY3" fmla="*/ 0 h 257442"/>
                <a:gd name="connsiteX0" fmla="*/ 2374075 w 2374075"/>
                <a:gd name="connsiteY0" fmla="*/ 0 h 257442"/>
                <a:gd name="connsiteX1" fmla="*/ 2319354 w 2374075"/>
                <a:gd name="connsiteY1" fmla="*/ 257442 h 257442"/>
                <a:gd name="connsiteX2" fmla="*/ 0 w 2374075"/>
                <a:gd name="connsiteY2" fmla="*/ 257442 h 257442"/>
                <a:gd name="connsiteX3" fmla="*/ 0 w 2374075"/>
                <a:gd name="connsiteY3" fmla="*/ 0 h 257442"/>
                <a:gd name="connsiteX0" fmla="*/ 2374075 w 2374075"/>
                <a:gd name="connsiteY0" fmla="*/ 0 h 257442"/>
                <a:gd name="connsiteX1" fmla="*/ 2319354 w 2374075"/>
                <a:gd name="connsiteY1" fmla="*/ 257442 h 257442"/>
                <a:gd name="connsiteX2" fmla="*/ 1 w 2374075"/>
                <a:gd name="connsiteY2" fmla="*/ 257442 h 257442"/>
                <a:gd name="connsiteX3" fmla="*/ 0 w 2374075"/>
                <a:gd name="connsiteY3" fmla="*/ 0 h 257442"/>
                <a:gd name="connsiteX0" fmla="*/ 2374074 w 2374074"/>
                <a:gd name="connsiteY0" fmla="*/ 0 h 257442"/>
                <a:gd name="connsiteX1" fmla="*/ 2319353 w 2374074"/>
                <a:gd name="connsiteY1" fmla="*/ 257442 h 257442"/>
                <a:gd name="connsiteX2" fmla="*/ 0 w 2374074"/>
                <a:gd name="connsiteY2" fmla="*/ 257442 h 257442"/>
                <a:gd name="connsiteX3" fmla="*/ 0 w 2374074"/>
                <a:gd name="connsiteY3" fmla="*/ 0 h 257442"/>
                <a:gd name="connsiteX0" fmla="*/ 2273085 w 2319353"/>
                <a:gd name="connsiteY0" fmla="*/ 0 h 257442"/>
                <a:gd name="connsiteX1" fmla="*/ 2319353 w 2319353"/>
                <a:gd name="connsiteY1" fmla="*/ 257442 h 257442"/>
                <a:gd name="connsiteX2" fmla="*/ 0 w 2319353"/>
                <a:gd name="connsiteY2" fmla="*/ 257442 h 257442"/>
                <a:gd name="connsiteX3" fmla="*/ 0 w 2319353"/>
                <a:gd name="connsiteY3" fmla="*/ 0 h 257442"/>
                <a:gd name="connsiteX0" fmla="*/ 2273085 w 2273085"/>
                <a:gd name="connsiteY0" fmla="*/ 0 h 257442"/>
                <a:gd name="connsiteX1" fmla="*/ 2218365 w 2273085"/>
                <a:gd name="connsiteY1" fmla="*/ 257442 h 257442"/>
                <a:gd name="connsiteX2" fmla="*/ 0 w 2273085"/>
                <a:gd name="connsiteY2" fmla="*/ 257442 h 257442"/>
                <a:gd name="connsiteX3" fmla="*/ 0 w 2273085"/>
                <a:gd name="connsiteY3" fmla="*/ 0 h 257442"/>
                <a:gd name="connsiteX0" fmla="*/ 2273085 w 2273085"/>
                <a:gd name="connsiteY0" fmla="*/ 0 h 257442"/>
                <a:gd name="connsiteX1" fmla="*/ 2218365 w 2273085"/>
                <a:gd name="connsiteY1" fmla="*/ 257442 h 257442"/>
                <a:gd name="connsiteX2" fmla="*/ 0 w 2273085"/>
                <a:gd name="connsiteY2" fmla="*/ 257442 h 257442"/>
                <a:gd name="connsiteX3" fmla="*/ 0 w 2273085"/>
                <a:gd name="connsiteY3" fmla="*/ 0 h 257442"/>
                <a:gd name="connsiteX0" fmla="*/ 2273085 w 2273085"/>
                <a:gd name="connsiteY0" fmla="*/ 0 h 257442"/>
                <a:gd name="connsiteX1" fmla="*/ 2218365 w 2273085"/>
                <a:gd name="connsiteY1" fmla="*/ 257442 h 257442"/>
                <a:gd name="connsiteX2" fmla="*/ 0 w 2273085"/>
                <a:gd name="connsiteY2" fmla="*/ 257442 h 257442"/>
                <a:gd name="connsiteX3" fmla="*/ 0 w 2273085"/>
                <a:gd name="connsiteY3" fmla="*/ 0 h 257442"/>
                <a:gd name="connsiteX0" fmla="*/ 2132214 w 2218365"/>
                <a:gd name="connsiteY0" fmla="*/ 0 h 257442"/>
                <a:gd name="connsiteX1" fmla="*/ 2218365 w 2218365"/>
                <a:gd name="connsiteY1" fmla="*/ 257442 h 257442"/>
                <a:gd name="connsiteX2" fmla="*/ 0 w 2218365"/>
                <a:gd name="connsiteY2" fmla="*/ 257442 h 257442"/>
                <a:gd name="connsiteX3" fmla="*/ 0 w 2218365"/>
                <a:gd name="connsiteY3" fmla="*/ 0 h 257442"/>
                <a:gd name="connsiteX0" fmla="*/ 2132214 w 2132214"/>
                <a:gd name="connsiteY0" fmla="*/ 0 h 257442"/>
                <a:gd name="connsiteX1" fmla="*/ 2077493 w 2132214"/>
                <a:gd name="connsiteY1" fmla="*/ 257442 h 257442"/>
                <a:gd name="connsiteX2" fmla="*/ 0 w 2132214"/>
                <a:gd name="connsiteY2" fmla="*/ 257442 h 257442"/>
                <a:gd name="connsiteX3" fmla="*/ 0 w 2132214"/>
                <a:gd name="connsiteY3" fmla="*/ 0 h 257442"/>
                <a:gd name="connsiteX0" fmla="*/ 2132214 w 2132214"/>
                <a:gd name="connsiteY0" fmla="*/ 0 h 257442"/>
                <a:gd name="connsiteX1" fmla="*/ 2077493 w 2132214"/>
                <a:gd name="connsiteY1" fmla="*/ 257442 h 257442"/>
                <a:gd name="connsiteX2" fmla="*/ 0 w 2132214"/>
                <a:gd name="connsiteY2" fmla="*/ 257442 h 257442"/>
                <a:gd name="connsiteX3" fmla="*/ 0 w 2132214"/>
                <a:gd name="connsiteY3" fmla="*/ 0 h 257442"/>
                <a:gd name="connsiteX0" fmla="*/ 2132214 w 2132214"/>
                <a:gd name="connsiteY0" fmla="*/ 0 h 257442"/>
                <a:gd name="connsiteX1" fmla="*/ 2077493 w 2132214"/>
                <a:gd name="connsiteY1" fmla="*/ 257442 h 257442"/>
                <a:gd name="connsiteX2" fmla="*/ 0 w 2132214"/>
                <a:gd name="connsiteY2" fmla="*/ 257442 h 257442"/>
                <a:gd name="connsiteX3" fmla="*/ 0 w 2132214"/>
                <a:gd name="connsiteY3" fmla="*/ 0 h 257442"/>
                <a:gd name="connsiteX0" fmla="*/ 1963899 w 2077493"/>
                <a:gd name="connsiteY0" fmla="*/ 0 h 257442"/>
                <a:gd name="connsiteX1" fmla="*/ 2077493 w 2077493"/>
                <a:gd name="connsiteY1" fmla="*/ 257442 h 257442"/>
                <a:gd name="connsiteX2" fmla="*/ 0 w 2077493"/>
                <a:gd name="connsiteY2" fmla="*/ 257442 h 257442"/>
                <a:gd name="connsiteX3" fmla="*/ 0 w 2077493"/>
                <a:gd name="connsiteY3" fmla="*/ 0 h 257442"/>
                <a:gd name="connsiteX0" fmla="*/ 1963899 w 1963899"/>
                <a:gd name="connsiteY0" fmla="*/ 0 h 257442"/>
                <a:gd name="connsiteX1" fmla="*/ 1909179 w 1963899"/>
                <a:gd name="connsiteY1" fmla="*/ 257442 h 257442"/>
                <a:gd name="connsiteX2" fmla="*/ 0 w 1963899"/>
                <a:gd name="connsiteY2" fmla="*/ 257442 h 257442"/>
                <a:gd name="connsiteX3" fmla="*/ 0 w 1963899"/>
                <a:gd name="connsiteY3" fmla="*/ 0 h 257442"/>
                <a:gd name="connsiteX0" fmla="*/ 1963899 w 1963899"/>
                <a:gd name="connsiteY0" fmla="*/ 0 h 257442"/>
                <a:gd name="connsiteX1" fmla="*/ 1909179 w 1963899"/>
                <a:gd name="connsiteY1" fmla="*/ 257442 h 257442"/>
                <a:gd name="connsiteX2" fmla="*/ 1 w 1963899"/>
                <a:gd name="connsiteY2" fmla="*/ 257442 h 257442"/>
                <a:gd name="connsiteX3" fmla="*/ 0 w 1963899"/>
                <a:gd name="connsiteY3" fmla="*/ 0 h 257442"/>
                <a:gd name="connsiteX0" fmla="*/ 1963898 w 1963898"/>
                <a:gd name="connsiteY0" fmla="*/ 0 h 257442"/>
                <a:gd name="connsiteX1" fmla="*/ 1909178 w 1963898"/>
                <a:gd name="connsiteY1" fmla="*/ 257442 h 257442"/>
                <a:gd name="connsiteX2" fmla="*/ 0 w 1963898"/>
                <a:gd name="connsiteY2" fmla="*/ 257442 h 257442"/>
                <a:gd name="connsiteX3" fmla="*/ 0 w 1963898"/>
                <a:gd name="connsiteY3" fmla="*/ 0 h 257442"/>
                <a:gd name="connsiteX0" fmla="*/ 1803598 w 1909178"/>
                <a:gd name="connsiteY0" fmla="*/ 0 h 257442"/>
                <a:gd name="connsiteX1" fmla="*/ 1909178 w 1909178"/>
                <a:gd name="connsiteY1" fmla="*/ 257442 h 257442"/>
                <a:gd name="connsiteX2" fmla="*/ 0 w 1909178"/>
                <a:gd name="connsiteY2" fmla="*/ 257442 h 257442"/>
                <a:gd name="connsiteX3" fmla="*/ 0 w 1909178"/>
                <a:gd name="connsiteY3" fmla="*/ 0 h 257442"/>
                <a:gd name="connsiteX0" fmla="*/ 1803598 w 1803598"/>
                <a:gd name="connsiteY0" fmla="*/ 0 h 257442"/>
                <a:gd name="connsiteX1" fmla="*/ 1748877 w 1803598"/>
                <a:gd name="connsiteY1" fmla="*/ 257442 h 257442"/>
                <a:gd name="connsiteX2" fmla="*/ 0 w 1803598"/>
                <a:gd name="connsiteY2" fmla="*/ 257442 h 257442"/>
                <a:gd name="connsiteX3" fmla="*/ 0 w 1803598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1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1 w 1803599"/>
                <a:gd name="connsiteY3" fmla="*/ 0 h 257442"/>
                <a:gd name="connsiteX0" fmla="*/ 1635284 w 1748878"/>
                <a:gd name="connsiteY0" fmla="*/ 0 h 257442"/>
                <a:gd name="connsiteX1" fmla="*/ 1748878 w 1748878"/>
                <a:gd name="connsiteY1" fmla="*/ 257442 h 257442"/>
                <a:gd name="connsiteX2" fmla="*/ 0 w 1748878"/>
                <a:gd name="connsiteY2" fmla="*/ 257442 h 257442"/>
                <a:gd name="connsiteX3" fmla="*/ 1 w 1748878"/>
                <a:gd name="connsiteY3" fmla="*/ 0 h 257442"/>
                <a:gd name="connsiteX0" fmla="*/ 1635284 w 1635284"/>
                <a:gd name="connsiteY0" fmla="*/ 0 h 257442"/>
                <a:gd name="connsiteX1" fmla="*/ 1580563 w 1635284"/>
                <a:gd name="connsiteY1" fmla="*/ 257442 h 257442"/>
                <a:gd name="connsiteX2" fmla="*/ 0 w 1635284"/>
                <a:gd name="connsiteY2" fmla="*/ 257442 h 257442"/>
                <a:gd name="connsiteX3" fmla="*/ 1 w 1635284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0 w 1635283"/>
                <a:gd name="connsiteY3" fmla="*/ 0 h 257442"/>
                <a:gd name="connsiteX0" fmla="*/ 1474983 w 1580562"/>
                <a:gd name="connsiteY0" fmla="*/ 0 h 257442"/>
                <a:gd name="connsiteX1" fmla="*/ 1580562 w 1580562"/>
                <a:gd name="connsiteY1" fmla="*/ 257442 h 257442"/>
                <a:gd name="connsiteX2" fmla="*/ 0 w 1580562"/>
                <a:gd name="connsiteY2" fmla="*/ 257442 h 257442"/>
                <a:gd name="connsiteX3" fmla="*/ 0 w 1580562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0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1 w 1474983"/>
                <a:gd name="connsiteY2" fmla="*/ 257442 h 257442"/>
                <a:gd name="connsiteX3" fmla="*/ 0 w 1474983"/>
                <a:gd name="connsiteY3" fmla="*/ 0 h 257442"/>
                <a:gd name="connsiteX0" fmla="*/ 1474982 w 1474982"/>
                <a:gd name="connsiteY0" fmla="*/ 0 h 257442"/>
                <a:gd name="connsiteX1" fmla="*/ 1420261 w 1474982"/>
                <a:gd name="connsiteY1" fmla="*/ 257442 h 257442"/>
                <a:gd name="connsiteX2" fmla="*/ 0 w 1474982"/>
                <a:gd name="connsiteY2" fmla="*/ 257442 h 257442"/>
                <a:gd name="connsiteX3" fmla="*/ 0 w 1474982"/>
                <a:gd name="connsiteY3" fmla="*/ 0 h 257442"/>
                <a:gd name="connsiteX0" fmla="*/ 1314681 w 1420261"/>
                <a:gd name="connsiteY0" fmla="*/ 0 h 257442"/>
                <a:gd name="connsiteX1" fmla="*/ 1420261 w 1420261"/>
                <a:gd name="connsiteY1" fmla="*/ 257442 h 257442"/>
                <a:gd name="connsiteX2" fmla="*/ 0 w 1420261"/>
                <a:gd name="connsiteY2" fmla="*/ 257442 h 257442"/>
                <a:gd name="connsiteX3" fmla="*/ 0 w 1420261"/>
                <a:gd name="connsiteY3" fmla="*/ 0 h 257442"/>
                <a:gd name="connsiteX0" fmla="*/ 1314681 w 1314681"/>
                <a:gd name="connsiteY0" fmla="*/ 0 h 257442"/>
                <a:gd name="connsiteX1" fmla="*/ 1259961 w 1314681"/>
                <a:gd name="connsiteY1" fmla="*/ 257442 h 257442"/>
                <a:gd name="connsiteX2" fmla="*/ 0 w 1314681"/>
                <a:gd name="connsiteY2" fmla="*/ 257442 h 257442"/>
                <a:gd name="connsiteX3" fmla="*/ 0 w 1314681"/>
                <a:gd name="connsiteY3" fmla="*/ 0 h 257442"/>
                <a:gd name="connsiteX0" fmla="*/ 1314681 w 1314681"/>
                <a:gd name="connsiteY0" fmla="*/ 0 h 257442"/>
                <a:gd name="connsiteX1" fmla="*/ 1259961 w 1314681"/>
                <a:gd name="connsiteY1" fmla="*/ 257442 h 257442"/>
                <a:gd name="connsiteX2" fmla="*/ 0 w 1314681"/>
                <a:gd name="connsiteY2" fmla="*/ 257442 h 257442"/>
                <a:gd name="connsiteX3" fmla="*/ 0 w 1314681"/>
                <a:gd name="connsiteY3" fmla="*/ 0 h 257442"/>
                <a:gd name="connsiteX0" fmla="*/ 1314681 w 1314681"/>
                <a:gd name="connsiteY0" fmla="*/ 0 h 257442"/>
                <a:gd name="connsiteX1" fmla="*/ 1259961 w 1314681"/>
                <a:gd name="connsiteY1" fmla="*/ 257442 h 257442"/>
                <a:gd name="connsiteX2" fmla="*/ 0 w 1314681"/>
                <a:gd name="connsiteY2" fmla="*/ 257442 h 257442"/>
                <a:gd name="connsiteX3" fmla="*/ 0 w 1314681"/>
                <a:gd name="connsiteY3" fmla="*/ 0 h 257442"/>
                <a:gd name="connsiteX0" fmla="*/ 1128734 w 1259961"/>
                <a:gd name="connsiteY0" fmla="*/ 0 h 257442"/>
                <a:gd name="connsiteX1" fmla="*/ 1259961 w 1259961"/>
                <a:gd name="connsiteY1" fmla="*/ 257442 h 257442"/>
                <a:gd name="connsiteX2" fmla="*/ 0 w 1259961"/>
                <a:gd name="connsiteY2" fmla="*/ 257442 h 257442"/>
                <a:gd name="connsiteX3" fmla="*/ 0 w 1259961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950801 w 1074013"/>
                <a:gd name="connsiteY0" fmla="*/ 0 h 257442"/>
                <a:gd name="connsiteX1" fmla="*/ 1074013 w 1074013"/>
                <a:gd name="connsiteY1" fmla="*/ 257442 h 257442"/>
                <a:gd name="connsiteX2" fmla="*/ 0 w 1074013"/>
                <a:gd name="connsiteY2" fmla="*/ 257442 h 257442"/>
                <a:gd name="connsiteX3" fmla="*/ 0 w 1074013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782549 w 896080"/>
                <a:gd name="connsiteY0" fmla="*/ 0 h 257442"/>
                <a:gd name="connsiteX1" fmla="*/ 896080 w 896080"/>
                <a:gd name="connsiteY1" fmla="*/ 257442 h 257442"/>
                <a:gd name="connsiteX2" fmla="*/ 0 w 896080"/>
                <a:gd name="connsiteY2" fmla="*/ 257442 h 257442"/>
                <a:gd name="connsiteX3" fmla="*/ 0 w 896080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782549 w 782549"/>
                <a:gd name="connsiteY0" fmla="*/ 0 h 257442"/>
                <a:gd name="connsiteX1" fmla="*/ 727828 w 782549"/>
                <a:gd name="connsiteY1" fmla="*/ 257442 h 257442"/>
                <a:gd name="connsiteX2" fmla="*/ 0 w 782549"/>
                <a:gd name="connsiteY2" fmla="*/ 257442 h 257442"/>
                <a:gd name="connsiteX3" fmla="*/ 0 w 782549"/>
                <a:gd name="connsiteY3" fmla="*/ 0 h 257442"/>
                <a:gd name="connsiteX0" fmla="*/ 986067 w 986067"/>
                <a:gd name="connsiteY0" fmla="*/ 0 h 257442"/>
                <a:gd name="connsiteX1" fmla="*/ 727828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986067 w 986067"/>
                <a:gd name="connsiteY0" fmla="*/ 0 h 257442"/>
                <a:gd name="connsiteX1" fmla="*/ 931346 w 986067"/>
                <a:gd name="connsiteY1" fmla="*/ 257442 h 257442"/>
                <a:gd name="connsiteX2" fmla="*/ 0 w 986067"/>
                <a:gd name="connsiteY2" fmla="*/ 257442 h 257442"/>
                <a:gd name="connsiteX3" fmla="*/ 0 w 986067"/>
                <a:gd name="connsiteY3" fmla="*/ 0 h 257442"/>
                <a:gd name="connsiteX0" fmla="*/ 1164000 w 1164000"/>
                <a:gd name="connsiteY0" fmla="*/ 0 h 257442"/>
                <a:gd name="connsiteX1" fmla="*/ 931346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0 w 1164000"/>
                <a:gd name="connsiteY0" fmla="*/ 0 h 257442"/>
                <a:gd name="connsiteX1" fmla="*/ 1109278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164001 w 1164001"/>
                <a:gd name="connsiteY0" fmla="*/ 0 h 257442"/>
                <a:gd name="connsiteX1" fmla="*/ 1109279 w 1164001"/>
                <a:gd name="connsiteY1" fmla="*/ 257442 h 257442"/>
                <a:gd name="connsiteX2" fmla="*/ 0 w 1164001"/>
                <a:gd name="connsiteY2" fmla="*/ 257442 h 257442"/>
                <a:gd name="connsiteX3" fmla="*/ 1 w 1164001"/>
                <a:gd name="connsiteY3" fmla="*/ 0 h 257442"/>
                <a:gd name="connsiteX0" fmla="*/ 1332317 w 1332317"/>
                <a:gd name="connsiteY0" fmla="*/ 0 h 257442"/>
                <a:gd name="connsiteX1" fmla="*/ 1109279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0 w 1332317"/>
                <a:gd name="connsiteY2" fmla="*/ 257442 h 257442"/>
                <a:gd name="connsiteX3" fmla="*/ 1 w 1332317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7 w 1332317"/>
                <a:gd name="connsiteY0" fmla="*/ 0 h 257442"/>
                <a:gd name="connsiteX1" fmla="*/ 1277596 w 1332317"/>
                <a:gd name="connsiteY1" fmla="*/ 257442 h 257442"/>
                <a:gd name="connsiteX2" fmla="*/ 1 w 1332317"/>
                <a:gd name="connsiteY2" fmla="*/ 257442 h 257442"/>
                <a:gd name="connsiteX3" fmla="*/ 0 w 1332317"/>
                <a:gd name="connsiteY3" fmla="*/ 0 h 257442"/>
                <a:gd name="connsiteX0" fmla="*/ 1500632 w 1500632"/>
                <a:gd name="connsiteY0" fmla="*/ 0 h 257442"/>
                <a:gd name="connsiteX1" fmla="*/ 1277596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1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500632 w 1500632"/>
                <a:gd name="connsiteY0" fmla="*/ 0 h 257442"/>
                <a:gd name="connsiteX1" fmla="*/ 1445910 w 1500632"/>
                <a:gd name="connsiteY1" fmla="*/ 257442 h 257442"/>
                <a:gd name="connsiteX2" fmla="*/ 0 w 1500632"/>
                <a:gd name="connsiteY2" fmla="*/ 257442 h 257442"/>
                <a:gd name="connsiteX3" fmla="*/ 0 w 1500632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5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830849 w 1830849"/>
                <a:gd name="connsiteY0" fmla="*/ 0 h 257442"/>
                <a:gd name="connsiteX1" fmla="*/ 1598195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7781" h="257442">
                  <a:moveTo>
                    <a:pt x="2327781" y="0"/>
                  </a:moveTo>
                  <a:lnTo>
                    <a:pt x="2273060" y="257442"/>
                  </a:lnTo>
                  <a:lnTo>
                    <a:pt x="1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2" name="btfpRunningAgenda2LevelTextLeft318982">
              <a:extLst>
                <a:ext uri="{FF2B5EF4-FFF2-40B4-BE49-F238E27FC236}">
                  <a16:creationId xmlns:a16="http://schemas.microsoft.com/office/drawing/2014/main" id="{FF552CA6-544B-17D5-DDE6-A7176E949396}"/>
                </a:ext>
              </a:extLst>
            </p:cNvPr>
            <p:cNvSpPr txBox="1"/>
            <p:nvPr/>
          </p:nvSpPr>
          <p:spPr bwMode="gray">
            <a:xfrm>
              <a:off x="0" y="876300"/>
              <a:ext cx="227305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workforce</a:t>
              </a:r>
            </a:p>
          </p:txBody>
        </p:sp>
        <p:sp>
          <p:nvSpPr>
            <p:cNvPr id="93" name="btfpRunningAgenda2LevelBarRight318982">
              <a:extLst>
                <a:ext uri="{FF2B5EF4-FFF2-40B4-BE49-F238E27FC236}">
                  <a16:creationId xmlns:a16="http://schemas.microsoft.com/office/drawing/2014/main" id="{1AD69597-96D9-6AF2-7EC8-244E0B2B6CB6}"/>
                </a:ext>
              </a:extLst>
            </p:cNvPr>
            <p:cNvSpPr/>
            <p:nvPr/>
          </p:nvSpPr>
          <p:spPr bwMode="gray">
            <a:xfrm>
              <a:off x="2192938" y="876300"/>
              <a:ext cx="4597890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28733 w 1128733"/>
                <a:gd name="connsiteY0" fmla="*/ 0 h 257442"/>
                <a:gd name="connsiteX1" fmla="*/ 896079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2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314682 w 1314682"/>
                <a:gd name="connsiteY0" fmla="*/ 0 h 257442"/>
                <a:gd name="connsiteX1" fmla="*/ 1074013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474983 w 1474983"/>
                <a:gd name="connsiteY0" fmla="*/ 0 h 257442"/>
                <a:gd name="connsiteX1" fmla="*/ 1259961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54721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54721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54721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54721 w 1635283"/>
                <a:gd name="connsiteY3" fmla="*/ 0 h 257442"/>
                <a:gd name="connsiteX0" fmla="*/ 1803599 w 1803599"/>
                <a:gd name="connsiteY0" fmla="*/ 0 h 257442"/>
                <a:gd name="connsiteX1" fmla="*/ 1580562 w 1803599"/>
                <a:gd name="connsiteY1" fmla="*/ 257442 h 257442"/>
                <a:gd name="connsiteX2" fmla="*/ 0 w 1803599"/>
                <a:gd name="connsiteY2" fmla="*/ 257442 h 257442"/>
                <a:gd name="connsiteX3" fmla="*/ 54721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54721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54721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54721 w 1803599"/>
                <a:gd name="connsiteY3" fmla="*/ 0 h 257442"/>
                <a:gd name="connsiteX0" fmla="*/ 1963899 w 1963899"/>
                <a:gd name="connsiteY0" fmla="*/ 0 h 257442"/>
                <a:gd name="connsiteX1" fmla="*/ 1748878 w 1963899"/>
                <a:gd name="connsiteY1" fmla="*/ 257442 h 257442"/>
                <a:gd name="connsiteX2" fmla="*/ 0 w 1963899"/>
                <a:gd name="connsiteY2" fmla="*/ 257442 h 257442"/>
                <a:gd name="connsiteX3" fmla="*/ 54721 w 1963899"/>
                <a:gd name="connsiteY3" fmla="*/ 0 h 257442"/>
                <a:gd name="connsiteX0" fmla="*/ 1963899 w 1963899"/>
                <a:gd name="connsiteY0" fmla="*/ 0 h 257442"/>
                <a:gd name="connsiteX1" fmla="*/ 1909178 w 1963899"/>
                <a:gd name="connsiteY1" fmla="*/ 257442 h 257442"/>
                <a:gd name="connsiteX2" fmla="*/ 0 w 1963899"/>
                <a:gd name="connsiteY2" fmla="*/ 257442 h 257442"/>
                <a:gd name="connsiteX3" fmla="*/ 54721 w 1963899"/>
                <a:gd name="connsiteY3" fmla="*/ 0 h 257442"/>
                <a:gd name="connsiteX0" fmla="*/ 1963899 w 1963899"/>
                <a:gd name="connsiteY0" fmla="*/ 0 h 257442"/>
                <a:gd name="connsiteX1" fmla="*/ 1909178 w 1963899"/>
                <a:gd name="connsiteY1" fmla="*/ 257442 h 257442"/>
                <a:gd name="connsiteX2" fmla="*/ 0 w 1963899"/>
                <a:gd name="connsiteY2" fmla="*/ 257442 h 257442"/>
                <a:gd name="connsiteX3" fmla="*/ 54721 w 1963899"/>
                <a:gd name="connsiteY3" fmla="*/ 0 h 257442"/>
                <a:gd name="connsiteX0" fmla="*/ 1963899 w 1963899"/>
                <a:gd name="connsiteY0" fmla="*/ 0 h 257442"/>
                <a:gd name="connsiteX1" fmla="*/ 1909178 w 1963899"/>
                <a:gd name="connsiteY1" fmla="*/ 257442 h 257442"/>
                <a:gd name="connsiteX2" fmla="*/ 0 w 1963899"/>
                <a:gd name="connsiteY2" fmla="*/ 257442 h 257442"/>
                <a:gd name="connsiteX3" fmla="*/ 54721 w 1963899"/>
                <a:gd name="connsiteY3" fmla="*/ 0 h 257442"/>
                <a:gd name="connsiteX0" fmla="*/ 2132214 w 2132214"/>
                <a:gd name="connsiteY0" fmla="*/ 0 h 257442"/>
                <a:gd name="connsiteX1" fmla="*/ 1909178 w 2132214"/>
                <a:gd name="connsiteY1" fmla="*/ 257442 h 257442"/>
                <a:gd name="connsiteX2" fmla="*/ 0 w 2132214"/>
                <a:gd name="connsiteY2" fmla="*/ 257442 h 257442"/>
                <a:gd name="connsiteX3" fmla="*/ 54721 w 2132214"/>
                <a:gd name="connsiteY3" fmla="*/ 0 h 257442"/>
                <a:gd name="connsiteX0" fmla="*/ 2132214 w 2132214"/>
                <a:gd name="connsiteY0" fmla="*/ 0 h 257442"/>
                <a:gd name="connsiteX1" fmla="*/ 2077492 w 2132214"/>
                <a:gd name="connsiteY1" fmla="*/ 257442 h 257442"/>
                <a:gd name="connsiteX2" fmla="*/ 0 w 2132214"/>
                <a:gd name="connsiteY2" fmla="*/ 257442 h 257442"/>
                <a:gd name="connsiteX3" fmla="*/ 54721 w 2132214"/>
                <a:gd name="connsiteY3" fmla="*/ 0 h 257442"/>
                <a:gd name="connsiteX0" fmla="*/ 2132215 w 2132215"/>
                <a:gd name="connsiteY0" fmla="*/ 0 h 257442"/>
                <a:gd name="connsiteX1" fmla="*/ 2077493 w 2132215"/>
                <a:gd name="connsiteY1" fmla="*/ 257442 h 257442"/>
                <a:gd name="connsiteX2" fmla="*/ 0 w 2132215"/>
                <a:gd name="connsiteY2" fmla="*/ 257442 h 257442"/>
                <a:gd name="connsiteX3" fmla="*/ 54722 w 2132215"/>
                <a:gd name="connsiteY3" fmla="*/ 0 h 257442"/>
                <a:gd name="connsiteX0" fmla="*/ 2132215 w 2132215"/>
                <a:gd name="connsiteY0" fmla="*/ 0 h 257442"/>
                <a:gd name="connsiteX1" fmla="*/ 2077493 w 2132215"/>
                <a:gd name="connsiteY1" fmla="*/ 257442 h 257442"/>
                <a:gd name="connsiteX2" fmla="*/ 0 w 2132215"/>
                <a:gd name="connsiteY2" fmla="*/ 257442 h 257442"/>
                <a:gd name="connsiteX3" fmla="*/ 54722 w 2132215"/>
                <a:gd name="connsiteY3" fmla="*/ 0 h 257442"/>
                <a:gd name="connsiteX0" fmla="*/ 2374076 w 2374076"/>
                <a:gd name="connsiteY0" fmla="*/ 0 h 257442"/>
                <a:gd name="connsiteX1" fmla="*/ 2077493 w 2374076"/>
                <a:gd name="connsiteY1" fmla="*/ 257442 h 257442"/>
                <a:gd name="connsiteX2" fmla="*/ 0 w 2374076"/>
                <a:gd name="connsiteY2" fmla="*/ 257442 h 257442"/>
                <a:gd name="connsiteX3" fmla="*/ 54722 w 2374076"/>
                <a:gd name="connsiteY3" fmla="*/ 0 h 257442"/>
                <a:gd name="connsiteX0" fmla="*/ 2374076 w 2374076"/>
                <a:gd name="connsiteY0" fmla="*/ 0 h 257442"/>
                <a:gd name="connsiteX1" fmla="*/ 2319354 w 2374076"/>
                <a:gd name="connsiteY1" fmla="*/ 257442 h 257442"/>
                <a:gd name="connsiteX2" fmla="*/ 0 w 2374076"/>
                <a:gd name="connsiteY2" fmla="*/ 257442 h 257442"/>
                <a:gd name="connsiteX3" fmla="*/ 54722 w 2374076"/>
                <a:gd name="connsiteY3" fmla="*/ 0 h 257442"/>
                <a:gd name="connsiteX0" fmla="*/ 2374076 w 2374076"/>
                <a:gd name="connsiteY0" fmla="*/ 0 h 257442"/>
                <a:gd name="connsiteX1" fmla="*/ 2319354 w 2374076"/>
                <a:gd name="connsiteY1" fmla="*/ 257442 h 257442"/>
                <a:gd name="connsiteX2" fmla="*/ 0 w 2374076"/>
                <a:gd name="connsiteY2" fmla="*/ 257442 h 257442"/>
                <a:gd name="connsiteX3" fmla="*/ 54722 w 2374076"/>
                <a:gd name="connsiteY3" fmla="*/ 0 h 257442"/>
                <a:gd name="connsiteX0" fmla="*/ 2374076 w 2374076"/>
                <a:gd name="connsiteY0" fmla="*/ 0 h 257442"/>
                <a:gd name="connsiteX1" fmla="*/ 2319354 w 2374076"/>
                <a:gd name="connsiteY1" fmla="*/ 257442 h 257442"/>
                <a:gd name="connsiteX2" fmla="*/ 0 w 2374076"/>
                <a:gd name="connsiteY2" fmla="*/ 257442 h 257442"/>
                <a:gd name="connsiteX3" fmla="*/ 54721 w 2374076"/>
                <a:gd name="connsiteY3" fmla="*/ 0 h 257442"/>
                <a:gd name="connsiteX0" fmla="*/ 2552009 w 2552009"/>
                <a:gd name="connsiteY0" fmla="*/ 0 h 257442"/>
                <a:gd name="connsiteX1" fmla="*/ 2319354 w 2552009"/>
                <a:gd name="connsiteY1" fmla="*/ 257442 h 257442"/>
                <a:gd name="connsiteX2" fmla="*/ 0 w 2552009"/>
                <a:gd name="connsiteY2" fmla="*/ 257442 h 257442"/>
                <a:gd name="connsiteX3" fmla="*/ 54721 w 2552009"/>
                <a:gd name="connsiteY3" fmla="*/ 0 h 257442"/>
                <a:gd name="connsiteX0" fmla="*/ 2552009 w 2552009"/>
                <a:gd name="connsiteY0" fmla="*/ 0 h 257442"/>
                <a:gd name="connsiteX1" fmla="*/ 2497288 w 2552009"/>
                <a:gd name="connsiteY1" fmla="*/ 257442 h 257442"/>
                <a:gd name="connsiteX2" fmla="*/ 0 w 2552009"/>
                <a:gd name="connsiteY2" fmla="*/ 257442 h 257442"/>
                <a:gd name="connsiteX3" fmla="*/ 54721 w 2552009"/>
                <a:gd name="connsiteY3" fmla="*/ 0 h 257442"/>
                <a:gd name="connsiteX0" fmla="*/ 2552009 w 2552009"/>
                <a:gd name="connsiteY0" fmla="*/ 0 h 257442"/>
                <a:gd name="connsiteX1" fmla="*/ 2497288 w 2552009"/>
                <a:gd name="connsiteY1" fmla="*/ 257442 h 257442"/>
                <a:gd name="connsiteX2" fmla="*/ 0 w 2552009"/>
                <a:gd name="connsiteY2" fmla="*/ 257442 h 257442"/>
                <a:gd name="connsiteX3" fmla="*/ 54721 w 2552009"/>
                <a:gd name="connsiteY3" fmla="*/ 0 h 257442"/>
                <a:gd name="connsiteX0" fmla="*/ 2552009 w 2552009"/>
                <a:gd name="connsiteY0" fmla="*/ 0 h 257442"/>
                <a:gd name="connsiteX1" fmla="*/ 2497288 w 2552009"/>
                <a:gd name="connsiteY1" fmla="*/ 257442 h 257442"/>
                <a:gd name="connsiteX2" fmla="*/ 0 w 2552009"/>
                <a:gd name="connsiteY2" fmla="*/ 257442 h 257442"/>
                <a:gd name="connsiteX3" fmla="*/ 54721 w 2552009"/>
                <a:gd name="connsiteY3" fmla="*/ 0 h 257442"/>
                <a:gd name="connsiteX0" fmla="*/ 2720324 w 2720324"/>
                <a:gd name="connsiteY0" fmla="*/ 0 h 257442"/>
                <a:gd name="connsiteX1" fmla="*/ 2497288 w 2720324"/>
                <a:gd name="connsiteY1" fmla="*/ 257442 h 257442"/>
                <a:gd name="connsiteX2" fmla="*/ 0 w 2720324"/>
                <a:gd name="connsiteY2" fmla="*/ 257442 h 257442"/>
                <a:gd name="connsiteX3" fmla="*/ 54721 w 2720324"/>
                <a:gd name="connsiteY3" fmla="*/ 0 h 257442"/>
                <a:gd name="connsiteX0" fmla="*/ 2720324 w 2720324"/>
                <a:gd name="connsiteY0" fmla="*/ 0 h 257442"/>
                <a:gd name="connsiteX1" fmla="*/ 2665602 w 2720324"/>
                <a:gd name="connsiteY1" fmla="*/ 257442 h 257442"/>
                <a:gd name="connsiteX2" fmla="*/ 0 w 2720324"/>
                <a:gd name="connsiteY2" fmla="*/ 257442 h 257442"/>
                <a:gd name="connsiteX3" fmla="*/ 54721 w 2720324"/>
                <a:gd name="connsiteY3" fmla="*/ 0 h 257442"/>
                <a:gd name="connsiteX0" fmla="*/ 2720325 w 2720325"/>
                <a:gd name="connsiteY0" fmla="*/ 0 h 257442"/>
                <a:gd name="connsiteX1" fmla="*/ 2665603 w 2720325"/>
                <a:gd name="connsiteY1" fmla="*/ 257442 h 257442"/>
                <a:gd name="connsiteX2" fmla="*/ 0 w 2720325"/>
                <a:gd name="connsiteY2" fmla="*/ 257442 h 257442"/>
                <a:gd name="connsiteX3" fmla="*/ 54722 w 2720325"/>
                <a:gd name="connsiteY3" fmla="*/ 0 h 257442"/>
                <a:gd name="connsiteX0" fmla="*/ 2720325 w 2720325"/>
                <a:gd name="connsiteY0" fmla="*/ 0 h 257442"/>
                <a:gd name="connsiteX1" fmla="*/ 2665603 w 2720325"/>
                <a:gd name="connsiteY1" fmla="*/ 257442 h 257442"/>
                <a:gd name="connsiteX2" fmla="*/ 0 w 2720325"/>
                <a:gd name="connsiteY2" fmla="*/ 257442 h 257442"/>
                <a:gd name="connsiteX3" fmla="*/ 54722 w 2720325"/>
                <a:gd name="connsiteY3" fmla="*/ 0 h 257442"/>
                <a:gd name="connsiteX0" fmla="*/ 942786 w 2665603"/>
                <a:gd name="connsiteY0" fmla="*/ 0 h 257442"/>
                <a:gd name="connsiteX1" fmla="*/ 2665603 w 2665603"/>
                <a:gd name="connsiteY1" fmla="*/ 257442 h 257442"/>
                <a:gd name="connsiteX2" fmla="*/ 0 w 2665603"/>
                <a:gd name="connsiteY2" fmla="*/ 257442 h 257442"/>
                <a:gd name="connsiteX3" fmla="*/ 54722 w 2665603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2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2 w 942786"/>
                <a:gd name="connsiteY3" fmla="*/ 0 h 257442"/>
                <a:gd name="connsiteX0" fmla="*/ 942786 w 942786"/>
                <a:gd name="connsiteY0" fmla="*/ 0 h 257442"/>
                <a:gd name="connsiteX1" fmla="*/ 888065 w 942786"/>
                <a:gd name="connsiteY1" fmla="*/ 257442 h 257442"/>
                <a:gd name="connsiteX2" fmla="*/ 0 w 942786"/>
                <a:gd name="connsiteY2" fmla="*/ 257442 h 257442"/>
                <a:gd name="connsiteX3" fmla="*/ 54721 w 942786"/>
                <a:gd name="connsiteY3" fmla="*/ 0 h 257442"/>
                <a:gd name="connsiteX0" fmla="*/ 1103086 w 1103086"/>
                <a:gd name="connsiteY0" fmla="*/ 0 h 257442"/>
                <a:gd name="connsiteX1" fmla="*/ 8880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103086 w 1103086"/>
                <a:gd name="connsiteY0" fmla="*/ 0 h 257442"/>
                <a:gd name="connsiteX1" fmla="*/ 1048365 w 1103086"/>
                <a:gd name="connsiteY1" fmla="*/ 257442 h 257442"/>
                <a:gd name="connsiteX2" fmla="*/ 0 w 1103086"/>
                <a:gd name="connsiteY2" fmla="*/ 257442 h 257442"/>
                <a:gd name="connsiteX3" fmla="*/ 54721 w 1103086"/>
                <a:gd name="connsiteY3" fmla="*/ 0 h 257442"/>
                <a:gd name="connsiteX0" fmla="*/ 1271402 w 1271402"/>
                <a:gd name="connsiteY0" fmla="*/ 0 h 257442"/>
                <a:gd name="connsiteX1" fmla="*/ 1048365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1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550324 w 1550324"/>
                <a:gd name="connsiteY0" fmla="*/ 0 h 257442"/>
                <a:gd name="connsiteX1" fmla="*/ 1216681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54721 w 1550324"/>
                <a:gd name="connsiteY3" fmla="*/ 0 h 257442"/>
                <a:gd name="connsiteX0" fmla="*/ 1718639 w 1718639"/>
                <a:gd name="connsiteY0" fmla="*/ 0 h 257442"/>
                <a:gd name="connsiteX1" fmla="*/ 1495603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718639 w 1718639"/>
                <a:gd name="connsiteY0" fmla="*/ 0 h 257442"/>
                <a:gd name="connsiteX1" fmla="*/ 1663918 w 1718639"/>
                <a:gd name="connsiteY1" fmla="*/ 257442 h 257442"/>
                <a:gd name="connsiteX2" fmla="*/ 0 w 1718639"/>
                <a:gd name="connsiteY2" fmla="*/ 257442 h 257442"/>
                <a:gd name="connsiteX3" fmla="*/ 54721 w 1718639"/>
                <a:gd name="connsiteY3" fmla="*/ 0 h 257442"/>
                <a:gd name="connsiteX0" fmla="*/ 1971914 w 1971914"/>
                <a:gd name="connsiteY0" fmla="*/ 0 h 257442"/>
                <a:gd name="connsiteX1" fmla="*/ 1663918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4 w 1971914"/>
                <a:gd name="connsiteY0" fmla="*/ 0 h 257442"/>
                <a:gd name="connsiteX1" fmla="*/ 1917192 w 1971914"/>
                <a:gd name="connsiteY1" fmla="*/ 257442 h 257442"/>
                <a:gd name="connsiteX2" fmla="*/ 0 w 1971914"/>
                <a:gd name="connsiteY2" fmla="*/ 257442 h 257442"/>
                <a:gd name="connsiteX3" fmla="*/ 54721 w 1971914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1971915 w 1971915"/>
                <a:gd name="connsiteY0" fmla="*/ 0 h 257442"/>
                <a:gd name="connsiteX1" fmla="*/ 1917193 w 1971915"/>
                <a:gd name="connsiteY1" fmla="*/ 257442 h 257442"/>
                <a:gd name="connsiteX2" fmla="*/ 0 w 1971915"/>
                <a:gd name="connsiteY2" fmla="*/ 257442 h 257442"/>
                <a:gd name="connsiteX3" fmla="*/ 54722 w 1971915"/>
                <a:gd name="connsiteY3" fmla="*/ 0 h 257442"/>
                <a:gd name="connsiteX0" fmla="*/ 2132215 w 2132215"/>
                <a:gd name="connsiteY0" fmla="*/ 0 h 257442"/>
                <a:gd name="connsiteX1" fmla="*/ 1917193 w 2132215"/>
                <a:gd name="connsiteY1" fmla="*/ 257442 h 257442"/>
                <a:gd name="connsiteX2" fmla="*/ 0 w 2132215"/>
                <a:gd name="connsiteY2" fmla="*/ 257442 h 257442"/>
                <a:gd name="connsiteX3" fmla="*/ 54722 w 2132215"/>
                <a:gd name="connsiteY3" fmla="*/ 0 h 257442"/>
                <a:gd name="connsiteX0" fmla="*/ 2132215 w 2132215"/>
                <a:gd name="connsiteY0" fmla="*/ 0 h 257442"/>
                <a:gd name="connsiteX1" fmla="*/ 2077494 w 2132215"/>
                <a:gd name="connsiteY1" fmla="*/ 257442 h 257442"/>
                <a:gd name="connsiteX2" fmla="*/ 0 w 2132215"/>
                <a:gd name="connsiteY2" fmla="*/ 257442 h 257442"/>
                <a:gd name="connsiteX3" fmla="*/ 54722 w 2132215"/>
                <a:gd name="connsiteY3" fmla="*/ 0 h 257442"/>
                <a:gd name="connsiteX0" fmla="*/ 2132214 w 2132214"/>
                <a:gd name="connsiteY0" fmla="*/ 0 h 257442"/>
                <a:gd name="connsiteX1" fmla="*/ 2077493 w 2132214"/>
                <a:gd name="connsiteY1" fmla="*/ 257442 h 257442"/>
                <a:gd name="connsiteX2" fmla="*/ 0 w 2132214"/>
                <a:gd name="connsiteY2" fmla="*/ 257442 h 257442"/>
                <a:gd name="connsiteX3" fmla="*/ 54721 w 2132214"/>
                <a:gd name="connsiteY3" fmla="*/ 0 h 257442"/>
                <a:gd name="connsiteX0" fmla="*/ 2132214 w 2132214"/>
                <a:gd name="connsiteY0" fmla="*/ 0 h 257442"/>
                <a:gd name="connsiteX1" fmla="*/ 2077493 w 2132214"/>
                <a:gd name="connsiteY1" fmla="*/ 257442 h 257442"/>
                <a:gd name="connsiteX2" fmla="*/ 0 w 2132214"/>
                <a:gd name="connsiteY2" fmla="*/ 257442 h 257442"/>
                <a:gd name="connsiteX3" fmla="*/ 54720 w 2132214"/>
                <a:gd name="connsiteY3" fmla="*/ 0 h 257442"/>
                <a:gd name="connsiteX0" fmla="*/ 2300529 w 2300529"/>
                <a:gd name="connsiteY0" fmla="*/ 0 h 257442"/>
                <a:gd name="connsiteX1" fmla="*/ 2077493 w 2300529"/>
                <a:gd name="connsiteY1" fmla="*/ 257442 h 257442"/>
                <a:gd name="connsiteX2" fmla="*/ 0 w 2300529"/>
                <a:gd name="connsiteY2" fmla="*/ 257442 h 257442"/>
                <a:gd name="connsiteX3" fmla="*/ 54720 w 2300529"/>
                <a:gd name="connsiteY3" fmla="*/ 0 h 257442"/>
                <a:gd name="connsiteX0" fmla="*/ 2300529 w 2300529"/>
                <a:gd name="connsiteY0" fmla="*/ 0 h 257442"/>
                <a:gd name="connsiteX1" fmla="*/ 2245808 w 2300529"/>
                <a:gd name="connsiteY1" fmla="*/ 257442 h 257442"/>
                <a:gd name="connsiteX2" fmla="*/ 0 w 2300529"/>
                <a:gd name="connsiteY2" fmla="*/ 257442 h 257442"/>
                <a:gd name="connsiteX3" fmla="*/ 54720 w 2300529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54721 w 2300530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54721 w 2300530"/>
                <a:gd name="connsiteY3" fmla="*/ 0 h 257442"/>
                <a:gd name="connsiteX0" fmla="*/ 2460830 w 2460830"/>
                <a:gd name="connsiteY0" fmla="*/ 0 h 257442"/>
                <a:gd name="connsiteX1" fmla="*/ 2245809 w 2460830"/>
                <a:gd name="connsiteY1" fmla="*/ 257442 h 257442"/>
                <a:gd name="connsiteX2" fmla="*/ 0 w 2460830"/>
                <a:gd name="connsiteY2" fmla="*/ 257442 h 257442"/>
                <a:gd name="connsiteX3" fmla="*/ 54721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54721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54721 w 2460830"/>
                <a:gd name="connsiteY3" fmla="*/ 0 h 257442"/>
                <a:gd name="connsiteX0" fmla="*/ 2460830 w 2460830"/>
                <a:gd name="connsiteY0" fmla="*/ 0 h 257442"/>
                <a:gd name="connsiteX1" fmla="*/ 2406109 w 2460830"/>
                <a:gd name="connsiteY1" fmla="*/ 257442 h 257442"/>
                <a:gd name="connsiteX2" fmla="*/ 0 w 2460830"/>
                <a:gd name="connsiteY2" fmla="*/ 257442 h 257442"/>
                <a:gd name="connsiteX3" fmla="*/ 54721 w 2460830"/>
                <a:gd name="connsiteY3" fmla="*/ 0 h 257442"/>
                <a:gd name="connsiteX0" fmla="*/ 2727377 w 2727377"/>
                <a:gd name="connsiteY0" fmla="*/ 0 h 257442"/>
                <a:gd name="connsiteX1" fmla="*/ 2406109 w 2727377"/>
                <a:gd name="connsiteY1" fmla="*/ 257442 h 257442"/>
                <a:gd name="connsiteX2" fmla="*/ 0 w 2727377"/>
                <a:gd name="connsiteY2" fmla="*/ 257442 h 257442"/>
                <a:gd name="connsiteX3" fmla="*/ 54721 w 2727377"/>
                <a:gd name="connsiteY3" fmla="*/ 0 h 257442"/>
                <a:gd name="connsiteX0" fmla="*/ 2727377 w 2727377"/>
                <a:gd name="connsiteY0" fmla="*/ 0 h 257442"/>
                <a:gd name="connsiteX1" fmla="*/ 2672656 w 2727377"/>
                <a:gd name="connsiteY1" fmla="*/ 257442 h 257442"/>
                <a:gd name="connsiteX2" fmla="*/ 0 w 2727377"/>
                <a:gd name="connsiteY2" fmla="*/ 257442 h 257442"/>
                <a:gd name="connsiteX3" fmla="*/ 54721 w 2727377"/>
                <a:gd name="connsiteY3" fmla="*/ 0 h 257442"/>
                <a:gd name="connsiteX0" fmla="*/ 2727377 w 2727377"/>
                <a:gd name="connsiteY0" fmla="*/ 0 h 257442"/>
                <a:gd name="connsiteX1" fmla="*/ 2672656 w 2727377"/>
                <a:gd name="connsiteY1" fmla="*/ 257442 h 257442"/>
                <a:gd name="connsiteX2" fmla="*/ 0 w 2727377"/>
                <a:gd name="connsiteY2" fmla="*/ 257442 h 257442"/>
                <a:gd name="connsiteX3" fmla="*/ 54721 w 2727377"/>
                <a:gd name="connsiteY3" fmla="*/ 0 h 257442"/>
                <a:gd name="connsiteX0" fmla="*/ 2727377 w 2727377"/>
                <a:gd name="connsiteY0" fmla="*/ 0 h 257442"/>
                <a:gd name="connsiteX1" fmla="*/ 2672656 w 2727377"/>
                <a:gd name="connsiteY1" fmla="*/ 257442 h 257442"/>
                <a:gd name="connsiteX2" fmla="*/ 0 w 2727377"/>
                <a:gd name="connsiteY2" fmla="*/ 257442 h 257442"/>
                <a:gd name="connsiteX3" fmla="*/ 54721 w 2727377"/>
                <a:gd name="connsiteY3" fmla="*/ 0 h 257442"/>
                <a:gd name="connsiteX0" fmla="*/ 2905311 w 2905311"/>
                <a:gd name="connsiteY0" fmla="*/ 0 h 257442"/>
                <a:gd name="connsiteX1" fmla="*/ 2672656 w 2905311"/>
                <a:gd name="connsiteY1" fmla="*/ 257442 h 257442"/>
                <a:gd name="connsiteX2" fmla="*/ 0 w 2905311"/>
                <a:gd name="connsiteY2" fmla="*/ 257442 h 257442"/>
                <a:gd name="connsiteX3" fmla="*/ 54721 w 2905311"/>
                <a:gd name="connsiteY3" fmla="*/ 0 h 257442"/>
                <a:gd name="connsiteX0" fmla="*/ 2905311 w 2905311"/>
                <a:gd name="connsiteY0" fmla="*/ 0 h 257442"/>
                <a:gd name="connsiteX1" fmla="*/ 2850590 w 2905311"/>
                <a:gd name="connsiteY1" fmla="*/ 257442 h 257442"/>
                <a:gd name="connsiteX2" fmla="*/ 0 w 2905311"/>
                <a:gd name="connsiteY2" fmla="*/ 257442 h 257442"/>
                <a:gd name="connsiteX3" fmla="*/ 54721 w 2905311"/>
                <a:gd name="connsiteY3" fmla="*/ 0 h 257442"/>
                <a:gd name="connsiteX0" fmla="*/ 2905311 w 2905311"/>
                <a:gd name="connsiteY0" fmla="*/ 0 h 257442"/>
                <a:gd name="connsiteX1" fmla="*/ 2850590 w 2905311"/>
                <a:gd name="connsiteY1" fmla="*/ 257442 h 257442"/>
                <a:gd name="connsiteX2" fmla="*/ 0 w 2905311"/>
                <a:gd name="connsiteY2" fmla="*/ 257442 h 257442"/>
                <a:gd name="connsiteX3" fmla="*/ 54721 w 2905311"/>
                <a:gd name="connsiteY3" fmla="*/ 0 h 257442"/>
                <a:gd name="connsiteX0" fmla="*/ 2905311 w 2905311"/>
                <a:gd name="connsiteY0" fmla="*/ 0 h 257442"/>
                <a:gd name="connsiteX1" fmla="*/ 2850590 w 2905311"/>
                <a:gd name="connsiteY1" fmla="*/ 257442 h 257442"/>
                <a:gd name="connsiteX2" fmla="*/ 0 w 2905311"/>
                <a:gd name="connsiteY2" fmla="*/ 257442 h 257442"/>
                <a:gd name="connsiteX3" fmla="*/ 54721 w 2905311"/>
                <a:gd name="connsiteY3" fmla="*/ 0 h 257442"/>
                <a:gd name="connsiteX0" fmla="*/ 3091259 w 3091259"/>
                <a:gd name="connsiteY0" fmla="*/ 0 h 257442"/>
                <a:gd name="connsiteX1" fmla="*/ 2850590 w 3091259"/>
                <a:gd name="connsiteY1" fmla="*/ 257442 h 257442"/>
                <a:gd name="connsiteX2" fmla="*/ 0 w 3091259"/>
                <a:gd name="connsiteY2" fmla="*/ 257442 h 257442"/>
                <a:gd name="connsiteX3" fmla="*/ 54721 w 3091259"/>
                <a:gd name="connsiteY3" fmla="*/ 0 h 257442"/>
                <a:gd name="connsiteX0" fmla="*/ 3091259 w 3091259"/>
                <a:gd name="connsiteY0" fmla="*/ 0 h 257442"/>
                <a:gd name="connsiteX1" fmla="*/ 3036538 w 3091259"/>
                <a:gd name="connsiteY1" fmla="*/ 257442 h 257442"/>
                <a:gd name="connsiteX2" fmla="*/ 0 w 3091259"/>
                <a:gd name="connsiteY2" fmla="*/ 257442 h 257442"/>
                <a:gd name="connsiteX3" fmla="*/ 54721 w 3091259"/>
                <a:gd name="connsiteY3" fmla="*/ 0 h 257442"/>
                <a:gd name="connsiteX0" fmla="*/ 3091259 w 3091259"/>
                <a:gd name="connsiteY0" fmla="*/ 0 h 257442"/>
                <a:gd name="connsiteX1" fmla="*/ 3036538 w 3091259"/>
                <a:gd name="connsiteY1" fmla="*/ 257442 h 257442"/>
                <a:gd name="connsiteX2" fmla="*/ 0 w 3091259"/>
                <a:gd name="connsiteY2" fmla="*/ 257442 h 257442"/>
                <a:gd name="connsiteX3" fmla="*/ 54721 w 3091259"/>
                <a:gd name="connsiteY3" fmla="*/ 0 h 257442"/>
                <a:gd name="connsiteX0" fmla="*/ 3091259 w 3091259"/>
                <a:gd name="connsiteY0" fmla="*/ 0 h 257442"/>
                <a:gd name="connsiteX1" fmla="*/ 3036538 w 3091259"/>
                <a:gd name="connsiteY1" fmla="*/ 257442 h 257442"/>
                <a:gd name="connsiteX2" fmla="*/ 0 w 3091259"/>
                <a:gd name="connsiteY2" fmla="*/ 257442 h 257442"/>
                <a:gd name="connsiteX3" fmla="*/ 54721 w 3091259"/>
                <a:gd name="connsiteY3" fmla="*/ 0 h 257442"/>
                <a:gd name="connsiteX0" fmla="*/ 3251559 w 3251559"/>
                <a:gd name="connsiteY0" fmla="*/ 0 h 257442"/>
                <a:gd name="connsiteX1" fmla="*/ 3036538 w 3251559"/>
                <a:gd name="connsiteY1" fmla="*/ 257442 h 257442"/>
                <a:gd name="connsiteX2" fmla="*/ 0 w 3251559"/>
                <a:gd name="connsiteY2" fmla="*/ 257442 h 257442"/>
                <a:gd name="connsiteX3" fmla="*/ 54721 w 3251559"/>
                <a:gd name="connsiteY3" fmla="*/ 0 h 257442"/>
                <a:gd name="connsiteX0" fmla="*/ 3251559 w 3251559"/>
                <a:gd name="connsiteY0" fmla="*/ 0 h 257442"/>
                <a:gd name="connsiteX1" fmla="*/ 3196838 w 3251559"/>
                <a:gd name="connsiteY1" fmla="*/ 257442 h 257442"/>
                <a:gd name="connsiteX2" fmla="*/ 0 w 3251559"/>
                <a:gd name="connsiteY2" fmla="*/ 257442 h 257442"/>
                <a:gd name="connsiteX3" fmla="*/ 54721 w 3251559"/>
                <a:gd name="connsiteY3" fmla="*/ 0 h 257442"/>
                <a:gd name="connsiteX0" fmla="*/ 3251559 w 3251559"/>
                <a:gd name="connsiteY0" fmla="*/ 0 h 257442"/>
                <a:gd name="connsiteX1" fmla="*/ 3196838 w 3251559"/>
                <a:gd name="connsiteY1" fmla="*/ 257442 h 257442"/>
                <a:gd name="connsiteX2" fmla="*/ 0 w 3251559"/>
                <a:gd name="connsiteY2" fmla="*/ 257442 h 257442"/>
                <a:gd name="connsiteX3" fmla="*/ 54721 w 3251559"/>
                <a:gd name="connsiteY3" fmla="*/ 0 h 257442"/>
                <a:gd name="connsiteX0" fmla="*/ 3251559 w 3251559"/>
                <a:gd name="connsiteY0" fmla="*/ 0 h 257442"/>
                <a:gd name="connsiteX1" fmla="*/ 3196838 w 3251559"/>
                <a:gd name="connsiteY1" fmla="*/ 257442 h 257442"/>
                <a:gd name="connsiteX2" fmla="*/ 0 w 3251559"/>
                <a:gd name="connsiteY2" fmla="*/ 257442 h 257442"/>
                <a:gd name="connsiteX3" fmla="*/ 54721 w 3251559"/>
                <a:gd name="connsiteY3" fmla="*/ 0 h 257442"/>
                <a:gd name="connsiteX0" fmla="*/ 3411859 w 3411859"/>
                <a:gd name="connsiteY0" fmla="*/ 0 h 257442"/>
                <a:gd name="connsiteX1" fmla="*/ 3196838 w 3411859"/>
                <a:gd name="connsiteY1" fmla="*/ 257442 h 257442"/>
                <a:gd name="connsiteX2" fmla="*/ 0 w 3411859"/>
                <a:gd name="connsiteY2" fmla="*/ 257442 h 257442"/>
                <a:gd name="connsiteX3" fmla="*/ 54721 w 3411859"/>
                <a:gd name="connsiteY3" fmla="*/ 0 h 257442"/>
                <a:gd name="connsiteX0" fmla="*/ 3411859 w 3411859"/>
                <a:gd name="connsiteY0" fmla="*/ 0 h 257442"/>
                <a:gd name="connsiteX1" fmla="*/ 3357138 w 3411859"/>
                <a:gd name="connsiteY1" fmla="*/ 257442 h 257442"/>
                <a:gd name="connsiteX2" fmla="*/ 0 w 3411859"/>
                <a:gd name="connsiteY2" fmla="*/ 257442 h 257442"/>
                <a:gd name="connsiteX3" fmla="*/ 54721 w 3411859"/>
                <a:gd name="connsiteY3" fmla="*/ 0 h 257442"/>
                <a:gd name="connsiteX0" fmla="*/ 3411859 w 3411859"/>
                <a:gd name="connsiteY0" fmla="*/ 0 h 257442"/>
                <a:gd name="connsiteX1" fmla="*/ 3357138 w 3411859"/>
                <a:gd name="connsiteY1" fmla="*/ 257442 h 257442"/>
                <a:gd name="connsiteX2" fmla="*/ 0 w 3411859"/>
                <a:gd name="connsiteY2" fmla="*/ 257442 h 257442"/>
                <a:gd name="connsiteX3" fmla="*/ 54721 w 3411859"/>
                <a:gd name="connsiteY3" fmla="*/ 0 h 257442"/>
                <a:gd name="connsiteX0" fmla="*/ 3411859 w 3411859"/>
                <a:gd name="connsiteY0" fmla="*/ 0 h 257442"/>
                <a:gd name="connsiteX1" fmla="*/ 3357138 w 3411859"/>
                <a:gd name="connsiteY1" fmla="*/ 257442 h 257442"/>
                <a:gd name="connsiteX2" fmla="*/ 0 w 3411859"/>
                <a:gd name="connsiteY2" fmla="*/ 257442 h 257442"/>
                <a:gd name="connsiteX3" fmla="*/ 54721 w 3411859"/>
                <a:gd name="connsiteY3" fmla="*/ 0 h 257442"/>
                <a:gd name="connsiteX0" fmla="*/ 3580174 w 3580174"/>
                <a:gd name="connsiteY0" fmla="*/ 0 h 257442"/>
                <a:gd name="connsiteX1" fmla="*/ 3357138 w 3580174"/>
                <a:gd name="connsiteY1" fmla="*/ 257442 h 257442"/>
                <a:gd name="connsiteX2" fmla="*/ 0 w 3580174"/>
                <a:gd name="connsiteY2" fmla="*/ 257442 h 257442"/>
                <a:gd name="connsiteX3" fmla="*/ 54721 w 3580174"/>
                <a:gd name="connsiteY3" fmla="*/ 0 h 257442"/>
                <a:gd name="connsiteX0" fmla="*/ 3580174 w 3580174"/>
                <a:gd name="connsiteY0" fmla="*/ 0 h 257442"/>
                <a:gd name="connsiteX1" fmla="*/ 3525452 w 3580174"/>
                <a:gd name="connsiteY1" fmla="*/ 257442 h 257442"/>
                <a:gd name="connsiteX2" fmla="*/ 0 w 3580174"/>
                <a:gd name="connsiteY2" fmla="*/ 257442 h 257442"/>
                <a:gd name="connsiteX3" fmla="*/ 54721 w 3580174"/>
                <a:gd name="connsiteY3" fmla="*/ 0 h 257442"/>
                <a:gd name="connsiteX0" fmla="*/ 3580175 w 3580175"/>
                <a:gd name="connsiteY0" fmla="*/ 0 h 257442"/>
                <a:gd name="connsiteX1" fmla="*/ 3525453 w 3580175"/>
                <a:gd name="connsiteY1" fmla="*/ 257442 h 257442"/>
                <a:gd name="connsiteX2" fmla="*/ 0 w 3580175"/>
                <a:gd name="connsiteY2" fmla="*/ 257442 h 257442"/>
                <a:gd name="connsiteX3" fmla="*/ 54722 w 3580175"/>
                <a:gd name="connsiteY3" fmla="*/ 0 h 257442"/>
                <a:gd name="connsiteX0" fmla="*/ 3580175 w 3580175"/>
                <a:gd name="connsiteY0" fmla="*/ 0 h 257442"/>
                <a:gd name="connsiteX1" fmla="*/ 3525453 w 3580175"/>
                <a:gd name="connsiteY1" fmla="*/ 257442 h 257442"/>
                <a:gd name="connsiteX2" fmla="*/ 0 w 3580175"/>
                <a:gd name="connsiteY2" fmla="*/ 257442 h 257442"/>
                <a:gd name="connsiteX3" fmla="*/ 54722 w 3580175"/>
                <a:gd name="connsiteY3" fmla="*/ 0 h 257442"/>
                <a:gd name="connsiteX0" fmla="*/ 3740476 w 3740476"/>
                <a:gd name="connsiteY0" fmla="*/ 0 h 257442"/>
                <a:gd name="connsiteX1" fmla="*/ 3525453 w 3740476"/>
                <a:gd name="connsiteY1" fmla="*/ 257442 h 257442"/>
                <a:gd name="connsiteX2" fmla="*/ 0 w 3740476"/>
                <a:gd name="connsiteY2" fmla="*/ 257442 h 257442"/>
                <a:gd name="connsiteX3" fmla="*/ 54722 w 3740476"/>
                <a:gd name="connsiteY3" fmla="*/ 0 h 257442"/>
                <a:gd name="connsiteX0" fmla="*/ 3740476 w 3740476"/>
                <a:gd name="connsiteY0" fmla="*/ 0 h 257442"/>
                <a:gd name="connsiteX1" fmla="*/ 3685754 w 3740476"/>
                <a:gd name="connsiteY1" fmla="*/ 257442 h 257442"/>
                <a:gd name="connsiteX2" fmla="*/ 0 w 3740476"/>
                <a:gd name="connsiteY2" fmla="*/ 257442 h 257442"/>
                <a:gd name="connsiteX3" fmla="*/ 54722 w 3740476"/>
                <a:gd name="connsiteY3" fmla="*/ 0 h 257442"/>
                <a:gd name="connsiteX0" fmla="*/ 3740476 w 3740476"/>
                <a:gd name="connsiteY0" fmla="*/ 0 h 257442"/>
                <a:gd name="connsiteX1" fmla="*/ 3685754 w 3740476"/>
                <a:gd name="connsiteY1" fmla="*/ 257442 h 257442"/>
                <a:gd name="connsiteX2" fmla="*/ 0 w 3740476"/>
                <a:gd name="connsiteY2" fmla="*/ 257442 h 257442"/>
                <a:gd name="connsiteX3" fmla="*/ 54722 w 3740476"/>
                <a:gd name="connsiteY3" fmla="*/ 0 h 257442"/>
                <a:gd name="connsiteX0" fmla="*/ 3740476 w 3740476"/>
                <a:gd name="connsiteY0" fmla="*/ 0 h 257442"/>
                <a:gd name="connsiteX1" fmla="*/ 3685754 w 3740476"/>
                <a:gd name="connsiteY1" fmla="*/ 257442 h 257442"/>
                <a:gd name="connsiteX2" fmla="*/ 0 w 3740476"/>
                <a:gd name="connsiteY2" fmla="*/ 257442 h 257442"/>
                <a:gd name="connsiteX3" fmla="*/ 54721 w 3740476"/>
                <a:gd name="connsiteY3" fmla="*/ 0 h 257442"/>
                <a:gd name="connsiteX0" fmla="*/ 3908790 w 3908790"/>
                <a:gd name="connsiteY0" fmla="*/ 0 h 257442"/>
                <a:gd name="connsiteX1" fmla="*/ 3685754 w 3908790"/>
                <a:gd name="connsiteY1" fmla="*/ 257442 h 257442"/>
                <a:gd name="connsiteX2" fmla="*/ 0 w 3908790"/>
                <a:gd name="connsiteY2" fmla="*/ 257442 h 257442"/>
                <a:gd name="connsiteX3" fmla="*/ 54721 w 3908790"/>
                <a:gd name="connsiteY3" fmla="*/ 0 h 257442"/>
                <a:gd name="connsiteX0" fmla="*/ 3908790 w 3908790"/>
                <a:gd name="connsiteY0" fmla="*/ 0 h 257442"/>
                <a:gd name="connsiteX1" fmla="*/ 3854069 w 3908790"/>
                <a:gd name="connsiteY1" fmla="*/ 257442 h 257442"/>
                <a:gd name="connsiteX2" fmla="*/ 0 w 3908790"/>
                <a:gd name="connsiteY2" fmla="*/ 257442 h 257442"/>
                <a:gd name="connsiteX3" fmla="*/ 54721 w 3908790"/>
                <a:gd name="connsiteY3" fmla="*/ 0 h 257442"/>
                <a:gd name="connsiteX0" fmla="*/ 3908790 w 3908790"/>
                <a:gd name="connsiteY0" fmla="*/ 0 h 257442"/>
                <a:gd name="connsiteX1" fmla="*/ 3854069 w 3908790"/>
                <a:gd name="connsiteY1" fmla="*/ 257442 h 257442"/>
                <a:gd name="connsiteX2" fmla="*/ 0 w 3908790"/>
                <a:gd name="connsiteY2" fmla="*/ 257442 h 257442"/>
                <a:gd name="connsiteX3" fmla="*/ 54721 w 3908790"/>
                <a:gd name="connsiteY3" fmla="*/ 0 h 257442"/>
                <a:gd name="connsiteX0" fmla="*/ 3908790 w 3908790"/>
                <a:gd name="connsiteY0" fmla="*/ 0 h 257442"/>
                <a:gd name="connsiteX1" fmla="*/ 3854069 w 3908790"/>
                <a:gd name="connsiteY1" fmla="*/ 257442 h 257442"/>
                <a:gd name="connsiteX2" fmla="*/ 0 w 3908790"/>
                <a:gd name="connsiteY2" fmla="*/ 257442 h 257442"/>
                <a:gd name="connsiteX3" fmla="*/ 54721 w 3908790"/>
                <a:gd name="connsiteY3" fmla="*/ 0 h 257442"/>
                <a:gd name="connsiteX0" fmla="*/ 4150651 w 4150651"/>
                <a:gd name="connsiteY0" fmla="*/ 0 h 257442"/>
                <a:gd name="connsiteX1" fmla="*/ 3854069 w 4150651"/>
                <a:gd name="connsiteY1" fmla="*/ 257442 h 257442"/>
                <a:gd name="connsiteX2" fmla="*/ 0 w 4150651"/>
                <a:gd name="connsiteY2" fmla="*/ 257442 h 257442"/>
                <a:gd name="connsiteX3" fmla="*/ 54721 w 4150651"/>
                <a:gd name="connsiteY3" fmla="*/ 0 h 257442"/>
                <a:gd name="connsiteX0" fmla="*/ 4150651 w 4150651"/>
                <a:gd name="connsiteY0" fmla="*/ 0 h 257442"/>
                <a:gd name="connsiteX1" fmla="*/ 4095930 w 4150651"/>
                <a:gd name="connsiteY1" fmla="*/ 257442 h 257442"/>
                <a:gd name="connsiteX2" fmla="*/ 0 w 4150651"/>
                <a:gd name="connsiteY2" fmla="*/ 257442 h 257442"/>
                <a:gd name="connsiteX3" fmla="*/ 54721 w 4150651"/>
                <a:gd name="connsiteY3" fmla="*/ 0 h 257442"/>
                <a:gd name="connsiteX0" fmla="*/ 4150651 w 4150651"/>
                <a:gd name="connsiteY0" fmla="*/ 0 h 257442"/>
                <a:gd name="connsiteX1" fmla="*/ 4095930 w 4150651"/>
                <a:gd name="connsiteY1" fmla="*/ 257442 h 257442"/>
                <a:gd name="connsiteX2" fmla="*/ 0 w 4150651"/>
                <a:gd name="connsiteY2" fmla="*/ 257442 h 257442"/>
                <a:gd name="connsiteX3" fmla="*/ 54721 w 4150651"/>
                <a:gd name="connsiteY3" fmla="*/ 0 h 257442"/>
                <a:gd name="connsiteX0" fmla="*/ 4150651 w 4150651"/>
                <a:gd name="connsiteY0" fmla="*/ 0 h 257442"/>
                <a:gd name="connsiteX1" fmla="*/ 4095930 w 4150651"/>
                <a:gd name="connsiteY1" fmla="*/ 257442 h 257442"/>
                <a:gd name="connsiteX2" fmla="*/ 0 w 4150651"/>
                <a:gd name="connsiteY2" fmla="*/ 257442 h 257442"/>
                <a:gd name="connsiteX3" fmla="*/ 54721 w 4150651"/>
                <a:gd name="connsiteY3" fmla="*/ 0 h 257442"/>
                <a:gd name="connsiteX0" fmla="*/ 4328584 w 4328584"/>
                <a:gd name="connsiteY0" fmla="*/ 0 h 257442"/>
                <a:gd name="connsiteX1" fmla="*/ 4095930 w 4328584"/>
                <a:gd name="connsiteY1" fmla="*/ 257442 h 257442"/>
                <a:gd name="connsiteX2" fmla="*/ 0 w 4328584"/>
                <a:gd name="connsiteY2" fmla="*/ 257442 h 257442"/>
                <a:gd name="connsiteX3" fmla="*/ 54721 w 4328584"/>
                <a:gd name="connsiteY3" fmla="*/ 0 h 257442"/>
                <a:gd name="connsiteX0" fmla="*/ 4328584 w 4328584"/>
                <a:gd name="connsiteY0" fmla="*/ 0 h 257442"/>
                <a:gd name="connsiteX1" fmla="*/ 4273862 w 4328584"/>
                <a:gd name="connsiteY1" fmla="*/ 257442 h 257442"/>
                <a:gd name="connsiteX2" fmla="*/ 0 w 4328584"/>
                <a:gd name="connsiteY2" fmla="*/ 257442 h 257442"/>
                <a:gd name="connsiteX3" fmla="*/ 54721 w 4328584"/>
                <a:gd name="connsiteY3" fmla="*/ 0 h 257442"/>
                <a:gd name="connsiteX0" fmla="*/ 4328585 w 4328585"/>
                <a:gd name="connsiteY0" fmla="*/ 0 h 257442"/>
                <a:gd name="connsiteX1" fmla="*/ 4273863 w 4328585"/>
                <a:gd name="connsiteY1" fmla="*/ 257442 h 257442"/>
                <a:gd name="connsiteX2" fmla="*/ 0 w 4328585"/>
                <a:gd name="connsiteY2" fmla="*/ 257442 h 257442"/>
                <a:gd name="connsiteX3" fmla="*/ 54722 w 4328585"/>
                <a:gd name="connsiteY3" fmla="*/ 0 h 257442"/>
                <a:gd name="connsiteX0" fmla="*/ 4328585 w 4328585"/>
                <a:gd name="connsiteY0" fmla="*/ 0 h 257442"/>
                <a:gd name="connsiteX1" fmla="*/ 4273863 w 4328585"/>
                <a:gd name="connsiteY1" fmla="*/ 257442 h 257442"/>
                <a:gd name="connsiteX2" fmla="*/ 0 w 4328585"/>
                <a:gd name="connsiteY2" fmla="*/ 257442 h 257442"/>
                <a:gd name="connsiteX3" fmla="*/ 54722 w 4328585"/>
                <a:gd name="connsiteY3" fmla="*/ 0 h 257442"/>
                <a:gd name="connsiteX0" fmla="*/ 4496900 w 4496900"/>
                <a:gd name="connsiteY0" fmla="*/ 0 h 257442"/>
                <a:gd name="connsiteX1" fmla="*/ 4273863 w 4496900"/>
                <a:gd name="connsiteY1" fmla="*/ 257442 h 257442"/>
                <a:gd name="connsiteX2" fmla="*/ 0 w 4496900"/>
                <a:gd name="connsiteY2" fmla="*/ 257442 h 257442"/>
                <a:gd name="connsiteX3" fmla="*/ 54722 w 4496900"/>
                <a:gd name="connsiteY3" fmla="*/ 0 h 257442"/>
                <a:gd name="connsiteX0" fmla="*/ 4496900 w 4496900"/>
                <a:gd name="connsiteY0" fmla="*/ 0 h 257442"/>
                <a:gd name="connsiteX1" fmla="*/ 4442179 w 4496900"/>
                <a:gd name="connsiteY1" fmla="*/ 257442 h 257442"/>
                <a:gd name="connsiteX2" fmla="*/ 0 w 4496900"/>
                <a:gd name="connsiteY2" fmla="*/ 257442 h 257442"/>
                <a:gd name="connsiteX3" fmla="*/ 54722 w 4496900"/>
                <a:gd name="connsiteY3" fmla="*/ 0 h 257442"/>
                <a:gd name="connsiteX0" fmla="*/ 4496900 w 4496900"/>
                <a:gd name="connsiteY0" fmla="*/ 0 h 257442"/>
                <a:gd name="connsiteX1" fmla="*/ 4442179 w 4496900"/>
                <a:gd name="connsiteY1" fmla="*/ 257442 h 257442"/>
                <a:gd name="connsiteX2" fmla="*/ 0 w 4496900"/>
                <a:gd name="connsiteY2" fmla="*/ 257442 h 257442"/>
                <a:gd name="connsiteX3" fmla="*/ 54722 w 4496900"/>
                <a:gd name="connsiteY3" fmla="*/ 0 h 257442"/>
                <a:gd name="connsiteX0" fmla="*/ 4496900 w 4496900"/>
                <a:gd name="connsiteY0" fmla="*/ 0 h 257442"/>
                <a:gd name="connsiteX1" fmla="*/ 4442179 w 4496900"/>
                <a:gd name="connsiteY1" fmla="*/ 257442 h 257442"/>
                <a:gd name="connsiteX2" fmla="*/ 0 w 4496900"/>
                <a:gd name="connsiteY2" fmla="*/ 257442 h 257442"/>
                <a:gd name="connsiteX3" fmla="*/ 54721 w 4496900"/>
                <a:gd name="connsiteY3" fmla="*/ 0 h 257442"/>
                <a:gd name="connsiteX0" fmla="*/ 4285304 w 4442179"/>
                <a:gd name="connsiteY0" fmla="*/ 0 h 257442"/>
                <a:gd name="connsiteX1" fmla="*/ 4442179 w 4442179"/>
                <a:gd name="connsiteY1" fmla="*/ 257442 h 257442"/>
                <a:gd name="connsiteX2" fmla="*/ 0 w 4442179"/>
                <a:gd name="connsiteY2" fmla="*/ 257442 h 257442"/>
                <a:gd name="connsiteX3" fmla="*/ 54721 w 4442179"/>
                <a:gd name="connsiteY3" fmla="*/ 0 h 257442"/>
                <a:gd name="connsiteX0" fmla="*/ 4285304 w 4285304"/>
                <a:gd name="connsiteY0" fmla="*/ 0 h 257442"/>
                <a:gd name="connsiteX1" fmla="*/ 4230584 w 4285304"/>
                <a:gd name="connsiteY1" fmla="*/ 257442 h 257442"/>
                <a:gd name="connsiteX2" fmla="*/ 0 w 4285304"/>
                <a:gd name="connsiteY2" fmla="*/ 257442 h 257442"/>
                <a:gd name="connsiteX3" fmla="*/ 54721 w 4285304"/>
                <a:gd name="connsiteY3" fmla="*/ 0 h 257442"/>
                <a:gd name="connsiteX0" fmla="*/ 4285303 w 4285303"/>
                <a:gd name="connsiteY0" fmla="*/ 0 h 257442"/>
                <a:gd name="connsiteX1" fmla="*/ 4230583 w 4285303"/>
                <a:gd name="connsiteY1" fmla="*/ 257442 h 257442"/>
                <a:gd name="connsiteX2" fmla="*/ 0 w 4285303"/>
                <a:gd name="connsiteY2" fmla="*/ 257442 h 257442"/>
                <a:gd name="connsiteX3" fmla="*/ 54720 w 4285303"/>
                <a:gd name="connsiteY3" fmla="*/ 0 h 257442"/>
                <a:gd name="connsiteX0" fmla="*/ 4285303 w 4285303"/>
                <a:gd name="connsiteY0" fmla="*/ 0 h 257442"/>
                <a:gd name="connsiteX1" fmla="*/ 4230583 w 4285303"/>
                <a:gd name="connsiteY1" fmla="*/ 257442 h 257442"/>
                <a:gd name="connsiteX2" fmla="*/ 0 w 4285303"/>
                <a:gd name="connsiteY2" fmla="*/ 257442 h 257442"/>
                <a:gd name="connsiteX3" fmla="*/ 54721 w 4285303"/>
                <a:gd name="connsiteY3" fmla="*/ 0 h 257442"/>
                <a:gd name="connsiteX0" fmla="*/ 4015999 w 4230583"/>
                <a:gd name="connsiteY0" fmla="*/ 0 h 257442"/>
                <a:gd name="connsiteX1" fmla="*/ 4230583 w 4230583"/>
                <a:gd name="connsiteY1" fmla="*/ 257442 h 257442"/>
                <a:gd name="connsiteX2" fmla="*/ 0 w 4230583"/>
                <a:gd name="connsiteY2" fmla="*/ 257442 h 257442"/>
                <a:gd name="connsiteX3" fmla="*/ 54721 w 4230583"/>
                <a:gd name="connsiteY3" fmla="*/ 0 h 257442"/>
                <a:gd name="connsiteX0" fmla="*/ 4015999 w 4015999"/>
                <a:gd name="connsiteY0" fmla="*/ 0 h 257442"/>
                <a:gd name="connsiteX1" fmla="*/ 3961278 w 4015999"/>
                <a:gd name="connsiteY1" fmla="*/ 257442 h 257442"/>
                <a:gd name="connsiteX2" fmla="*/ 0 w 4015999"/>
                <a:gd name="connsiteY2" fmla="*/ 257442 h 257442"/>
                <a:gd name="connsiteX3" fmla="*/ 54721 w 4015999"/>
                <a:gd name="connsiteY3" fmla="*/ 0 h 257442"/>
                <a:gd name="connsiteX0" fmla="*/ 4015999 w 4015999"/>
                <a:gd name="connsiteY0" fmla="*/ 0 h 257442"/>
                <a:gd name="connsiteX1" fmla="*/ 3961278 w 4015999"/>
                <a:gd name="connsiteY1" fmla="*/ 257442 h 257442"/>
                <a:gd name="connsiteX2" fmla="*/ 0 w 4015999"/>
                <a:gd name="connsiteY2" fmla="*/ 257442 h 257442"/>
                <a:gd name="connsiteX3" fmla="*/ 54721 w 4015999"/>
                <a:gd name="connsiteY3" fmla="*/ 0 h 257442"/>
                <a:gd name="connsiteX0" fmla="*/ 4015999 w 4015999"/>
                <a:gd name="connsiteY0" fmla="*/ 0 h 257442"/>
                <a:gd name="connsiteX1" fmla="*/ 3961278 w 4015999"/>
                <a:gd name="connsiteY1" fmla="*/ 257442 h 257442"/>
                <a:gd name="connsiteX2" fmla="*/ 0 w 4015999"/>
                <a:gd name="connsiteY2" fmla="*/ 257442 h 257442"/>
                <a:gd name="connsiteX3" fmla="*/ 54721 w 4015999"/>
                <a:gd name="connsiteY3" fmla="*/ 0 h 257442"/>
                <a:gd name="connsiteX0" fmla="*/ 3838065 w 3961278"/>
                <a:gd name="connsiteY0" fmla="*/ 0 h 257442"/>
                <a:gd name="connsiteX1" fmla="*/ 3961278 w 3961278"/>
                <a:gd name="connsiteY1" fmla="*/ 257442 h 257442"/>
                <a:gd name="connsiteX2" fmla="*/ 0 w 3961278"/>
                <a:gd name="connsiteY2" fmla="*/ 257442 h 257442"/>
                <a:gd name="connsiteX3" fmla="*/ 54721 w 3961278"/>
                <a:gd name="connsiteY3" fmla="*/ 0 h 257442"/>
                <a:gd name="connsiteX0" fmla="*/ 3838065 w 3838065"/>
                <a:gd name="connsiteY0" fmla="*/ 0 h 257442"/>
                <a:gd name="connsiteX1" fmla="*/ 3783344 w 3838065"/>
                <a:gd name="connsiteY1" fmla="*/ 257442 h 257442"/>
                <a:gd name="connsiteX2" fmla="*/ 0 w 3838065"/>
                <a:gd name="connsiteY2" fmla="*/ 257442 h 257442"/>
                <a:gd name="connsiteX3" fmla="*/ 54721 w 3838065"/>
                <a:gd name="connsiteY3" fmla="*/ 0 h 257442"/>
                <a:gd name="connsiteX0" fmla="*/ 3838064 w 3838064"/>
                <a:gd name="connsiteY0" fmla="*/ 0 h 257442"/>
                <a:gd name="connsiteX1" fmla="*/ 3783343 w 3838064"/>
                <a:gd name="connsiteY1" fmla="*/ 257442 h 257442"/>
                <a:gd name="connsiteX2" fmla="*/ 0 w 3838064"/>
                <a:gd name="connsiteY2" fmla="*/ 257442 h 257442"/>
                <a:gd name="connsiteX3" fmla="*/ 54720 w 3838064"/>
                <a:gd name="connsiteY3" fmla="*/ 0 h 257442"/>
                <a:gd name="connsiteX0" fmla="*/ 3838064 w 3838064"/>
                <a:gd name="connsiteY0" fmla="*/ 0 h 257442"/>
                <a:gd name="connsiteX1" fmla="*/ 3783343 w 3838064"/>
                <a:gd name="connsiteY1" fmla="*/ 257442 h 257442"/>
                <a:gd name="connsiteX2" fmla="*/ 0 w 3838064"/>
                <a:gd name="connsiteY2" fmla="*/ 257442 h 257442"/>
                <a:gd name="connsiteX3" fmla="*/ 54720 w 3838064"/>
                <a:gd name="connsiteY3" fmla="*/ 0 h 257442"/>
                <a:gd name="connsiteX0" fmla="*/ 4015998 w 4015998"/>
                <a:gd name="connsiteY0" fmla="*/ 0 h 257442"/>
                <a:gd name="connsiteX1" fmla="*/ 3783343 w 4015998"/>
                <a:gd name="connsiteY1" fmla="*/ 257442 h 257442"/>
                <a:gd name="connsiteX2" fmla="*/ 0 w 4015998"/>
                <a:gd name="connsiteY2" fmla="*/ 257442 h 257442"/>
                <a:gd name="connsiteX3" fmla="*/ 54720 w 4015998"/>
                <a:gd name="connsiteY3" fmla="*/ 0 h 257442"/>
                <a:gd name="connsiteX0" fmla="*/ 4015998 w 4015998"/>
                <a:gd name="connsiteY0" fmla="*/ 0 h 257442"/>
                <a:gd name="connsiteX1" fmla="*/ 3961277 w 4015998"/>
                <a:gd name="connsiteY1" fmla="*/ 257442 h 257442"/>
                <a:gd name="connsiteX2" fmla="*/ 0 w 4015998"/>
                <a:gd name="connsiteY2" fmla="*/ 257442 h 257442"/>
                <a:gd name="connsiteX3" fmla="*/ 54720 w 4015998"/>
                <a:gd name="connsiteY3" fmla="*/ 0 h 257442"/>
                <a:gd name="connsiteX0" fmla="*/ 4015999 w 4015999"/>
                <a:gd name="connsiteY0" fmla="*/ 0 h 257442"/>
                <a:gd name="connsiteX1" fmla="*/ 3961278 w 4015999"/>
                <a:gd name="connsiteY1" fmla="*/ 257442 h 257442"/>
                <a:gd name="connsiteX2" fmla="*/ 0 w 4015999"/>
                <a:gd name="connsiteY2" fmla="*/ 257442 h 257442"/>
                <a:gd name="connsiteX3" fmla="*/ 54721 w 4015999"/>
                <a:gd name="connsiteY3" fmla="*/ 0 h 257442"/>
                <a:gd name="connsiteX0" fmla="*/ 4015999 w 4015999"/>
                <a:gd name="connsiteY0" fmla="*/ 0 h 257442"/>
                <a:gd name="connsiteX1" fmla="*/ 3961278 w 4015999"/>
                <a:gd name="connsiteY1" fmla="*/ 257442 h 257442"/>
                <a:gd name="connsiteX2" fmla="*/ 0 w 4015999"/>
                <a:gd name="connsiteY2" fmla="*/ 257442 h 257442"/>
                <a:gd name="connsiteX3" fmla="*/ 54722 w 4015999"/>
                <a:gd name="connsiteY3" fmla="*/ 0 h 257442"/>
                <a:gd name="connsiteX0" fmla="*/ 4184315 w 4184315"/>
                <a:gd name="connsiteY0" fmla="*/ 0 h 257442"/>
                <a:gd name="connsiteX1" fmla="*/ 3961278 w 4184315"/>
                <a:gd name="connsiteY1" fmla="*/ 257442 h 257442"/>
                <a:gd name="connsiteX2" fmla="*/ 0 w 4184315"/>
                <a:gd name="connsiteY2" fmla="*/ 257442 h 257442"/>
                <a:gd name="connsiteX3" fmla="*/ 54722 w 4184315"/>
                <a:gd name="connsiteY3" fmla="*/ 0 h 257442"/>
                <a:gd name="connsiteX0" fmla="*/ 4184315 w 4184315"/>
                <a:gd name="connsiteY0" fmla="*/ 0 h 257442"/>
                <a:gd name="connsiteX1" fmla="*/ 4129594 w 4184315"/>
                <a:gd name="connsiteY1" fmla="*/ 257442 h 257442"/>
                <a:gd name="connsiteX2" fmla="*/ 0 w 4184315"/>
                <a:gd name="connsiteY2" fmla="*/ 257442 h 257442"/>
                <a:gd name="connsiteX3" fmla="*/ 54722 w 4184315"/>
                <a:gd name="connsiteY3" fmla="*/ 0 h 257442"/>
                <a:gd name="connsiteX0" fmla="*/ 4184314 w 4184314"/>
                <a:gd name="connsiteY0" fmla="*/ 0 h 257442"/>
                <a:gd name="connsiteX1" fmla="*/ 4129593 w 4184314"/>
                <a:gd name="connsiteY1" fmla="*/ 257442 h 257442"/>
                <a:gd name="connsiteX2" fmla="*/ 0 w 4184314"/>
                <a:gd name="connsiteY2" fmla="*/ 257442 h 257442"/>
                <a:gd name="connsiteX3" fmla="*/ 54721 w 4184314"/>
                <a:gd name="connsiteY3" fmla="*/ 0 h 257442"/>
                <a:gd name="connsiteX0" fmla="*/ 4184314 w 4184314"/>
                <a:gd name="connsiteY0" fmla="*/ 0 h 257442"/>
                <a:gd name="connsiteX1" fmla="*/ 4129593 w 4184314"/>
                <a:gd name="connsiteY1" fmla="*/ 257442 h 257442"/>
                <a:gd name="connsiteX2" fmla="*/ 0 w 4184314"/>
                <a:gd name="connsiteY2" fmla="*/ 257442 h 257442"/>
                <a:gd name="connsiteX3" fmla="*/ 54720 w 4184314"/>
                <a:gd name="connsiteY3" fmla="*/ 0 h 257442"/>
                <a:gd name="connsiteX0" fmla="*/ 4437588 w 4437588"/>
                <a:gd name="connsiteY0" fmla="*/ 0 h 257442"/>
                <a:gd name="connsiteX1" fmla="*/ 4129593 w 4437588"/>
                <a:gd name="connsiteY1" fmla="*/ 257442 h 257442"/>
                <a:gd name="connsiteX2" fmla="*/ 0 w 4437588"/>
                <a:gd name="connsiteY2" fmla="*/ 257442 h 257442"/>
                <a:gd name="connsiteX3" fmla="*/ 54720 w 4437588"/>
                <a:gd name="connsiteY3" fmla="*/ 0 h 257442"/>
                <a:gd name="connsiteX0" fmla="*/ 4437588 w 4437588"/>
                <a:gd name="connsiteY0" fmla="*/ 0 h 257442"/>
                <a:gd name="connsiteX1" fmla="*/ 4382867 w 4437588"/>
                <a:gd name="connsiteY1" fmla="*/ 257442 h 257442"/>
                <a:gd name="connsiteX2" fmla="*/ 0 w 4437588"/>
                <a:gd name="connsiteY2" fmla="*/ 257442 h 257442"/>
                <a:gd name="connsiteX3" fmla="*/ 54720 w 4437588"/>
                <a:gd name="connsiteY3" fmla="*/ 0 h 257442"/>
                <a:gd name="connsiteX0" fmla="*/ 4437589 w 4437589"/>
                <a:gd name="connsiteY0" fmla="*/ 0 h 257442"/>
                <a:gd name="connsiteX1" fmla="*/ 4382868 w 4437589"/>
                <a:gd name="connsiteY1" fmla="*/ 257442 h 257442"/>
                <a:gd name="connsiteX2" fmla="*/ 0 w 4437589"/>
                <a:gd name="connsiteY2" fmla="*/ 257442 h 257442"/>
                <a:gd name="connsiteX3" fmla="*/ 54721 w 4437589"/>
                <a:gd name="connsiteY3" fmla="*/ 0 h 257442"/>
                <a:gd name="connsiteX0" fmla="*/ 4437589 w 4437589"/>
                <a:gd name="connsiteY0" fmla="*/ 0 h 257442"/>
                <a:gd name="connsiteX1" fmla="*/ 4382868 w 4437589"/>
                <a:gd name="connsiteY1" fmla="*/ 257442 h 257442"/>
                <a:gd name="connsiteX2" fmla="*/ 0 w 4437589"/>
                <a:gd name="connsiteY2" fmla="*/ 257442 h 257442"/>
                <a:gd name="connsiteX3" fmla="*/ 54722 w 4437589"/>
                <a:gd name="connsiteY3" fmla="*/ 0 h 257442"/>
                <a:gd name="connsiteX0" fmla="*/ 4597890 w 4597890"/>
                <a:gd name="connsiteY0" fmla="*/ 0 h 257442"/>
                <a:gd name="connsiteX1" fmla="*/ 4382868 w 4597890"/>
                <a:gd name="connsiteY1" fmla="*/ 257442 h 257442"/>
                <a:gd name="connsiteX2" fmla="*/ 0 w 4597890"/>
                <a:gd name="connsiteY2" fmla="*/ 257442 h 257442"/>
                <a:gd name="connsiteX3" fmla="*/ 54722 w 4597890"/>
                <a:gd name="connsiteY3" fmla="*/ 0 h 257442"/>
                <a:gd name="connsiteX0" fmla="*/ 4597890 w 4597890"/>
                <a:gd name="connsiteY0" fmla="*/ 0 h 257442"/>
                <a:gd name="connsiteX1" fmla="*/ 4543168 w 4597890"/>
                <a:gd name="connsiteY1" fmla="*/ 257442 h 257442"/>
                <a:gd name="connsiteX2" fmla="*/ 0 w 4597890"/>
                <a:gd name="connsiteY2" fmla="*/ 257442 h 257442"/>
                <a:gd name="connsiteX3" fmla="*/ 54722 w 4597890"/>
                <a:gd name="connsiteY3" fmla="*/ 0 h 257442"/>
                <a:gd name="connsiteX0" fmla="*/ 4597890 w 4597890"/>
                <a:gd name="connsiteY0" fmla="*/ 0 h 257442"/>
                <a:gd name="connsiteX1" fmla="*/ 4543168 w 4597890"/>
                <a:gd name="connsiteY1" fmla="*/ 257442 h 257442"/>
                <a:gd name="connsiteX2" fmla="*/ 0 w 4597890"/>
                <a:gd name="connsiteY2" fmla="*/ 257442 h 257442"/>
                <a:gd name="connsiteX3" fmla="*/ 54722 w 4597890"/>
                <a:gd name="connsiteY3" fmla="*/ 0 h 257442"/>
                <a:gd name="connsiteX0" fmla="*/ 4597890 w 4597890"/>
                <a:gd name="connsiteY0" fmla="*/ 0 h 257442"/>
                <a:gd name="connsiteX1" fmla="*/ 4543168 w 4597890"/>
                <a:gd name="connsiteY1" fmla="*/ 257442 h 257442"/>
                <a:gd name="connsiteX2" fmla="*/ 0 w 4597890"/>
                <a:gd name="connsiteY2" fmla="*/ 257442 h 257442"/>
                <a:gd name="connsiteX3" fmla="*/ 54721 w 4597890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97890" h="257442">
                  <a:moveTo>
                    <a:pt x="4597890" y="0"/>
                  </a:moveTo>
                  <a:lnTo>
                    <a:pt x="4543168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85" name="btfpRunningAgenda2LevelTextRight318982">
              <a:extLst>
                <a:ext uri="{FF2B5EF4-FFF2-40B4-BE49-F238E27FC236}">
                  <a16:creationId xmlns:a16="http://schemas.microsoft.com/office/drawing/2014/main" id="{CAC5C90E-F5D8-43A0-FD13-FF7D2CBA885F}"/>
                </a:ext>
              </a:extLst>
            </p:cNvPr>
            <p:cNvSpPr txBox="1"/>
            <p:nvPr/>
          </p:nvSpPr>
          <p:spPr bwMode="gray">
            <a:xfrm>
              <a:off x="2192938" y="876300"/>
              <a:ext cx="454316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Compensation By Seniority</a:t>
              </a:r>
            </a:p>
          </p:txBody>
        </p:sp>
      </p:grpSp>
      <p:grpSp>
        <p:nvGrpSpPr>
          <p:cNvPr id="10" name="btfpStatusSticker149086">
            <a:extLst>
              <a:ext uri="{FF2B5EF4-FFF2-40B4-BE49-F238E27FC236}">
                <a16:creationId xmlns:a16="http://schemas.microsoft.com/office/drawing/2014/main" id="{5EC4DD95-50F9-09D0-3F75-0930600DA956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355669" y="955344"/>
            <a:ext cx="1619995" cy="235611"/>
            <a:chOff x="-7286677" y="876300"/>
            <a:chExt cx="1619995" cy="235611"/>
          </a:xfrm>
        </p:grpSpPr>
        <p:sp>
          <p:nvSpPr>
            <p:cNvPr id="35" name="btfpStatusStickerText149086">
              <a:extLst>
                <a:ext uri="{FF2B5EF4-FFF2-40B4-BE49-F238E27FC236}">
                  <a16:creationId xmlns:a16="http://schemas.microsoft.com/office/drawing/2014/main" id="{62B47E66-983C-D9F7-2266-8E997A87D7D2}"/>
                </a:ext>
              </a:extLst>
            </p:cNvPr>
            <p:cNvSpPr txBox="1"/>
            <p:nvPr/>
          </p:nvSpPr>
          <p:spPr bwMode="gray">
            <a:xfrm>
              <a:off x="-7286677" y="876300"/>
              <a:ext cx="1619995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Sales only</a:t>
              </a:r>
            </a:p>
          </p:txBody>
        </p:sp>
        <p:cxnSp>
          <p:nvCxnSpPr>
            <p:cNvPr id="36" name="btfpStatusStickerLine149086">
              <a:extLst>
                <a:ext uri="{FF2B5EF4-FFF2-40B4-BE49-F238E27FC236}">
                  <a16:creationId xmlns:a16="http://schemas.microsoft.com/office/drawing/2014/main" id="{AB35B440-CBBF-D00D-2F9A-50275DBDC145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7286677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Rectangle 56">
            <a:extLst>
              <a:ext uri="{FF2B5EF4-FFF2-40B4-BE49-F238E27FC236}">
                <a16:creationId xmlns:a16="http://schemas.microsoft.com/office/drawing/2014/main" id="{D730C9A8-4F84-2ACA-8291-3060488B8952}"/>
              </a:ext>
            </a:extLst>
          </p:cNvPr>
          <p:cNvSpPr/>
          <p:nvPr/>
        </p:nvSpPr>
        <p:spPr bwMode="gray">
          <a:xfrm>
            <a:off x="1070853" y="5720969"/>
            <a:ext cx="4927527" cy="15722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b="1" i="1">
                <a:solidFill>
                  <a:schemeClr val="tx1"/>
                </a:solidFill>
              </a:rPr>
              <a:t>R2R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403E9DC-D837-739A-DD93-D2B4E541516D}"/>
              </a:ext>
            </a:extLst>
          </p:cNvPr>
          <p:cNvSpPr/>
          <p:nvPr/>
        </p:nvSpPr>
        <p:spPr bwMode="gray">
          <a:xfrm>
            <a:off x="9864524" y="1431196"/>
            <a:ext cx="2003902" cy="67955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>
                <a:solidFill>
                  <a:schemeClr val="tx1"/>
                </a:solidFill>
              </a:rPr>
              <a:t>BCN: Reported salaries for marketing roles are low N (&lt;3) across players and hence have been excluded from the analysis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889F4F32-76CA-106A-6268-2C131A23EF52}"/>
              </a:ext>
            </a:extLst>
          </p:cNvPr>
          <p:cNvSpPr/>
          <p:nvPr/>
        </p:nvSpPr>
        <p:spPr bwMode="gray">
          <a:xfrm>
            <a:off x="8747714" y="6141051"/>
            <a:ext cx="700014" cy="14446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i="1">
                <a:solidFill>
                  <a:schemeClr val="tx1"/>
                </a:solidFill>
              </a:rPr>
              <a:t>Low N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EE13FAA-70BB-B757-B081-3A6213173C84}"/>
              </a:ext>
            </a:extLst>
          </p:cNvPr>
          <p:cNvSpPr/>
          <p:nvPr/>
        </p:nvSpPr>
        <p:spPr bwMode="gray">
          <a:xfrm>
            <a:off x="7367483" y="6129446"/>
            <a:ext cx="434654" cy="14446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i="1">
                <a:solidFill>
                  <a:schemeClr val="tx1"/>
                </a:solidFill>
              </a:rPr>
              <a:t>Low 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9BF78E3-3D90-CAA5-1BB5-479C1DAD903D}"/>
              </a:ext>
            </a:extLst>
          </p:cNvPr>
          <p:cNvSpPr/>
          <p:nvPr/>
        </p:nvSpPr>
        <p:spPr bwMode="gray">
          <a:xfrm>
            <a:off x="4858613" y="6141051"/>
            <a:ext cx="434654" cy="14446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i="1">
                <a:solidFill>
                  <a:schemeClr val="tx1"/>
                </a:solidFill>
              </a:rPr>
              <a:t>Low 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830291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tfpNotesBox914511">
            <a:extLst>
              <a:ext uri="{FF2B5EF4-FFF2-40B4-BE49-F238E27FC236}">
                <a16:creationId xmlns:a16="http://schemas.microsoft.com/office/drawing/2014/main" id="{0D549B1D-8B19-49C0-98A4-D0FBC2328AD2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330200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buNone/>
            </a:pPr>
            <a:r>
              <a:rPr lang="en-US" sz="800" dirty="0"/>
              <a:t>Note: Each data point is an avg. salary data point for sample titles; # of profiles &lt;=5 defined as low N </a:t>
            </a:r>
            <a:br>
              <a:rPr lang="en-US" sz="800" dirty="0"/>
            </a:br>
            <a:r>
              <a:rPr lang="en-US" sz="800" dirty="0"/>
              <a:t>Source: Glassdoor, Bain analysis</a:t>
            </a:r>
          </a:p>
        </p:txBody>
      </p:sp>
      <p:grpSp>
        <p:nvGrpSpPr>
          <p:cNvPr id="36" name="btfpColumnIndicatorGroup2">
            <a:extLst>
              <a:ext uri="{FF2B5EF4-FFF2-40B4-BE49-F238E27FC236}">
                <a16:creationId xmlns:a16="http://schemas.microsoft.com/office/drawing/2014/main" id="{DE8CA20D-5C0C-7326-F7EF-367D43E8ECA8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5" name="btfpColumnGapBlocker622294">
              <a:extLst>
                <a:ext uri="{FF2B5EF4-FFF2-40B4-BE49-F238E27FC236}">
                  <a16:creationId xmlns:a16="http://schemas.microsoft.com/office/drawing/2014/main" id="{49FCDA33-6534-B19C-A9F0-349011ED642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4" name="btfpColumnGapBlocker525623">
              <a:extLst>
                <a:ext uri="{FF2B5EF4-FFF2-40B4-BE49-F238E27FC236}">
                  <a16:creationId xmlns:a16="http://schemas.microsoft.com/office/drawing/2014/main" id="{2D4E5A8E-75E9-0469-E9C5-4550589B2293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743928">
              <a:extLst>
                <a:ext uri="{FF2B5EF4-FFF2-40B4-BE49-F238E27FC236}">
                  <a16:creationId xmlns:a16="http://schemas.microsoft.com/office/drawing/2014/main" id="{7B23D77F-5DC3-740E-11E4-F78894436F02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417976">
              <a:extLst>
                <a:ext uri="{FF2B5EF4-FFF2-40B4-BE49-F238E27FC236}">
                  <a16:creationId xmlns:a16="http://schemas.microsoft.com/office/drawing/2014/main" id="{CAE3A07A-6E45-DA9E-6A7F-60A80E7A23EF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btfpColumnIndicatorGroup1">
            <a:extLst>
              <a:ext uri="{FF2B5EF4-FFF2-40B4-BE49-F238E27FC236}">
                <a16:creationId xmlns:a16="http://schemas.microsoft.com/office/drawing/2014/main" id="{B697B92C-1C3D-14BC-BF44-D38FDA426203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4" name="btfpColumnGapBlocker807484">
              <a:extLst>
                <a:ext uri="{FF2B5EF4-FFF2-40B4-BE49-F238E27FC236}">
                  <a16:creationId xmlns:a16="http://schemas.microsoft.com/office/drawing/2014/main" id="{057E1A9E-C8A5-FDDF-71C7-69BE1EA5FFC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2" name="btfpColumnGapBlocker296643">
              <a:extLst>
                <a:ext uri="{FF2B5EF4-FFF2-40B4-BE49-F238E27FC236}">
                  <a16:creationId xmlns:a16="http://schemas.microsoft.com/office/drawing/2014/main" id="{ECA22EB4-D55C-500F-C978-F4D0386DFD76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241141">
              <a:extLst>
                <a:ext uri="{FF2B5EF4-FFF2-40B4-BE49-F238E27FC236}">
                  <a16:creationId xmlns:a16="http://schemas.microsoft.com/office/drawing/2014/main" id="{A250EEF7-0FED-2FF4-9F32-8E522E498BD8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582876">
              <a:extLst>
                <a:ext uri="{FF2B5EF4-FFF2-40B4-BE49-F238E27FC236}">
                  <a16:creationId xmlns:a16="http://schemas.microsoft.com/office/drawing/2014/main" id="{EEFD0F96-B804-CFB8-29AE-59388E0A2B94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laze offers competitive compensation across different sales roles compared to other players </a:t>
            </a: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189893" y="12058"/>
            <a:ext cx="8440615" cy="83639"/>
          </a:xfrm>
          <a:prstGeom prst="rect">
            <a:avLst/>
          </a:prstGeom>
          <a:noFill/>
        </p:spPr>
        <p:txBody>
          <a:bodyPr vert="horz" wrap="square" lIns="34180" tIns="34180" rIns="34180" bIns="34180" rtlCol="0">
            <a:spAutoFit/>
          </a:bodyPr>
          <a:lstStyle/>
          <a:p>
            <a:r>
              <a:rPr lang="en-US" sz="100">
                <a:solidFill>
                  <a:srgbClr val="FFFFFF"/>
                </a:solidFill>
              </a:rPr>
              <a:t>8_84</a:t>
            </a:r>
          </a:p>
        </p:txBody>
      </p:sp>
      <p:sp>
        <p:nvSpPr>
          <p:cNvPr id="3" name="btfpLayoutConfig" hidden="1"/>
          <p:cNvSpPr txBox="1"/>
          <p:nvPr/>
        </p:nvSpPr>
        <p:spPr bwMode="gray">
          <a:xfrm>
            <a:off x="12700" y="12700"/>
            <a:ext cx="726728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1720670007209267 columns_1_131720670007209267 11_1_131720674872631816 8_1_132390927635553179 </a:t>
            </a:r>
          </a:p>
        </p:txBody>
      </p:sp>
      <p:grpSp>
        <p:nvGrpSpPr>
          <p:cNvPr id="28" name="btfpStatusSticker925000">
            <a:extLst>
              <a:ext uri="{FF2B5EF4-FFF2-40B4-BE49-F238E27FC236}">
                <a16:creationId xmlns:a16="http://schemas.microsoft.com/office/drawing/2014/main" id="{FA727474-6B03-40FB-BB77-4499BE519D4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102664" y="955344"/>
            <a:ext cx="1759136" cy="235611"/>
            <a:chOff x="-3245888" y="876300"/>
            <a:chExt cx="1759136" cy="235611"/>
          </a:xfrm>
        </p:grpSpPr>
        <p:sp>
          <p:nvSpPr>
            <p:cNvPr id="26" name="btfpStatusStickerText925000">
              <a:extLst>
                <a:ext uri="{FF2B5EF4-FFF2-40B4-BE49-F238E27FC236}">
                  <a16:creationId xmlns:a16="http://schemas.microsoft.com/office/drawing/2014/main" id="{A4806A47-236A-441B-8941-C6C52536C08D}"/>
                </a:ext>
              </a:extLst>
            </p:cNvPr>
            <p:cNvSpPr txBox="1"/>
            <p:nvPr/>
          </p:nvSpPr>
          <p:spPr bwMode="gray">
            <a:xfrm>
              <a:off x="-3245888" y="876300"/>
              <a:ext cx="1759136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directional</a:t>
              </a:r>
            </a:p>
          </p:txBody>
        </p:sp>
        <p:cxnSp>
          <p:nvCxnSpPr>
            <p:cNvPr id="27" name="btfpStatusStickerLine925000">
              <a:extLst>
                <a:ext uri="{FF2B5EF4-FFF2-40B4-BE49-F238E27FC236}">
                  <a16:creationId xmlns:a16="http://schemas.microsoft.com/office/drawing/2014/main" id="{688BC3B1-CD6C-447B-BAC1-C4EB3601CF0F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3245888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btfpRunningAgenda2Level318982">
            <a:extLst>
              <a:ext uri="{FF2B5EF4-FFF2-40B4-BE49-F238E27FC236}">
                <a16:creationId xmlns:a16="http://schemas.microsoft.com/office/drawing/2014/main" id="{9DD9CFA4-3213-32A5-0422-938D60AB297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-1" y="944429"/>
            <a:ext cx="6260234" cy="257442"/>
            <a:chOff x="-1" y="876300"/>
            <a:chExt cx="6260234" cy="257442"/>
          </a:xfrm>
        </p:grpSpPr>
        <p:sp>
          <p:nvSpPr>
            <p:cNvPr id="21" name="btfpRunningAgenda2LevelBarLeft318982">
              <a:extLst>
                <a:ext uri="{FF2B5EF4-FFF2-40B4-BE49-F238E27FC236}">
                  <a16:creationId xmlns:a16="http://schemas.microsoft.com/office/drawing/2014/main" id="{75EDC73C-7631-7951-EF06-1CF018B6D5BD}"/>
                </a:ext>
              </a:extLst>
            </p:cNvPr>
            <p:cNvSpPr/>
            <p:nvPr/>
          </p:nvSpPr>
          <p:spPr bwMode="gray">
            <a:xfrm>
              <a:off x="-1" y="876300"/>
              <a:ext cx="2327781" cy="257442"/>
            </a:xfrm>
            <a:custGeom>
              <a:avLst/>
              <a:gdLst>
                <a:gd name="connsiteX0" fmla="*/ 986067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86067 w 1816204"/>
                <a:gd name="connsiteY0" fmla="*/ 0 h 257442"/>
                <a:gd name="connsiteX1" fmla="*/ 931347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86067 w 986067"/>
                <a:gd name="connsiteY0" fmla="*/ 0 h 257442"/>
                <a:gd name="connsiteX1" fmla="*/ 931347 w 986067"/>
                <a:gd name="connsiteY1" fmla="*/ 257442 h 257442"/>
                <a:gd name="connsiteX2" fmla="*/ 1 w 986067"/>
                <a:gd name="connsiteY2" fmla="*/ 257442 h 257442"/>
                <a:gd name="connsiteX3" fmla="*/ 0 w 986067"/>
                <a:gd name="connsiteY3" fmla="*/ 257442 h 257442"/>
                <a:gd name="connsiteX0" fmla="*/ 986066 w 986066"/>
                <a:gd name="connsiteY0" fmla="*/ 0 h 257442"/>
                <a:gd name="connsiteX1" fmla="*/ 931346 w 986066"/>
                <a:gd name="connsiteY1" fmla="*/ 257442 h 257442"/>
                <a:gd name="connsiteX2" fmla="*/ 0 w 986066"/>
                <a:gd name="connsiteY2" fmla="*/ 257442 h 257442"/>
                <a:gd name="connsiteX3" fmla="*/ 1 w 986066"/>
                <a:gd name="connsiteY3" fmla="*/ 0 h 257442"/>
                <a:gd name="connsiteX0" fmla="*/ 1164000 w 1164000"/>
                <a:gd name="connsiteY0" fmla="*/ 0 h 257442"/>
                <a:gd name="connsiteX1" fmla="*/ 931346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1 w 1164000"/>
                <a:gd name="connsiteY3" fmla="*/ 0 h 257442"/>
                <a:gd name="connsiteX0" fmla="*/ 1164000 w 1164000"/>
                <a:gd name="connsiteY0" fmla="*/ 0 h 257442"/>
                <a:gd name="connsiteX1" fmla="*/ 1109279 w 1164000"/>
                <a:gd name="connsiteY1" fmla="*/ 257442 h 257442"/>
                <a:gd name="connsiteX2" fmla="*/ 0 w 1164000"/>
                <a:gd name="connsiteY2" fmla="*/ 257442 h 257442"/>
                <a:gd name="connsiteX3" fmla="*/ 0 w 1164000"/>
                <a:gd name="connsiteY3" fmla="*/ 0 h 257442"/>
                <a:gd name="connsiteX0" fmla="*/ 1332316 w 1332316"/>
                <a:gd name="connsiteY0" fmla="*/ 0 h 257442"/>
                <a:gd name="connsiteX1" fmla="*/ 1109279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332316 w 1332316"/>
                <a:gd name="connsiteY0" fmla="*/ 0 h 257442"/>
                <a:gd name="connsiteX1" fmla="*/ 1277595 w 1332316"/>
                <a:gd name="connsiteY1" fmla="*/ 257442 h 257442"/>
                <a:gd name="connsiteX2" fmla="*/ 0 w 1332316"/>
                <a:gd name="connsiteY2" fmla="*/ 257442 h 257442"/>
                <a:gd name="connsiteX3" fmla="*/ 0 w 1332316"/>
                <a:gd name="connsiteY3" fmla="*/ 0 h 257442"/>
                <a:gd name="connsiteX0" fmla="*/ 1500631 w 1500631"/>
                <a:gd name="connsiteY0" fmla="*/ 0 h 257442"/>
                <a:gd name="connsiteX1" fmla="*/ 1277595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500631 w 1500631"/>
                <a:gd name="connsiteY0" fmla="*/ 0 h 257442"/>
                <a:gd name="connsiteX1" fmla="*/ 1445910 w 1500631"/>
                <a:gd name="connsiteY1" fmla="*/ 257442 h 257442"/>
                <a:gd name="connsiteX2" fmla="*/ 0 w 1500631"/>
                <a:gd name="connsiteY2" fmla="*/ 257442 h 257442"/>
                <a:gd name="connsiteX3" fmla="*/ 0 w 1500631"/>
                <a:gd name="connsiteY3" fmla="*/ 0 h 257442"/>
                <a:gd name="connsiteX0" fmla="*/ 1652916 w 1652916"/>
                <a:gd name="connsiteY0" fmla="*/ 0 h 257442"/>
                <a:gd name="connsiteX1" fmla="*/ 1445910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6 w 1652916"/>
                <a:gd name="connsiteY0" fmla="*/ 0 h 257442"/>
                <a:gd name="connsiteX1" fmla="*/ 1598194 w 1652916"/>
                <a:gd name="connsiteY1" fmla="*/ 257442 h 257442"/>
                <a:gd name="connsiteX2" fmla="*/ 0 w 1652916"/>
                <a:gd name="connsiteY2" fmla="*/ 257442 h 257442"/>
                <a:gd name="connsiteX3" fmla="*/ 0 w 1652916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652917 w 1652917"/>
                <a:gd name="connsiteY0" fmla="*/ 0 h 257442"/>
                <a:gd name="connsiteX1" fmla="*/ 1598195 w 1652917"/>
                <a:gd name="connsiteY1" fmla="*/ 257442 h 257442"/>
                <a:gd name="connsiteX2" fmla="*/ 0 w 1652917"/>
                <a:gd name="connsiteY2" fmla="*/ 257442 h 257442"/>
                <a:gd name="connsiteX3" fmla="*/ 1 w 1652917"/>
                <a:gd name="connsiteY3" fmla="*/ 0 h 257442"/>
                <a:gd name="connsiteX0" fmla="*/ 1813218 w 1813218"/>
                <a:gd name="connsiteY0" fmla="*/ 0 h 257442"/>
                <a:gd name="connsiteX1" fmla="*/ 1598195 w 1813218"/>
                <a:gd name="connsiteY1" fmla="*/ 257442 h 257442"/>
                <a:gd name="connsiteX2" fmla="*/ 0 w 1813218"/>
                <a:gd name="connsiteY2" fmla="*/ 257442 h 257442"/>
                <a:gd name="connsiteX3" fmla="*/ 1 w 1813218"/>
                <a:gd name="connsiteY3" fmla="*/ 0 h 257442"/>
                <a:gd name="connsiteX0" fmla="*/ 1813218 w 1813218"/>
                <a:gd name="connsiteY0" fmla="*/ 0 h 257442"/>
                <a:gd name="connsiteX1" fmla="*/ 1758496 w 1813218"/>
                <a:gd name="connsiteY1" fmla="*/ 257442 h 257442"/>
                <a:gd name="connsiteX2" fmla="*/ 0 w 1813218"/>
                <a:gd name="connsiteY2" fmla="*/ 257442 h 257442"/>
                <a:gd name="connsiteX3" fmla="*/ 1 w 1813218"/>
                <a:gd name="connsiteY3" fmla="*/ 0 h 257442"/>
                <a:gd name="connsiteX0" fmla="*/ 1813218 w 1813218"/>
                <a:gd name="connsiteY0" fmla="*/ 0 h 257442"/>
                <a:gd name="connsiteX1" fmla="*/ 1758496 w 1813218"/>
                <a:gd name="connsiteY1" fmla="*/ 257442 h 257442"/>
                <a:gd name="connsiteX2" fmla="*/ 0 w 1813218"/>
                <a:gd name="connsiteY2" fmla="*/ 257442 h 257442"/>
                <a:gd name="connsiteX3" fmla="*/ 1 w 1813218"/>
                <a:gd name="connsiteY3" fmla="*/ 0 h 257442"/>
                <a:gd name="connsiteX0" fmla="*/ 1813218 w 1813218"/>
                <a:gd name="connsiteY0" fmla="*/ 0 h 257442"/>
                <a:gd name="connsiteX1" fmla="*/ 1758496 w 1813218"/>
                <a:gd name="connsiteY1" fmla="*/ 257442 h 257442"/>
                <a:gd name="connsiteX2" fmla="*/ 0 w 1813218"/>
                <a:gd name="connsiteY2" fmla="*/ 257442 h 257442"/>
                <a:gd name="connsiteX3" fmla="*/ 0 w 1813218"/>
                <a:gd name="connsiteY3" fmla="*/ 0 h 257442"/>
                <a:gd name="connsiteX0" fmla="*/ 1981532 w 1981532"/>
                <a:gd name="connsiteY0" fmla="*/ 0 h 257442"/>
                <a:gd name="connsiteX1" fmla="*/ 1758496 w 1981532"/>
                <a:gd name="connsiteY1" fmla="*/ 257442 h 257442"/>
                <a:gd name="connsiteX2" fmla="*/ 0 w 1981532"/>
                <a:gd name="connsiteY2" fmla="*/ 257442 h 257442"/>
                <a:gd name="connsiteX3" fmla="*/ 0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0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0 w 1981532"/>
                <a:gd name="connsiteY3" fmla="*/ 0 h 257442"/>
                <a:gd name="connsiteX0" fmla="*/ 1981532 w 1981532"/>
                <a:gd name="connsiteY0" fmla="*/ 0 h 257442"/>
                <a:gd name="connsiteX1" fmla="*/ 1926811 w 1981532"/>
                <a:gd name="connsiteY1" fmla="*/ 257442 h 257442"/>
                <a:gd name="connsiteX2" fmla="*/ 0 w 1981532"/>
                <a:gd name="connsiteY2" fmla="*/ 257442 h 257442"/>
                <a:gd name="connsiteX3" fmla="*/ 0 w 1981532"/>
                <a:gd name="connsiteY3" fmla="*/ 0 h 257442"/>
                <a:gd name="connsiteX0" fmla="*/ 1813217 w 1926811"/>
                <a:gd name="connsiteY0" fmla="*/ 0 h 257442"/>
                <a:gd name="connsiteX1" fmla="*/ 1926811 w 1926811"/>
                <a:gd name="connsiteY1" fmla="*/ 257442 h 257442"/>
                <a:gd name="connsiteX2" fmla="*/ 0 w 1926811"/>
                <a:gd name="connsiteY2" fmla="*/ 257442 h 257442"/>
                <a:gd name="connsiteX3" fmla="*/ 0 w 1926811"/>
                <a:gd name="connsiteY3" fmla="*/ 0 h 257442"/>
                <a:gd name="connsiteX0" fmla="*/ 1813217 w 1813217"/>
                <a:gd name="connsiteY0" fmla="*/ 0 h 257442"/>
                <a:gd name="connsiteX1" fmla="*/ 1758497 w 1813217"/>
                <a:gd name="connsiteY1" fmla="*/ 257442 h 257442"/>
                <a:gd name="connsiteX2" fmla="*/ 0 w 1813217"/>
                <a:gd name="connsiteY2" fmla="*/ 257442 h 257442"/>
                <a:gd name="connsiteX3" fmla="*/ 0 w 1813217"/>
                <a:gd name="connsiteY3" fmla="*/ 0 h 257442"/>
                <a:gd name="connsiteX0" fmla="*/ 1813217 w 1813217"/>
                <a:gd name="connsiteY0" fmla="*/ 0 h 257442"/>
                <a:gd name="connsiteX1" fmla="*/ 1758497 w 1813217"/>
                <a:gd name="connsiteY1" fmla="*/ 257442 h 257442"/>
                <a:gd name="connsiteX2" fmla="*/ 1 w 1813217"/>
                <a:gd name="connsiteY2" fmla="*/ 257442 h 257442"/>
                <a:gd name="connsiteX3" fmla="*/ 0 w 1813217"/>
                <a:gd name="connsiteY3" fmla="*/ 0 h 257442"/>
                <a:gd name="connsiteX0" fmla="*/ 1813216 w 1813216"/>
                <a:gd name="connsiteY0" fmla="*/ 0 h 257442"/>
                <a:gd name="connsiteX1" fmla="*/ 1758496 w 1813216"/>
                <a:gd name="connsiteY1" fmla="*/ 257442 h 257442"/>
                <a:gd name="connsiteX2" fmla="*/ 0 w 1813216"/>
                <a:gd name="connsiteY2" fmla="*/ 257442 h 257442"/>
                <a:gd name="connsiteX3" fmla="*/ 0 w 1813216"/>
                <a:gd name="connsiteY3" fmla="*/ 0 h 257442"/>
                <a:gd name="connsiteX0" fmla="*/ 1652915 w 1758496"/>
                <a:gd name="connsiteY0" fmla="*/ 0 h 257442"/>
                <a:gd name="connsiteX1" fmla="*/ 1758496 w 1758496"/>
                <a:gd name="connsiteY1" fmla="*/ 257442 h 257442"/>
                <a:gd name="connsiteX2" fmla="*/ 0 w 1758496"/>
                <a:gd name="connsiteY2" fmla="*/ 257442 h 257442"/>
                <a:gd name="connsiteX3" fmla="*/ 0 w 1758496"/>
                <a:gd name="connsiteY3" fmla="*/ 0 h 257442"/>
                <a:gd name="connsiteX0" fmla="*/ 1652915 w 1652915"/>
                <a:gd name="connsiteY0" fmla="*/ 0 h 257442"/>
                <a:gd name="connsiteX1" fmla="*/ 1598194 w 1652915"/>
                <a:gd name="connsiteY1" fmla="*/ 257442 h 257442"/>
                <a:gd name="connsiteX2" fmla="*/ 0 w 1652915"/>
                <a:gd name="connsiteY2" fmla="*/ 257442 h 257442"/>
                <a:gd name="connsiteX3" fmla="*/ 0 w 1652915"/>
                <a:gd name="connsiteY3" fmla="*/ 0 h 257442"/>
                <a:gd name="connsiteX0" fmla="*/ 1652915 w 1652915"/>
                <a:gd name="connsiteY0" fmla="*/ 0 h 257442"/>
                <a:gd name="connsiteX1" fmla="*/ 1598194 w 1652915"/>
                <a:gd name="connsiteY1" fmla="*/ 257442 h 257442"/>
                <a:gd name="connsiteX2" fmla="*/ 0 w 1652915"/>
                <a:gd name="connsiteY2" fmla="*/ 257442 h 257442"/>
                <a:gd name="connsiteX3" fmla="*/ 0 w 1652915"/>
                <a:gd name="connsiteY3" fmla="*/ 0 h 257442"/>
                <a:gd name="connsiteX0" fmla="*/ 1652915 w 1652915"/>
                <a:gd name="connsiteY0" fmla="*/ 0 h 257442"/>
                <a:gd name="connsiteX1" fmla="*/ 1598194 w 1652915"/>
                <a:gd name="connsiteY1" fmla="*/ 257442 h 257442"/>
                <a:gd name="connsiteX2" fmla="*/ 0 w 1652915"/>
                <a:gd name="connsiteY2" fmla="*/ 257442 h 257442"/>
                <a:gd name="connsiteX3" fmla="*/ 0 w 1652915"/>
                <a:gd name="connsiteY3" fmla="*/ 0 h 257442"/>
                <a:gd name="connsiteX0" fmla="*/ 1830849 w 1830849"/>
                <a:gd name="connsiteY0" fmla="*/ 0 h 257442"/>
                <a:gd name="connsiteX1" fmla="*/ 1598194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830849 w 1830849"/>
                <a:gd name="connsiteY0" fmla="*/ 0 h 257442"/>
                <a:gd name="connsiteX1" fmla="*/ 1776128 w 1830849"/>
                <a:gd name="connsiteY1" fmla="*/ 257442 h 257442"/>
                <a:gd name="connsiteX2" fmla="*/ 0 w 1830849"/>
                <a:gd name="connsiteY2" fmla="*/ 257442 h 257442"/>
                <a:gd name="connsiteX3" fmla="*/ 0 w 1830849"/>
                <a:gd name="connsiteY3" fmla="*/ 0 h 257442"/>
                <a:gd name="connsiteX0" fmla="*/ 1999165 w 1999165"/>
                <a:gd name="connsiteY0" fmla="*/ 0 h 257442"/>
                <a:gd name="connsiteX1" fmla="*/ 1776128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1999165 w 1999165"/>
                <a:gd name="connsiteY0" fmla="*/ 0 h 257442"/>
                <a:gd name="connsiteX1" fmla="*/ 1944444 w 1999165"/>
                <a:gd name="connsiteY1" fmla="*/ 257442 h 257442"/>
                <a:gd name="connsiteX2" fmla="*/ 0 w 1999165"/>
                <a:gd name="connsiteY2" fmla="*/ 257442 h 257442"/>
                <a:gd name="connsiteX3" fmla="*/ 0 w 1999165"/>
                <a:gd name="connsiteY3" fmla="*/ 0 h 257442"/>
                <a:gd name="connsiteX0" fmla="*/ 2167480 w 2167480"/>
                <a:gd name="connsiteY0" fmla="*/ 0 h 257442"/>
                <a:gd name="connsiteX1" fmla="*/ 1944444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0 w 2167480"/>
                <a:gd name="connsiteY0" fmla="*/ 0 h 257442"/>
                <a:gd name="connsiteX1" fmla="*/ 2112758 w 2167480"/>
                <a:gd name="connsiteY1" fmla="*/ 257442 h 257442"/>
                <a:gd name="connsiteX2" fmla="*/ 0 w 2167480"/>
                <a:gd name="connsiteY2" fmla="*/ 257442 h 257442"/>
                <a:gd name="connsiteX3" fmla="*/ 0 w 2167480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167481 w 2167481"/>
                <a:gd name="connsiteY0" fmla="*/ 0 h 257442"/>
                <a:gd name="connsiteX1" fmla="*/ 2112759 w 2167481"/>
                <a:gd name="connsiteY1" fmla="*/ 257442 h 257442"/>
                <a:gd name="connsiteX2" fmla="*/ 0 w 2167481"/>
                <a:gd name="connsiteY2" fmla="*/ 257442 h 257442"/>
                <a:gd name="connsiteX3" fmla="*/ 1 w 2167481"/>
                <a:gd name="connsiteY3" fmla="*/ 0 h 257442"/>
                <a:gd name="connsiteX0" fmla="*/ 2327781 w 2327781"/>
                <a:gd name="connsiteY0" fmla="*/ 0 h 257442"/>
                <a:gd name="connsiteX1" fmla="*/ 2112759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0 w 2327781"/>
                <a:gd name="connsiteY2" fmla="*/ 257442 h 257442"/>
                <a:gd name="connsiteX3" fmla="*/ 1 w 2327781"/>
                <a:gd name="connsiteY3" fmla="*/ 0 h 257442"/>
                <a:gd name="connsiteX0" fmla="*/ 2327780 w 2327780"/>
                <a:gd name="connsiteY0" fmla="*/ 0 h 257442"/>
                <a:gd name="connsiteX1" fmla="*/ 2273059 w 2327780"/>
                <a:gd name="connsiteY1" fmla="*/ 257442 h 257442"/>
                <a:gd name="connsiteX2" fmla="*/ 0 w 2327780"/>
                <a:gd name="connsiteY2" fmla="*/ 257442 h 257442"/>
                <a:gd name="connsiteX3" fmla="*/ 0 w 2327780"/>
                <a:gd name="connsiteY3" fmla="*/ 0 h 257442"/>
                <a:gd name="connsiteX0" fmla="*/ 2327781 w 2327781"/>
                <a:gd name="connsiteY0" fmla="*/ 0 h 257442"/>
                <a:gd name="connsiteX1" fmla="*/ 2273060 w 2327781"/>
                <a:gd name="connsiteY1" fmla="*/ 257442 h 257442"/>
                <a:gd name="connsiteX2" fmla="*/ 1 w 2327781"/>
                <a:gd name="connsiteY2" fmla="*/ 257442 h 257442"/>
                <a:gd name="connsiteX3" fmla="*/ 0 w 232778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7781" h="257442">
                  <a:moveTo>
                    <a:pt x="2327781" y="0"/>
                  </a:moveTo>
                  <a:lnTo>
                    <a:pt x="2273060" y="257442"/>
                  </a:lnTo>
                  <a:lnTo>
                    <a:pt x="1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2" name="btfpRunningAgenda2LevelTextLeft318982">
              <a:extLst>
                <a:ext uri="{FF2B5EF4-FFF2-40B4-BE49-F238E27FC236}">
                  <a16:creationId xmlns:a16="http://schemas.microsoft.com/office/drawing/2014/main" id="{7CB099E9-B2A1-EF04-9426-9827F0C70854}"/>
                </a:ext>
              </a:extLst>
            </p:cNvPr>
            <p:cNvSpPr txBox="1"/>
            <p:nvPr/>
          </p:nvSpPr>
          <p:spPr bwMode="gray">
            <a:xfrm>
              <a:off x="0" y="876300"/>
              <a:ext cx="227305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workforce</a:t>
              </a:r>
            </a:p>
          </p:txBody>
        </p:sp>
        <p:sp>
          <p:nvSpPr>
            <p:cNvPr id="23" name="btfpRunningAgenda2LevelBarRight318982">
              <a:extLst>
                <a:ext uri="{FF2B5EF4-FFF2-40B4-BE49-F238E27FC236}">
                  <a16:creationId xmlns:a16="http://schemas.microsoft.com/office/drawing/2014/main" id="{883F157D-8DAF-6DE0-7F61-7B3EB8C979A0}"/>
                </a:ext>
              </a:extLst>
            </p:cNvPr>
            <p:cNvSpPr/>
            <p:nvPr/>
          </p:nvSpPr>
          <p:spPr bwMode="gray">
            <a:xfrm>
              <a:off x="2192938" y="876300"/>
              <a:ext cx="4067295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28733 w 1128733"/>
                <a:gd name="connsiteY0" fmla="*/ 0 h 257442"/>
                <a:gd name="connsiteX1" fmla="*/ 896079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3 w 1128733"/>
                <a:gd name="connsiteY0" fmla="*/ 0 h 257442"/>
                <a:gd name="connsiteX1" fmla="*/ 1074012 w 1128733"/>
                <a:gd name="connsiteY1" fmla="*/ 257442 h 257442"/>
                <a:gd name="connsiteX2" fmla="*/ 0 w 1128733"/>
                <a:gd name="connsiteY2" fmla="*/ 257442 h 257442"/>
                <a:gd name="connsiteX3" fmla="*/ 54721 w 1128733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2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54721 w 1128734"/>
                <a:gd name="connsiteY3" fmla="*/ 0 h 257442"/>
                <a:gd name="connsiteX0" fmla="*/ 1314682 w 1314682"/>
                <a:gd name="connsiteY0" fmla="*/ 0 h 257442"/>
                <a:gd name="connsiteX1" fmla="*/ 1074013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314682 w 1314682"/>
                <a:gd name="connsiteY0" fmla="*/ 0 h 257442"/>
                <a:gd name="connsiteX1" fmla="*/ 1259961 w 1314682"/>
                <a:gd name="connsiteY1" fmla="*/ 257442 h 257442"/>
                <a:gd name="connsiteX2" fmla="*/ 0 w 1314682"/>
                <a:gd name="connsiteY2" fmla="*/ 257442 h 257442"/>
                <a:gd name="connsiteX3" fmla="*/ 54721 w 1314682"/>
                <a:gd name="connsiteY3" fmla="*/ 0 h 257442"/>
                <a:gd name="connsiteX0" fmla="*/ 1474983 w 1474983"/>
                <a:gd name="connsiteY0" fmla="*/ 0 h 257442"/>
                <a:gd name="connsiteX1" fmla="*/ 1259961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474983 w 1474983"/>
                <a:gd name="connsiteY0" fmla="*/ 0 h 257442"/>
                <a:gd name="connsiteX1" fmla="*/ 1420262 w 1474983"/>
                <a:gd name="connsiteY1" fmla="*/ 257442 h 257442"/>
                <a:gd name="connsiteX2" fmla="*/ 0 w 1474983"/>
                <a:gd name="connsiteY2" fmla="*/ 257442 h 257442"/>
                <a:gd name="connsiteX3" fmla="*/ 54721 w 1474983"/>
                <a:gd name="connsiteY3" fmla="*/ 0 h 257442"/>
                <a:gd name="connsiteX0" fmla="*/ 1635283 w 1635283"/>
                <a:gd name="connsiteY0" fmla="*/ 0 h 257442"/>
                <a:gd name="connsiteX1" fmla="*/ 1420262 w 1635283"/>
                <a:gd name="connsiteY1" fmla="*/ 257442 h 257442"/>
                <a:gd name="connsiteX2" fmla="*/ 0 w 1635283"/>
                <a:gd name="connsiteY2" fmla="*/ 257442 h 257442"/>
                <a:gd name="connsiteX3" fmla="*/ 54721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54721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54721 w 1635283"/>
                <a:gd name="connsiteY3" fmla="*/ 0 h 257442"/>
                <a:gd name="connsiteX0" fmla="*/ 1635283 w 1635283"/>
                <a:gd name="connsiteY0" fmla="*/ 0 h 257442"/>
                <a:gd name="connsiteX1" fmla="*/ 1580562 w 1635283"/>
                <a:gd name="connsiteY1" fmla="*/ 257442 h 257442"/>
                <a:gd name="connsiteX2" fmla="*/ 0 w 1635283"/>
                <a:gd name="connsiteY2" fmla="*/ 257442 h 257442"/>
                <a:gd name="connsiteX3" fmla="*/ 54721 w 1635283"/>
                <a:gd name="connsiteY3" fmla="*/ 0 h 257442"/>
                <a:gd name="connsiteX0" fmla="*/ 1803599 w 1803599"/>
                <a:gd name="connsiteY0" fmla="*/ 0 h 257442"/>
                <a:gd name="connsiteX1" fmla="*/ 1580562 w 1803599"/>
                <a:gd name="connsiteY1" fmla="*/ 257442 h 257442"/>
                <a:gd name="connsiteX2" fmla="*/ 0 w 1803599"/>
                <a:gd name="connsiteY2" fmla="*/ 257442 h 257442"/>
                <a:gd name="connsiteX3" fmla="*/ 54721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54721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54721 w 1803599"/>
                <a:gd name="connsiteY3" fmla="*/ 0 h 257442"/>
                <a:gd name="connsiteX0" fmla="*/ 1803599 w 1803599"/>
                <a:gd name="connsiteY0" fmla="*/ 0 h 257442"/>
                <a:gd name="connsiteX1" fmla="*/ 1748878 w 1803599"/>
                <a:gd name="connsiteY1" fmla="*/ 257442 h 257442"/>
                <a:gd name="connsiteX2" fmla="*/ 0 w 1803599"/>
                <a:gd name="connsiteY2" fmla="*/ 257442 h 257442"/>
                <a:gd name="connsiteX3" fmla="*/ 54721 w 1803599"/>
                <a:gd name="connsiteY3" fmla="*/ 0 h 257442"/>
                <a:gd name="connsiteX0" fmla="*/ 1963899 w 1963899"/>
                <a:gd name="connsiteY0" fmla="*/ 0 h 257442"/>
                <a:gd name="connsiteX1" fmla="*/ 1748878 w 1963899"/>
                <a:gd name="connsiteY1" fmla="*/ 257442 h 257442"/>
                <a:gd name="connsiteX2" fmla="*/ 0 w 1963899"/>
                <a:gd name="connsiteY2" fmla="*/ 257442 h 257442"/>
                <a:gd name="connsiteX3" fmla="*/ 54721 w 1963899"/>
                <a:gd name="connsiteY3" fmla="*/ 0 h 257442"/>
                <a:gd name="connsiteX0" fmla="*/ 1963899 w 1963899"/>
                <a:gd name="connsiteY0" fmla="*/ 0 h 257442"/>
                <a:gd name="connsiteX1" fmla="*/ 1909178 w 1963899"/>
                <a:gd name="connsiteY1" fmla="*/ 257442 h 257442"/>
                <a:gd name="connsiteX2" fmla="*/ 0 w 1963899"/>
                <a:gd name="connsiteY2" fmla="*/ 257442 h 257442"/>
                <a:gd name="connsiteX3" fmla="*/ 54721 w 1963899"/>
                <a:gd name="connsiteY3" fmla="*/ 0 h 257442"/>
                <a:gd name="connsiteX0" fmla="*/ 1963899 w 1963899"/>
                <a:gd name="connsiteY0" fmla="*/ 0 h 257442"/>
                <a:gd name="connsiteX1" fmla="*/ 1909178 w 1963899"/>
                <a:gd name="connsiteY1" fmla="*/ 257442 h 257442"/>
                <a:gd name="connsiteX2" fmla="*/ 0 w 1963899"/>
                <a:gd name="connsiteY2" fmla="*/ 257442 h 257442"/>
                <a:gd name="connsiteX3" fmla="*/ 54721 w 1963899"/>
                <a:gd name="connsiteY3" fmla="*/ 0 h 257442"/>
                <a:gd name="connsiteX0" fmla="*/ 1963899 w 1963899"/>
                <a:gd name="connsiteY0" fmla="*/ 0 h 257442"/>
                <a:gd name="connsiteX1" fmla="*/ 1909178 w 1963899"/>
                <a:gd name="connsiteY1" fmla="*/ 257442 h 257442"/>
                <a:gd name="connsiteX2" fmla="*/ 0 w 1963899"/>
                <a:gd name="connsiteY2" fmla="*/ 257442 h 257442"/>
                <a:gd name="connsiteX3" fmla="*/ 54721 w 1963899"/>
                <a:gd name="connsiteY3" fmla="*/ 0 h 257442"/>
                <a:gd name="connsiteX0" fmla="*/ 2132214 w 2132214"/>
                <a:gd name="connsiteY0" fmla="*/ 0 h 257442"/>
                <a:gd name="connsiteX1" fmla="*/ 1909178 w 2132214"/>
                <a:gd name="connsiteY1" fmla="*/ 257442 h 257442"/>
                <a:gd name="connsiteX2" fmla="*/ 0 w 2132214"/>
                <a:gd name="connsiteY2" fmla="*/ 257442 h 257442"/>
                <a:gd name="connsiteX3" fmla="*/ 54721 w 2132214"/>
                <a:gd name="connsiteY3" fmla="*/ 0 h 257442"/>
                <a:gd name="connsiteX0" fmla="*/ 2132214 w 2132214"/>
                <a:gd name="connsiteY0" fmla="*/ 0 h 257442"/>
                <a:gd name="connsiteX1" fmla="*/ 2077492 w 2132214"/>
                <a:gd name="connsiteY1" fmla="*/ 257442 h 257442"/>
                <a:gd name="connsiteX2" fmla="*/ 0 w 2132214"/>
                <a:gd name="connsiteY2" fmla="*/ 257442 h 257442"/>
                <a:gd name="connsiteX3" fmla="*/ 54721 w 2132214"/>
                <a:gd name="connsiteY3" fmla="*/ 0 h 257442"/>
                <a:gd name="connsiteX0" fmla="*/ 2132215 w 2132215"/>
                <a:gd name="connsiteY0" fmla="*/ 0 h 257442"/>
                <a:gd name="connsiteX1" fmla="*/ 2077493 w 2132215"/>
                <a:gd name="connsiteY1" fmla="*/ 257442 h 257442"/>
                <a:gd name="connsiteX2" fmla="*/ 0 w 2132215"/>
                <a:gd name="connsiteY2" fmla="*/ 257442 h 257442"/>
                <a:gd name="connsiteX3" fmla="*/ 54722 w 2132215"/>
                <a:gd name="connsiteY3" fmla="*/ 0 h 257442"/>
                <a:gd name="connsiteX0" fmla="*/ 2132215 w 2132215"/>
                <a:gd name="connsiteY0" fmla="*/ 0 h 257442"/>
                <a:gd name="connsiteX1" fmla="*/ 2077493 w 2132215"/>
                <a:gd name="connsiteY1" fmla="*/ 257442 h 257442"/>
                <a:gd name="connsiteX2" fmla="*/ 0 w 2132215"/>
                <a:gd name="connsiteY2" fmla="*/ 257442 h 257442"/>
                <a:gd name="connsiteX3" fmla="*/ 54722 w 2132215"/>
                <a:gd name="connsiteY3" fmla="*/ 0 h 257442"/>
                <a:gd name="connsiteX0" fmla="*/ 2374076 w 2374076"/>
                <a:gd name="connsiteY0" fmla="*/ 0 h 257442"/>
                <a:gd name="connsiteX1" fmla="*/ 2077493 w 2374076"/>
                <a:gd name="connsiteY1" fmla="*/ 257442 h 257442"/>
                <a:gd name="connsiteX2" fmla="*/ 0 w 2374076"/>
                <a:gd name="connsiteY2" fmla="*/ 257442 h 257442"/>
                <a:gd name="connsiteX3" fmla="*/ 54722 w 2374076"/>
                <a:gd name="connsiteY3" fmla="*/ 0 h 257442"/>
                <a:gd name="connsiteX0" fmla="*/ 2374076 w 2374076"/>
                <a:gd name="connsiteY0" fmla="*/ 0 h 257442"/>
                <a:gd name="connsiteX1" fmla="*/ 2319354 w 2374076"/>
                <a:gd name="connsiteY1" fmla="*/ 257442 h 257442"/>
                <a:gd name="connsiteX2" fmla="*/ 0 w 2374076"/>
                <a:gd name="connsiteY2" fmla="*/ 257442 h 257442"/>
                <a:gd name="connsiteX3" fmla="*/ 54722 w 2374076"/>
                <a:gd name="connsiteY3" fmla="*/ 0 h 257442"/>
                <a:gd name="connsiteX0" fmla="*/ 2374076 w 2374076"/>
                <a:gd name="connsiteY0" fmla="*/ 0 h 257442"/>
                <a:gd name="connsiteX1" fmla="*/ 2319354 w 2374076"/>
                <a:gd name="connsiteY1" fmla="*/ 257442 h 257442"/>
                <a:gd name="connsiteX2" fmla="*/ 0 w 2374076"/>
                <a:gd name="connsiteY2" fmla="*/ 257442 h 257442"/>
                <a:gd name="connsiteX3" fmla="*/ 54722 w 2374076"/>
                <a:gd name="connsiteY3" fmla="*/ 0 h 257442"/>
                <a:gd name="connsiteX0" fmla="*/ 2374076 w 2374076"/>
                <a:gd name="connsiteY0" fmla="*/ 0 h 257442"/>
                <a:gd name="connsiteX1" fmla="*/ 2319354 w 2374076"/>
                <a:gd name="connsiteY1" fmla="*/ 257442 h 257442"/>
                <a:gd name="connsiteX2" fmla="*/ 0 w 2374076"/>
                <a:gd name="connsiteY2" fmla="*/ 257442 h 257442"/>
                <a:gd name="connsiteX3" fmla="*/ 54721 w 2374076"/>
                <a:gd name="connsiteY3" fmla="*/ 0 h 257442"/>
                <a:gd name="connsiteX0" fmla="*/ 2552009 w 2552009"/>
                <a:gd name="connsiteY0" fmla="*/ 0 h 257442"/>
                <a:gd name="connsiteX1" fmla="*/ 2319354 w 2552009"/>
                <a:gd name="connsiteY1" fmla="*/ 257442 h 257442"/>
                <a:gd name="connsiteX2" fmla="*/ 0 w 2552009"/>
                <a:gd name="connsiteY2" fmla="*/ 257442 h 257442"/>
                <a:gd name="connsiteX3" fmla="*/ 54721 w 2552009"/>
                <a:gd name="connsiteY3" fmla="*/ 0 h 257442"/>
                <a:gd name="connsiteX0" fmla="*/ 2552009 w 2552009"/>
                <a:gd name="connsiteY0" fmla="*/ 0 h 257442"/>
                <a:gd name="connsiteX1" fmla="*/ 2497288 w 2552009"/>
                <a:gd name="connsiteY1" fmla="*/ 257442 h 257442"/>
                <a:gd name="connsiteX2" fmla="*/ 0 w 2552009"/>
                <a:gd name="connsiteY2" fmla="*/ 257442 h 257442"/>
                <a:gd name="connsiteX3" fmla="*/ 54721 w 2552009"/>
                <a:gd name="connsiteY3" fmla="*/ 0 h 257442"/>
                <a:gd name="connsiteX0" fmla="*/ 2552009 w 2552009"/>
                <a:gd name="connsiteY0" fmla="*/ 0 h 257442"/>
                <a:gd name="connsiteX1" fmla="*/ 2497288 w 2552009"/>
                <a:gd name="connsiteY1" fmla="*/ 257442 h 257442"/>
                <a:gd name="connsiteX2" fmla="*/ 0 w 2552009"/>
                <a:gd name="connsiteY2" fmla="*/ 257442 h 257442"/>
                <a:gd name="connsiteX3" fmla="*/ 54721 w 2552009"/>
                <a:gd name="connsiteY3" fmla="*/ 0 h 257442"/>
                <a:gd name="connsiteX0" fmla="*/ 2552009 w 2552009"/>
                <a:gd name="connsiteY0" fmla="*/ 0 h 257442"/>
                <a:gd name="connsiteX1" fmla="*/ 2497288 w 2552009"/>
                <a:gd name="connsiteY1" fmla="*/ 257442 h 257442"/>
                <a:gd name="connsiteX2" fmla="*/ 0 w 2552009"/>
                <a:gd name="connsiteY2" fmla="*/ 257442 h 257442"/>
                <a:gd name="connsiteX3" fmla="*/ 54721 w 2552009"/>
                <a:gd name="connsiteY3" fmla="*/ 0 h 257442"/>
                <a:gd name="connsiteX0" fmla="*/ 2720324 w 2720324"/>
                <a:gd name="connsiteY0" fmla="*/ 0 h 257442"/>
                <a:gd name="connsiteX1" fmla="*/ 2497288 w 2720324"/>
                <a:gd name="connsiteY1" fmla="*/ 257442 h 257442"/>
                <a:gd name="connsiteX2" fmla="*/ 0 w 2720324"/>
                <a:gd name="connsiteY2" fmla="*/ 257442 h 257442"/>
                <a:gd name="connsiteX3" fmla="*/ 54721 w 2720324"/>
                <a:gd name="connsiteY3" fmla="*/ 0 h 257442"/>
                <a:gd name="connsiteX0" fmla="*/ 2720324 w 2720324"/>
                <a:gd name="connsiteY0" fmla="*/ 0 h 257442"/>
                <a:gd name="connsiteX1" fmla="*/ 2665602 w 2720324"/>
                <a:gd name="connsiteY1" fmla="*/ 257442 h 257442"/>
                <a:gd name="connsiteX2" fmla="*/ 0 w 2720324"/>
                <a:gd name="connsiteY2" fmla="*/ 257442 h 257442"/>
                <a:gd name="connsiteX3" fmla="*/ 54721 w 2720324"/>
                <a:gd name="connsiteY3" fmla="*/ 0 h 257442"/>
                <a:gd name="connsiteX0" fmla="*/ 2720325 w 2720325"/>
                <a:gd name="connsiteY0" fmla="*/ 0 h 257442"/>
                <a:gd name="connsiteX1" fmla="*/ 2665603 w 2720325"/>
                <a:gd name="connsiteY1" fmla="*/ 257442 h 257442"/>
                <a:gd name="connsiteX2" fmla="*/ 0 w 2720325"/>
                <a:gd name="connsiteY2" fmla="*/ 257442 h 257442"/>
                <a:gd name="connsiteX3" fmla="*/ 54722 w 2720325"/>
                <a:gd name="connsiteY3" fmla="*/ 0 h 257442"/>
                <a:gd name="connsiteX0" fmla="*/ 2720325 w 2720325"/>
                <a:gd name="connsiteY0" fmla="*/ 0 h 257442"/>
                <a:gd name="connsiteX1" fmla="*/ 2665603 w 2720325"/>
                <a:gd name="connsiteY1" fmla="*/ 257442 h 257442"/>
                <a:gd name="connsiteX2" fmla="*/ 0 w 2720325"/>
                <a:gd name="connsiteY2" fmla="*/ 257442 h 257442"/>
                <a:gd name="connsiteX3" fmla="*/ 54722 w 2720325"/>
                <a:gd name="connsiteY3" fmla="*/ 0 h 257442"/>
                <a:gd name="connsiteX0" fmla="*/ 2989629 w 2989629"/>
                <a:gd name="connsiteY0" fmla="*/ 0 h 257442"/>
                <a:gd name="connsiteX1" fmla="*/ 2665603 w 2989629"/>
                <a:gd name="connsiteY1" fmla="*/ 257442 h 257442"/>
                <a:gd name="connsiteX2" fmla="*/ 0 w 2989629"/>
                <a:gd name="connsiteY2" fmla="*/ 257442 h 257442"/>
                <a:gd name="connsiteX3" fmla="*/ 54722 w 2989629"/>
                <a:gd name="connsiteY3" fmla="*/ 0 h 257442"/>
                <a:gd name="connsiteX0" fmla="*/ 2989629 w 2989629"/>
                <a:gd name="connsiteY0" fmla="*/ 0 h 257442"/>
                <a:gd name="connsiteX1" fmla="*/ 2934908 w 2989629"/>
                <a:gd name="connsiteY1" fmla="*/ 257442 h 257442"/>
                <a:gd name="connsiteX2" fmla="*/ 0 w 2989629"/>
                <a:gd name="connsiteY2" fmla="*/ 257442 h 257442"/>
                <a:gd name="connsiteX3" fmla="*/ 54722 w 2989629"/>
                <a:gd name="connsiteY3" fmla="*/ 0 h 257442"/>
                <a:gd name="connsiteX0" fmla="*/ 2989628 w 2989628"/>
                <a:gd name="connsiteY0" fmla="*/ 0 h 257442"/>
                <a:gd name="connsiteX1" fmla="*/ 2934907 w 2989628"/>
                <a:gd name="connsiteY1" fmla="*/ 257442 h 257442"/>
                <a:gd name="connsiteX2" fmla="*/ 0 w 2989628"/>
                <a:gd name="connsiteY2" fmla="*/ 257442 h 257442"/>
                <a:gd name="connsiteX3" fmla="*/ 54721 w 2989628"/>
                <a:gd name="connsiteY3" fmla="*/ 0 h 257442"/>
                <a:gd name="connsiteX0" fmla="*/ 2989628 w 2989628"/>
                <a:gd name="connsiteY0" fmla="*/ 0 h 257442"/>
                <a:gd name="connsiteX1" fmla="*/ 2934907 w 2989628"/>
                <a:gd name="connsiteY1" fmla="*/ 257442 h 257442"/>
                <a:gd name="connsiteX2" fmla="*/ 0 w 2989628"/>
                <a:gd name="connsiteY2" fmla="*/ 257442 h 257442"/>
                <a:gd name="connsiteX3" fmla="*/ 54720 w 2989628"/>
                <a:gd name="connsiteY3" fmla="*/ 0 h 257442"/>
                <a:gd name="connsiteX0" fmla="*/ 3149927 w 3149927"/>
                <a:gd name="connsiteY0" fmla="*/ 0 h 257442"/>
                <a:gd name="connsiteX1" fmla="*/ 2934907 w 3149927"/>
                <a:gd name="connsiteY1" fmla="*/ 257442 h 257442"/>
                <a:gd name="connsiteX2" fmla="*/ 0 w 3149927"/>
                <a:gd name="connsiteY2" fmla="*/ 257442 h 257442"/>
                <a:gd name="connsiteX3" fmla="*/ 54720 w 3149927"/>
                <a:gd name="connsiteY3" fmla="*/ 0 h 257442"/>
                <a:gd name="connsiteX0" fmla="*/ 3149927 w 3149927"/>
                <a:gd name="connsiteY0" fmla="*/ 0 h 257442"/>
                <a:gd name="connsiteX1" fmla="*/ 3095206 w 3149927"/>
                <a:gd name="connsiteY1" fmla="*/ 257442 h 257442"/>
                <a:gd name="connsiteX2" fmla="*/ 0 w 3149927"/>
                <a:gd name="connsiteY2" fmla="*/ 257442 h 257442"/>
                <a:gd name="connsiteX3" fmla="*/ 54720 w 3149927"/>
                <a:gd name="connsiteY3" fmla="*/ 0 h 257442"/>
                <a:gd name="connsiteX0" fmla="*/ 3149928 w 3149928"/>
                <a:gd name="connsiteY0" fmla="*/ 0 h 257442"/>
                <a:gd name="connsiteX1" fmla="*/ 3095207 w 3149928"/>
                <a:gd name="connsiteY1" fmla="*/ 257442 h 257442"/>
                <a:gd name="connsiteX2" fmla="*/ 0 w 3149928"/>
                <a:gd name="connsiteY2" fmla="*/ 257442 h 257442"/>
                <a:gd name="connsiteX3" fmla="*/ 54721 w 3149928"/>
                <a:gd name="connsiteY3" fmla="*/ 0 h 257442"/>
                <a:gd name="connsiteX0" fmla="*/ 3149928 w 3149928"/>
                <a:gd name="connsiteY0" fmla="*/ 0 h 257442"/>
                <a:gd name="connsiteX1" fmla="*/ 3095207 w 3149928"/>
                <a:gd name="connsiteY1" fmla="*/ 257442 h 257442"/>
                <a:gd name="connsiteX2" fmla="*/ 0 w 3149928"/>
                <a:gd name="connsiteY2" fmla="*/ 257442 h 257442"/>
                <a:gd name="connsiteX3" fmla="*/ 54721 w 3149928"/>
                <a:gd name="connsiteY3" fmla="*/ 0 h 257442"/>
                <a:gd name="connsiteX0" fmla="*/ 3416476 w 3416476"/>
                <a:gd name="connsiteY0" fmla="*/ 0 h 257442"/>
                <a:gd name="connsiteX1" fmla="*/ 3095207 w 3416476"/>
                <a:gd name="connsiteY1" fmla="*/ 257442 h 257442"/>
                <a:gd name="connsiteX2" fmla="*/ 0 w 3416476"/>
                <a:gd name="connsiteY2" fmla="*/ 257442 h 257442"/>
                <a:gd name="connsiteX3" fmla="*/ 54721 w 3416476"/>
                <a:gd name="connsiteY3" fmla="*/ 0 h 257442"/>
                <a:gd name="connsiteX0" fmla="*/ 3416476 w 3416476"/>
                <a:gd name="connsiteY0" fmla="*/ 0 h 257442"/>
                <a:gd name="connsiteX1" fmla="*/ 3361755 w 3416476"/>
                <a:gd name="connsiteY1" fmla="*/ 257442 h 257442"/>
                <a:gd name="connsiteX2" fmla="*/ 0 w 3416476"/>
                <a:gd name="connsiteY2" fmla="*/ 257442 h 257442"/>
                <a:gd name="connsiteX3" fmla="*/ 54721 w 3416476"/>
                <a:gd name="connsiteY3" fmla="*/ 0 h 257442"/>
                <a:gd name="connsiteX0" fmla="*/ 3416476 w 3416476"/>
                <a:gd name="connsiteY0" fmla="*/ 0 h 257442"/>
                <a:gd name="connsiteX1" fmla="*/ 3361755 w 3416476"/>
                <a:gd name="connsiteY1" fmla="*/ 257442 h 257442"/>
                <a:gd name="connsiteX2" fmla="*/ 0 w 3416476"/>
                <a:gd name="connsiteY2" fmla="*/ 257442 h 257442"/>
                <a:gd name="connsiteX3" fmla="*/ 54721 w 3416476"/>
                <a:gd name="connsiteY3" fmla="*/ 0 h 257442"/>
                <a:gd name="connsiteX0" fmla="*/ 3416476 w 3416476"/>
                <a:gd name="connsiteY0" fmla="*/ 0 h 257442"/>
                <a:gd name="connsiteX1" fmla="*/ 3361755 w 3416476"/>
                <a:gd name="connsiteY1" fmla="*/ 257442 h 257442"/>
                <a:gd name="connsiteX2" fmla="*/ 0 w 3416476"/>
                <a:gd name="connsiteY2" fmla="*/ 257442 h 257442"/>
                <a:gd name="connsiteX3" fmla="*/ 54721 w 3416476"/>
                <a:gd name="connsiteY3" fmla="*/ 0 h 257442"/>
                <a:gd name="connsiteX0" fmla="*/ 3594409 w 3594409"/>
                <a:gd name="connsiteY0" fmla="*/ 0 h 257442"/>
                <a:gd name="connsiteX1" fmla="*/ 3361755 w 3594409"/>
                <a:gd name="connsiteY1" fmla="*/ 257442 h 257442"/>
                <a:gd name="connsiteX2" fmla="*/ 0 w 3594409"/>
                <a:gd name="connsiteY2" fmla="*/ 257442 h 257442"/>
                <a:gd name="connsiteX3" fmla="*/ 54721 w 3594409"/>
                <a:gd name="connsiteY3" fmla="*/ 0 h 257442"/>
                <a:gd name="connsiteX0" fmla="*/ 3594409 w 3594409"/>
                <a:gd name="connsiteY0" fmla="*/ 0 h 257442"/>
                <a:gd name="connsiteX1" fmla="*/ 3539688 w 3594409"/>
                <a:gd name="connsiteY1" fmla="*/ 257442 h 257442"/>
                <a:gd name="connsiteX2" fmla="*/ 0 w 3594409"/>
                <a:gd name="connsiteY2" fmla="*/ 257442 h 257442"/>
                <a:gd name="connsiteX3" fmla="*/ 54721 w 3594409"/>
                <a:gd name="connsiteY3" fmla="*/ 0 h 257442"/>
                <a:gd name="connsiteX0" fmla="*/ 3594409 w 3594409"/>
                <a:gd name="connsiteY0" fmla="*/ 0 h 257442"/>
                <a:gd name="connsiteX1" fmla="*/ 3539688 w 3594409"/>
                <a:gd name="connsiteY1" fmla="*/ 257442 h 257442"/>
                <a:gd name="connsiteX2" fmla="*/ 0 w 3594409"/>
                <a:gd name="connsiteY2" fmla="*/ 257442 h 257442"/>
                <a:gd name="connsiteX3" fmla="*/ 54721 w 3594409"/>
                <a:gd name="connsiteY3" fmla="*/ 0 h 257442"/>
                <a:gd name="connsiteX0" fmla="*/ 3594409 w 3594409"/>
                <a:gd name="connsiteY0" fmla="*/ 0 h 257442"/>
                <a:gd name="connsiteX1" fmla="*/ 3539688 w 3594409"/>
                <a:gd name="connsiteY1" fmla="*/ 257442 h 257442"/>
                <a:gd name="connsiteX2" fmla="*/ 0 w 3594409"/>
                <a:gd name="connsiteY2" fmla="*/ 257442 h 257442"/>
                <a:gd name="connsiteX3" fmla="*/ 54721 w 3594409"/>
                <a:gd name="connsiteY3" fmla="*/ 0 h 257442"/>
                <a:gd name="connsiteX0" fmla="*/ 3906995 w 3906995"/>
                <a:gd name="connsiteY0" fmla="*/ 0 h 257442"/>
                <a:gd name="connsiteX1" fmla="*/ 3539688 w 3906995"/>
                <a:gd name="connsiteY1" fmla="*/ 257442 h 257442"/>
                <a:gd name="connsiteX2" fmla="*/ 0 w 3906995"/>
                <a:gd name="connsiteY2" fmla="*/ 257442 h 257442"/>
                <a:gd name="connsiteX3" fmla="*/ 54721 w 3906995"/>
                <a:gd name="connsiteY3" fmla="*/ 0 h 257442"/>
                <a:gd name="connsiteX0" fmla="*/ 3906995 w 3906995"/>
                <a:gd name="connsiteY0" fmla="*/ 0 h 257442"/>
                <a:gd name="connsiteX1" fmla="*/ 3852274 w 3906995"/>
                <a:gd name="connsiteY1" fmla="*/ 257442 h 257442"/>
                <a:gd name="connsiteX2" fmla="*/ 0 w 3906995"/>
                <a:gd name="connsiteY2" fmla="*/ 257442 h 257442"/>
                <a:gd name="connsiteX3" fmla="*/ 54721 w 3906995"/>
                <a:gd name="connsiteY3" fmla="*/ 0 h 257442"/>
                <a:gd name="connsiteX0" fmla="*/ 3906995 w 3906995"/>
                <a:gd name="connsiteY0" fmla="*/ 0 h 257442"/>
                <a:gd name="connsiteX1" fmla="*/ 3852274 w 3906995"/>
                <a:gd name="connsiteY1" fmla="*/ 257442 h 257442"/>
                <a:gd name="connsiteX2" fmla="*/ 0 w 3906995"/>
                <a:gd name="connsiteY2" fmla="*/ 257442 h 257442"/>
                <a:gd name="connsiteX3" fmla="*/ 54721 w 3906995"/>
                <a:gd name="connsiteY3" fmla="*/ 0 h 257442"/>
                <a:gd name="connsiteX0" fmla="*/ 3906995 w 3906995"/>
                <a:gd name="connsiteY0" fmla="*/ 0 h 257442"/>
                <a:gd name="connsiteX1" fmla="*/ 3852274 w 3906995"/>
                <a:gd name="connsiteY1" fmla="*/ 257442 h 257442"/>
                <a:gd name="connsiteX2" fmla="*/ 0 w 3906995"/>
                <a:gd name="connsiteY2" fmla="*/ 257442 h 257442"/>
                <a:gd name="connsiteX3" fmla="*/ 54721 w 3906995"/>
                <a:gd name="connsiteY3" fmla="*/ 0 h 257442"/>
                <a:gd name="connsiteX0" fmla="*/ 4067295 w 4067295"/>
                <a:gd name="connsiteY0" fmla="*/ 0 h 257442"/>
                <a:gd name="connsiteX1" fmla="*/ 3852274 w 4067295"/>
                <a:gd name="connsiteY1" fmla="*/ 257442 h 257442"/>
                <a:gd name="connsiteX2" fmla="*/ 0 w 4067295"/>
                <a:gd name="connsiteY2" fmla="*/ 257442 h 257442"/>
                <a:gd name="connsiteX3" fmla="*/ 54721 w 4067295"/>
                <a:gd name="connsiteY3" fmla="*/ 0 h 257442"/>
                <a:gd name="connsiteX0" fmla="*/ 4067295 w 4067295"/>
                <a:gd name="connsiteY0" fmla="*/ 0 h 257442"/>
                <a:gd name="connsiteX1" fmla="*/ 4012574 w 4067295"/>
                <a:gd name="connsiteY1" fmla="*/ 257442 h 257442"/>
                <a:gd name="connsiteX2" fmla="*/ 0 w 4067295"/>
                <a:gd name="connsiteY2" fmla="*/ 257442 h 257442"/>
                <a:gd name="connsiteX3" fmla="*/ 54721 w 4067295"/>
                <a:gd name="connsiteY3" fmla="*/ 0 h 257442"/>
                <a:gd name="connsiteX0" fmla="*/ 4067295 w 4067295"/>
                <a:gd name="connsiteY0" fmla="*/ 0 h 257442"/>
                <a:gd name="connsiteX1" fmla="*/ 4012574 w 4067295"/>
                <a:gd name="connsiteY1" fmla="*/ 257442 h 257442"/>
                <a:gd name="connsiteX2" fmla="*/ 0 w 4067295"/>
                <a:gd name="connsiteY2" fmla="*/ 257442 h 257442"/>
                <a:gd name="connsiteX3" fmla="*/ 54721 w 4067295"/>
                <a:gd name="connsiteY3" fmla="*/ 0 h 257442"/>
                <a:gd name="connsiteX0" fmla="*/ 4067295 w 4067295"/>
                <a:gd name="connsiteY0" fmla="*/ 0 h 257442"/>
                <a:gd name="connsiteX1" fmla="*/ 4012574 w 4067295"/>
                <a:gd name="connsiteY1" fmla="*/ 257442 h 257442"/>
                <a:gd name="connsiteX2" fmla="*/ 0 w 4067295"/>
                <a:gd name="connsiteY2" fmla="*/ 257442 h 257442"/>
                <a:gd name="connsiteX3" fmla="*/ 54721 w 406729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7295" h="257442">
                  <a:moveTo>
                    <a:pt x="4067295" y="0"/>
                  </a:moveTo>
                  <a:lnTo>
                    <a:pt x="4012574" y="257442"/>
                  </a:lnTo>
                  <a:lnTo>
                    <a:pt x="0" y="257442"/>
                  </a:lnTo>
                  <a:lnTo>
                    <a:pt x="54721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7" name="btfpRunningAgenda2LevelTextRight318982">
              <a:extLst>
                <a:ext uri="{FF2B5EF4-FFF2-40B4-BE49-F238E27FC236}">
                  <a16:creationId xmlns:a16="http://schemas.microsoft.com/office/drawing/2014/main" id="{32B676A8-34E7-D0CE-F780-285009EA3274}"/>
                </a:ext>
              </a:extLst>
            </p:cNvPr>
            <p:cNvSpPr txBox="1"/>
            <p:nvPr/>
          </p:nvSpPr>
          <p:spPr bwMode="gray">
            <a:xfrm>
              <a:off x="2192938" y="876300"/>
              <a:ext cx="401257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Compensation by roles</a:t>
              </a:r>
            </a:p>
          </p:txBody>
        </p:sp>
      </p:grpSp>
      <p:grpSp>
        <p:nvGrpSpPr>
          <p:cNvPr id="7" name="btfpStatusSticker149086">
            <a:extLst>
              <a:ext uri="{FF2B5EF4-FFF2-40B4-BE49-F238E27FC236}">
                <a16:creationId xmlns:a16="http://schemas.microsoft.com/office/drawing/2014/main" id="{7360DE61-00EB-1DC4-CDB7-9CFB650FFB61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355669" y="955344"/>
            <a:ext cx="1619995" cy="235611"/>
            <a:chOff x="-7632925" y="876300"/>
            <a:chExt cx="1619995" cy="235611"/>
          </a:xfrm>
        </p:grpSpPr>
        <p:sp>
          <p:nvSpPr>
            <p:cNvPr id="15" name="btfpStatusStickerText149086">
              <a:extLst>
                <a:ext uri="{FF2B5EF4-FFF2-40B4-BE49-F238E27FC236}">
                  <a16:creationId xmlns:a16="http://schemas.microsoft.com/office/drawing/2014/main" id="{B0AEE29C-2E6C-2F95-F852-5C6B116139B4}"/>
                </a:ext>
              </a:extLst>
            </p:cNvPr>
            <p:cNvSpPr txBox="1"/>
            <p:nvPr/>
          </p:nvSpPr>
          <p:spPr bwMode="gray">
            <a:xfrm>
              <a:off x="-7632925" y="876300"/>
              <a:ext cx="1619995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indent="0" algn="r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000000"/>
                  </a:solidFill>
                </a:rPr>
                <a:t>sales only</a:t>
              </a:r>
            </a:p>
          </p:txBody>
        </p:sp>
        <p:cxnSp>
          <p:nvCxnSpPr>
            <p:cNvPr id="17" name="btfpStatusStickerLine149086">
              <a:extLst>
                <a:ext uri="{FF2B5EF4-FFF2-40B4-BE49-F238E27FC236}">
                  <a16:creationId xmlns:a16="http://schemas.microsoft.com/office/drawing/2014/main" id="{18AD178D-FFDC-D845-901C-58253D54CD3D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763292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1" name="Picture 2" descr="Image result for glassdoor logo">
            <a:extLst>
              <a:ext uri="{FF2B5EF4-FFF2-40B4-BE49-F238E27FC236}">
                <a16:creationId xmlns:a16="http://schemas.microsoft.com/office/drawing/2014/main" id="{94E4ACC4-2CFB-4F00-3A56-48D7CB36DA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92" t="24891" r="10045" b="19671"/>
          <a:stretch>
            <a:fillRect/>
          </a:stretch>
        </p:blipFill>
        <p:spPr bwMode="auto">
          <a:xfrm>
            <a:off x="10885498" y="6351704"/>
            <a:ext cx="982928" cy="238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tangle 4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z2dD7pS103gZfJ6l4USC3jqtWOPR/ue0umjYEY9KlLthURXCUyUuZbmGDPUXB2idlVQc+R1c0j6vNnMaKvr/AsazhwdFdSLDdbXIo7nzJwjvEhDVkM8leqdxV6LwqHg+JPJWpVIy96POplfuU/5GdryopAdlbOtPjy8eg2xKAU7oEtHN0jtLpjRgp/CqkV6XAgL/1YbbAvxbHya5MH3wxM80UXSWb/9kS43PdQ8nyj2UW1ZjQjo16h17FxbBRRH4o26rZ36jTgcDnxps2J9zJbHH3QahYk5IiBnQrk0FhKRmVMnH/uXDM+J7W9RnKZA0MWcIH6TwKb9wNtp4/79Pdjiz5HmClKJw9RzZpH1VtJwZQO1n7/Qb85UoPT/TcxNU2E+JDcskYGzyV+SoYSYp01C6Ya1aAe8MH2gsFTf67g4C4ZEXOCuTrLaWQC2xshdj4tvDB48cS2sAJVvPaTZpKypEbcZIpBxl6BdWhHVNAKm/Ooe9SxtTuHyME8sPIBg/8Luv8r0i3F2oaiwU7iHJ5n/TlZKBLl8jaU7O5Ww34PExJyAIMIjN3sxHNU+NWNbIL44gJgRiAciwZCJexoebXloKPRkz08uggqitGdbtVvgDnzbm8hgK/O77OzMhw1lVypJdgX94KhwusYd5Amx0HXH7AcgpvW9mz6mkGb9f0/k3+20Nk53CmDhu2mhLn9NKiYPTESahM7gc1cO/yLZoLuSUUnonLkWOALO9q4cHshQszvyf9Utxbh8Yzb66vVYbSKRZrT5d+NbGDoaKizx8z00DNWxlW53XdNBm+pGFr2TFCz/iJD8kwT8X54kO+W9ReEKuzMicaf4BT1o/xriRXWCiNkGs10XXEaxeNB4baWUgsSygYyITk1VS/qXCZBVCJ0XS5OlImbNbm5N4yN+9iK9zPVNsr1fZGfQM/b8a1R/2SZaO4NZbgO3MUIsHAgHtvqTI80mZx9fkkdineqf+cmnsV3DfSzQhCXMKylxFqY/7G06xTImsQiFHuyEG9qJFcPY6AUMRW+ZdU4+47pC6Z3K+5fkKFHwSYi5oZwbHVQvjyGJhmT84dg9bvNhQm/6NJgyr3Dh+jljQh4jLOY8P+Wq4+j9UNrCEOdYe3RscPI72H4MtvMyUM4PUfYZoMhDCPpI8e0ROUW9z2w+zQM0GAwk61ZZCla64LssEM+9Nopsmr728E3+Wf5ISigRrOauDN95S0ieBVwcwIlR74knpAjm/avtjEt3K1pGzRJw4VYCih1nBS8LiOKq8ayn3ziAD5DBXd539fUZ6VdeFk9TWAvYUGbajOXO+qMFt/3JiB4qomboj4LY4oCTkTMK5beegsoyzIferTCUbTQPd1l447HYgf+cMJ1PikglxhCt34P+DJQiz6CEJ3fsUW5xVIUMo8I7u+rBCgAQLJ7Wqe/BwArDcjU3UBdLlzbcISRIpM1b1gEwsXEzDPs8Qfl2Z02WOvwMy7/GAIwygQQbHNdQBlnAzs0I6f1/SXCqe9bOQUnsMlwBcyW99Q6RkVexrB/Yf/wgFQ61dRj30JGkspStEsee3dD0Bd7v7jn6Kv06BKuHBlPK/zjXqYsgWo/4EBKJb4bQx4Pe4eh9FkxysLmP3Aa+N+yVJ7ieMUpsD9/C3zsDEsRSOPyPOFNWsWFRZjfzvcM6RV5CxJQFH60FDxNg0E2LpgzyiHfdznei3u79BkmbC/SfIbTA3xDMhFp47i8Z1cJwG5wxXQS0WvXj63oY2JpJi3qkyb11sryYf5R7rFxl7V4XbgCcBOCaayUXD+wpNCWDg4QlKSoq6rPozX2BEa5ic6b2LpRlnpRgV22iXAOYYuCPqRMX73k2bBYz1MrwL0YzJ4kBx0jD0lCOmXzXjfr+ak+VKYV/Cihi9F4MviYFw2jlmF/d0O6++WDPPNkH9sL6fjr9r7e4gUrqbxzBOPp3/lvPx2aW9VrivARNOrUJU7B111DFeN+EUOYN+nrV6vn8rxcn4iy2s7xtMjCIiLl3MheZGEilxZUk/HOWjjZGdp7zdkp8/4vxdvSAgQN6giyb8LApuyQix+nETM/9ZMHWShhJiMBOW6NRsFHujxcNFgZn5oONI7DUilI+KaJ52SaJYaj1DDqDNWq8fVK7v44UuBkhEJsSgdPwiniRFntJcV9zCNL3k9iN4R81e+E/7+EjHFeFICm+GjamIwtT+NaeD0IslWCUiXlcbBQ3hh/+N6qn4n2DvXARK8lldX9PTrKwy1ybmdH+xT/wRW/PQ4+Dkv5M8LjpFOiRDl7s6dt3a8ytLK5UHqD9Tyo5vZ4WhD1xSAJx3zyNjCt2j0XX8z11C6godyYokEvOa/e/rPfO/JrPApf06PXjhg4AHsqyiErnOBiugEBI2YysU+Az+XIlxKBDiuTrc0bs/+VHNSayJRbPfcJE0ggSi3J7aU+3ZgCrG++bHvsQW5yxE2/O6w3Igs/lvTmsHOlflZ+yCOorlECv78FdP+5sVRzoWEipL5vcRpXiA1N1t3/KgGyPD+NOj2kF6rQsXKGDdY7tR68CoxTNXHGUy9DW1Bj2+BxykF/xx6lJ+YwZX1dhDVqfLkDmr0DW7od8tdmEewrtCZovmORz6AWOPIyoYqdXcmq/YENDnqzTq3EbVL52s3dD58u7Rv34mewhmgl/jOcYNGqcpdw/l9lLPx4Yv5j6XjuPklSUK39U3zZNVlZDlDezpqmKNUW37gyGcn2/sTt5pSDVisI+Ujtu2TvCh3fOL2T3j4BbX1/nA7rUzhn5RX+6fGUexAjQl74uvD6gpBdrrmSWrIWmlsWdLmD8EWXEKERDCxBqUOQpKdEi/Xjsol2xtcR4YBfuf+39V6ljTwVtKhY6LpEMn2KGdBRXGQnTXpL2ie//Du1YagxaT/b7Y3wM7ZA5t3Eyl0nAUR6Nlt9PfEVVy+xMMLCiBlYjvDDtDSIDd/sdWLUgSKNbh+oxdBHYtvmcEksMJGsADSY/h86ZjH8FSmPvN0It5M77iyNcWGOct2ZBUMKyuC7vMJTLlMmAlgxj5YkNZ4De3O8Y45mx5u3wqy8+wuLMUgszPtiEdh1F036gDM72BHfBM1BiexoqQnnO5fBjwvPNbNll9lmP18fUGEExumoV4AcemkBHhjeO90yWZ3g2e4mZ1aDAirxadjj+15TyJVR+dZpMoZjJhv6WYOtCXlBNAJxheAtvtkmQSNa1aAt6/seCXMQMt382ZbEkp2ueEOuIW/RrTyBAQ5fZWqifVAZLYkM+CPlqxCAOBfPZPaeZtSp5DRy3dIDr6rl4hyDSZ/iHdPKvstfW4LdmQTnJh90V6d+QMUnXEfLiDdn6lp2U5iv4/R3X0CaG+YKRptrNHmYDRDmDM4P5abxjbaUxoXTvREc3Sc8Ey564DHo2ff4slLnEbt+gGAqm/aylvhJmiuG3sCbksMcBKMoVS/Qqdd9WSqsdLHACKBZxZVRoAYiWd0FGfYGmnWh7kV3F02M/vYM/2N4wPlCU3OfLcTfxoriDilXqWrpw8TmjZfr1bwAFsqUGApcoWAUmGolNOVyn//1ATmxuTuXZdaRizzzV2ly3scn4/hZLVREfHAMtFeb2Kkdh9xVNWKXbn5o4ilOUoBqX1TCWn2FN6nvH4Cb3ivirMuV8ouglybWj7xDgLxy2VOgd98WZxhkggJ4wKP0s9hLGGnU3QFNJNDt2f4/2QkGWccI3MStewlFncp8g5MFjCSgAmFQwaqmfMjqhkUMI9m341CibPsAPlwdYxfWmohDX3b1+/h6JjcS3C0odkCpd5f4Ic/PVEgc27Ot+5RDmTtRIsGYLj7n34pJQEt7btt2RHTUYlK78iYoEdSPF0VVt5H50uxzT31Au42bbSnEu1KaZdNxpW5ky5SrKOqsPiYlTVyF6y//eF5pgtJT1NaRQrtHZifM7dpuvVdZgDeqcpm+xOWKesVp340b4n6V5iN745n8y1zTB6OggO8w7Edmo5Gap8Iy56xqSUeWSVmCAbmB9bdAhYBRnjazA0U6pWgXJIXZU/r/4EzUpTzrGd93jfOrvX/7SLrdcyi6CBJ+xZanNbaXhWlWqrDZSJl3/fmcHsDh910OUNygWUSUd83kZR9QOgmwCa8lSSnCl/80BpIr/rfH3L0YCrR0LLhHZxC503iHWtdPRUDgMVw8D/qdi/XOEldqwsIASekMg+dbF9womtTw+RQ5StvEoFYGw2KbXWfQI0DsO9M0cyfa1RwU1LzMLpndeYG7VhaFwbVN27uSyF0gUAjCpoyVMqqXnlwuvgt1DuSnItlwT7SzxoHdlKBJSWdxgx2KG+OVk+vcTwQeqgW7pMt37sTc6RU1IIeQOI3xpCbIld03+OxXPHUHfO+nLzOB9CGXMD7Fqq1ETY3jhwP5hn/dip49khaQlKzXyoczkMqI0WqN+iAHU6n+jZRNqwSBIUO6y6wlBhmcXkcZccX4NY0CAYIzZrDubjepQWFp87gkCe7MCrRxPNl5h+vumqa1gTJlhqh6M26QfTZjCbCFsyXj38voeMoJeOWJ8QFdFVhu+3/bGTNAXelpsHNOJUqsxGxDsTwbXzuvlwP8QlLyCSAdkkW2lLdCdkDHUMBU7cmFgIZ02wFM1ElFLlvCBvnQkENsSsiz23UtdCJFtWcBmKH3pOEtubbZ1w/xRnqMxelE1kku7I74+WTqDRt8PxOsOnxhFJaJJewUqbClIqa8frfKScUt/vxl5/6ahA5YK1Ump+p7WxQCa4kr+mfZm57ZIFTizcp/5o5yX8MVeSAf0/JgxXAqHMgGMSF8hoISv8S6x/vpIafmKHatNXC4oqyHrvaw47vAKrE5b3+/0J2bLWF8wUCEXNMypeaEr9aGqZ3vBuEEWi0mg62oNLbg9yBNnFz1OYACKlBoc7A4NZYRKvcY+PpvmcUM5soK+rCzwurOrQYbO5tTc4fBOVnDVnRXmgaa7xKEo71+XiVXpMsJboHoel0nkDyrzHMv/WYJtKmaXWLs6111V/V4IgzhPsuQW3QxfzdIjLq8OV8fxx8YJmQe0Az438ENMHaVtapSbAqEjxyaQuTZJs50JeeC9FRZmWsAK4nY+MVwmDf83JWYOzKCC90wFuWAzhatYQwlzvQcu4gExKFoaZgiA3aj2Z294bYt9f++hymomOn27sidY3QoWo0/gJxPNFN9nfpOE05XsemCw5lfefUFXo01r2RRQG06so3V9m2w69772qe9iFLPrnhrnWjJNp3G9ghZTx5qdGYbyMw3WO2Aq0ES70IVkU647yHG+P6bS5ZRvD3+31rdcgPnIn8poFY8Cnl1q76p4aTxOZwYl8GqXoIXl5ek9fC+Y3vkzAO22MH7rTZt/pdMf9dCbyBIBqnzE+clvqHfxRo4g7BTH8x0kRA/Si6TuXSxzJ34gR285pFKS15Cii8yv9fGbWVkQWAH6cGeRGy5zUmlmftQ/qeOr1cF0C0Y8mxowjF2uC/HrXmGlLsp1CMQefihkqvrckLauTpG0kpCnGMXFqGwhN9QxIulbX1YoOnDoLbHFaSlDoSMuTKWAEQBudmWF7cbLaZfRPAmZar1Lsxjk6EHeQwM4LCFRj6z8RN5x/CazP3qpJGFaLroPTDUivXWy9PLv4LjFa7CB+k5+A3Q69xtxCPWLa2vjtkMXb039z4+rgtUU0ocyHl09KBkQXGMeHJXEChwE43MkTb7eCMWvw4Rfkjjbcii4rARx9TK2kU7kZCK0LsX+6zSxW2Hfv18p9LHfwoEv64VTt6I8/gjgk4+CpI1ovz9TyGmeX/3NzfPUf86orBUT5XgLLsQrGRfpww5yyrX1F+mg8Ut5JBfwPxe0CpgBMK52JlYNy7LWxQmL1CXc7Lu3hth12hKfdXWPxAM6HNh8Rk6VqDXFlokG9hCei28+S2TQiMWCT+LMye5TZPgCVSuVWIQ36cQdMCKbQML8OJJx13GCEQ1xSLwGO65ED9dQFPciaM07wgn8WDPXkIR5YhekTEaATXwofVX504eHVIzX1GVVmiooJaXyLpp36bCLvrIhnurBgBQCAsMBfZil2cYoan6Tc60w2o8J8uZ8MOs5pjUgol80LrbTftHggvatgIo0v7AalGseheh52ociUHxYuVw2IyTH0X0dy/e9ckyZtjFArc4ySHJjNeXdzY9R6k8Y4rGfHz/LY61z8G5PySRn+1UgrV5y5T4NOqMEoQEwOCq9u21It1mWSTU9UkQn1/mQuTiaC8+Kl6WTvvw7cN5AuFxOzGbpkyIjSkummLwQoWMQ/O3CtA0FSa2uLAnFUordRzhAiE12GZDdy/s1m4C24TNc/lkyYWftIVnMhqBIvCc6VsRGnyX5U7PvcmGhD3/JY0scSi5hq42HoQeabzM0TuOgoJ9kGjKI2HNr9NN8g/2VihcktF/TqwulSp6G+XZPXFYA5RGruCHYacomrSRilVImPe1czEvs5lR4s5YsMAdHPlhS01mSiUOIrgNXlbMi5/uiAeR3gOXHA4rV5zbfh3YF0mjzZWInKUDV/hyE2xtP2VNWwL+7qQgKtiwEIHjcy5LmGhP3W9LXUR+b9o9et+WB3WlNim+eeSOLYUoj3CKxRwPdsVKo45McBqSVtzlard3LAxv6/5LJyC6pKgX8qhgYOImJoGoTOZiUlt561/d2r5qFedzL3G+6ZAwVLo0NP/b6u6fcjnp4neMuJMG3kqgqrnYyORUIowIEaUSs3Ba/zBF4Dsm+rbJMQyVhUMky4Xi233EIQ1kyBcoxLc3PAqWDaFODqfvHrnMEQm+T3P0UM8WhAqmT9y/YLTdFRKLcJAy2o5uu7Nyr5RYuq0BZ3OYB3+Hptii5YP64Ur3SavQo/r9+QRF2iLTRD1tiLVErLwu+HnQXZl9UuTIozDDocL5njvlY3CmHFbOQDGsSAMR3V4H6OQ3ojsbg813i1xGDs5odpbb8CiXJ9otxoDUxxqLTyCrF0hDCx6Hi9PwrBN58uHn7U3YLy3pU7uyGSqilxoE+jtbB4z+fGymPiVgYvDeu7tA7kECCzG1eXXQRBMkNnCPRvmNv7rgluAZfLOiNlOWmfp+kqtbcelDmxuOBEBrjlx/zWi5Kpzi1SiWSnNhcs1zO5OmQf1+IN1QajPjZLQ9RJ7pm3YcuD2ufq5CRYDih87k8kpjxY5vdgRXUnbPOgZmRGvjiwzxqCZL6/FBP407otIcLmbaI+sYmndJ31vfkKDWYgwnG1QYn87gLy+0rEV5Y2peNhGnue17c23kr4l37CnZNCz8RBorbz6qGmPMOJK+a3nzljeAilCzhRKk2QreiAiQTCkvq9LpP17PxmgduHpjJqW5z1usYbUVP1lRSb+SYAN83eTrsdKvgZTf7IM2UOF7E6WqWb/Wxw3cpBmX7gaL3AOkJwnigSVX+CZTIBjSu9JTvvavw0qwSyMtBDPFRW6BrRPdQhZ9h9SSfiSWkHH6dKIKer06cNhsK6jTfTVsosAP1qSIoOKwqvCY2YKux70CBvPjG4bf3xfCQuEfGQ5EtHndiytf39MTCsU90690OyOe8LGOiffogMLhhoxafQwUtej7DVLgn0x22FbvZDgrTx6AMI3Bt92GIX8xt9rEj1aQM1nKlq0PEBKxLK1A8I3FzehB0eObsshIl7ahtxQNUtZ5kxQhmYhvUwRse5BCHDxYKltnlQhefNzVCvbOUTkB4CUlY7t81Z0XiF6YGTjWW9Tx6Zz0XiFxzf6rpRTkfkSoO3ymejq1Xx+jMsUasLd41uuXnfDfzN/VAlZC3oPOnI7ajt7H3PAZiYVAZ2dDEr/z3v4UXH2OwzH5H5WDrZf9yinwnkd+vVRdfzDAbUhI4tp9MHCTBQ4hDoCuCmgjVh8D0QyN7oUICa/vOQWMguSConQKEQVKmBzPdZc3wwf5FmEZ3Ywyo8f68PoVBdKlL684kRI0IQ7eGG2RCofLxTaDfemtbEsw5mDHAsbpZjAaIqsBUPGfFqpzlLkMGdQsZEJNTJIo2WrUbNMZWsAVsOxstK9XAGcpfYu7x1WC7FIdMrZxwvsQJKxsqJbg9yK9BV0PlhzINupnPf6X1V4yTXUdTr3ivfnucmNKGJhzo/qPVABGJyMPMuMdDsNaw1/046wJuW7RdMENJkH2VFWsAaYSb4Ujeq9eBihnpM1wUcMBofmMbNnt328q7qpTqxxm6vMnI/GSX5Vdgh4SQ4ACm8h633W2IORENiy7MiXJPoW3EIMQf+gP7dhK1OMRBH9BRJAfQPbCEAIqvhYoq+X4aFsUVnNuUj7g2bAroCa8PHGQf+maT9GiL8Td4catnIMbjMgCAGuGYoE+Q7g3+o32IE7djKIVfQQwxDJ1YLHwwrQlRzrT6PJa9JbBKlPwVLo2SMbJmKtm/FuI7EV58HW5ehz7C4iUhicbiM9xDLDj30sCpubkahTPOtGH5uQVqQRiEFtWyCW/GTfdiUJ/xxCK8anNRwwI9/O+o7gXE58OmQ8m9c4E1EjPRNmP7wiTJagkVp2cocLDMQhVV9+mksH0/msyXztQX/lx6njK8ugmdUGtW/ySyeuzqrrAAwpsZpNjRARULdLHdhagKuBzgUmH7Hn0n+XKjpKdiHcINHmuYsk/WPTp6b8nXTOxOLTbojfQlNaeh0vJe6PL9eHrGkbvVjprL/yzeFuD8vvVlESgpFjJyYB/s/9A6PBl5c1Xeyrt/1e9bwupG13uzZ/SRxIRGLQDErvi0QXkDQpZwRIfOS5L/iIrpOPhg5wo7vWJt8wrvmCFJKl3s3cAWgHfBf7IjefFZ+FSTHT7P/QMReFucwrzBChJ8qu22MCppmWNJZcKQvUjrOmUHUKBqwTVmoZWZHD1Y9Qix+3l2EY/qlBp/iala7ml5Iyktwou0RkUG6K16VGd6nkALwJnm0ww2n6zvJj/5uOQ0b8/r6E5/NKpT3QM+QSsMRaoavK9/+ghfJLFCOZ5sVi1PrZljpewI2eGwMPALeN07OUdQqeLEPLbXUVXJHsFk6/sZ8xuuboh5mfcKtKM2C/IcQdeA69IRw9xP0eyCP6vZBjSgp52CP95HlyoewEv97cSx5l7reBthAaAlDpLlet6J7BtEwr0RNKHsFMRPPZ7EZodKPx2/6sufqlLivTTVobiXaTbaMqpSb32Eak98tPlii/wwmHb4ra/LIZ5eClc8E4nN02SnASRKq3RMGwr93nATp9PkeCH4uVhQTFNtbO6a6k3GatBCFSzMQjMYRaLQqQ5iuMww3uDRBUPD5GPNgNu4DjkhVhkolp2JsYHyXCPuAoIXmghr/6hZsvrLjrI3CmgLK6hVJBv5iD/t6NzKdMguDKyA6af2SQF43KD0K/OPRwWjddSqOfnjDWb5uPQMKt7yNsGFbT3Ks30tT3ewmqSmDRdPLONMnOXaE8HdQ8j8DT3JbAJhI3CtqRLUT94B8GzwEZFxZ2ammKHUh0sQEKrgHvs2GaMkZdMYCem+jIMX+zbFqx/bBaApT9mSD/MUg8zZ4sp53gE/5THzk2tJtBVNKuJXVONupK8Rq+jkTfXUTOkoKJ0fykHt4XMVljZQF+lknqjzyySC298dqoUrebP+Vi9ovLxPD81EgEEeSGP9GR+p0egBKYuTSyAYWJOLjM9YwhyfT5467pNO9cLgW+ea5vFFsHFbC3wCnRFxi0TVEQly66U6Bre6TArfaoOYsYcvZGwwr0O6vg8li2nkcD1vuDPfZF7k3WeEKriuageJ6GFE16BnWH+doL1UxcoMglbTKJaRsNvq9gubAve0lIjQJ903Bp3LADbmWQarhMCR1lYP7JmWyBEK08aFuxMXg6Bq8D7QHy7RTsnXmFecwwB+ov03JYdf/m7g7gqzm8rmFnqMjVo7v2lggu67NVx1RYnAjcYfs9gNGmKOhLBpo3JxV37BVLC63D3Ka2FEuuefiOWQFolqfzxGLXhyMX7kI/eFNSvZaqKfuUuGwj/FP0CfXSin3IeUkj5jB2cuLi/Dy0ri4rCfhiNgIPfT7PkBpT035thU02HNmotdYglZwEyDdOPRDYS+hqNRn77+FYXODqwyL08aa1jikqM+S0HcinaJ6jrlcFIofSpcoJnHGznwZWCV2GJUsm0QR2UeuHybAJwRUWvQt+7qzjiGkQAoGQ3flod4t/bO/zItK6+u9fa49Fht8wIulvrrIovWsgqhoWiCBSSlLaciyk0on96IAfxr75BcQOrHKpBATvtt2DYgvtpFaT9irQrbimUmgzZykV3nDbEaobDMA0MhSL0ltWgmqO1adjtIWcLtaocskHAFMDHx8BKalKHNW/qbDtTZ07llVjwm/tnbPxgaHvvM+U080klm//Ys3FAm/97qfLXgAjRBfUU5hW9lNXkVo7o1tuyaw7MWwj0WcatyjQv9ygEZunptQqOYExk6I1UEe0g11R+GoC+tBEYyh/f6yq4y2wpuG4WfwOj6K7CjsB4WZ+cIjkmHvwRrwyCUxH7m4/EFj/jsa7TixoQaJ4TNKZey//XioFnGmIVmMBGSXfLRRHT2KVz1ZbKTOtBMcsE5eM74SYGPXdsatMDGfmEjYudIPTfRfS+UJPeQzs28nBKUmYSu3yOAMH+SZMdSsCvrK3wO6dDCeQFw6uX1ZdUqk8DWUdvcOJ+zIT6lyOegGTpYzIf2TaW4wW5s7Ee7AEWJgCVri08u/Zltq8GIwzwcKNoi8cRkx+uPcMLlpv9VkG+fQdNVRHL067eHR1ebYWN0tawiXBbBHTQkxP7nrlO1whqc5IKPBzhmPIK11fm6c5uXX/whps1VI61FcEvAuBNy9ERGtdxa90PgUMshe/mMsb1UKCiyX6ahvRrEd+hqhQWNhsmoFb++mNwkbYjBbhMIkNYdmq+Tn13WlwkfooEWqnI2SjYXtA/vOfUpZkxb/wq/CLSZXTJn+7cCLUD+qw+OxbVizR8xHKnwKybRcfcOxyi7dZyfDNQrJlpFi0+Gv79e96XSrwke53RoEw2Tm8GkR+LF9eVhFBpueJdx0U1yHeJUVJqDE8xqzqjoMDnCARux+Nos5gWga8ViJo6AyJIJNdr7Sx6PHrEMJetwJhO2TDrpLtAPqJYZVSHIGCsc533hB1hYaI+6wmqmVt68IruJS1M3Or2jwQJZmfs/sjp/Bd/PgsqygIaI+OtPzTrDA/jxgXLLMg0wwjIzbwzpsIh9frAUOzRFOyngMK313tdZvZuaHa+RsC6IQ8Kr1fZg9OkxoMGLswO/lv15jUkCpL3LiXtOPTqv/1DIbym24cxWGbB+5o+q8SBeAI+X6ExL303rP+iDridXU1u9KGB/iKijeHWprBgvxnBE4aLIQ8glY0IIDChW9k+tPZMsbJch/xn+JIFNCklB9C58T4nwQpzYvrvIwaHwSyLS64IlCARNUxwIQAxvdlq67tp22yZy5sKJq2+PkNwoyosGONRNmp/kZ3xh6WuqfgLJOZfDfSnhGIznh+8UMb28C3DfOaJzVPG1FxLPh3U8rWSBmFlbWFG52PE/09b95BWKU3wzyPrDIsVlp3rqFi5B/C94MKB1q4eSXkk+iGjpdujrEGXjFdTp8vEvUN/HgT9S7iE6Dllt7WPzqRlsH7fOfFw1ebIijdoFvek4+Jp+UcURMMJUfQ7xoHPLYhsHKUkwLGeu+UB2gsKXW3AsOpZ7pnF84bSus78aSL35cq/MD8Pn7W3hkf4L1O1c2dRuCGXSTqUrAnhzhbi0iAnwZtsV/F5Y+NiFG1HcIfD4tqTaJLas6YpGIa5xAAAzWL4geWKVcRlexboq5+RE7aWoq6pmJje4S0Tlc2X5bzjvhHti9/uedLg+gtt5493nLV0uvPrbMxxGbu7rS9dtIl2HNOwczx2phBHMnmwdpLSLRxAORYpqXdEDN4eXOdMttyzdQFdEi87wbTAEZJVYoLEz9gbRYrXaEm0PBClwgbP8YdI8YbcdBOtmW7u2uNSFnaVJwx38nWVypw6ZQh/RgoeYj50v2YMt/sVt+xQR9bxkSjvew0Kx61R+GWT+T6AAdG4o8y73/kCqj8E+pXo112mjrzHJCQi3EHxjuz3okRuubmCRYdEAe+Gru0FTkdCrCgIYo3646u9+pymbvbHbq98THq5e5cUo1wdY1aQEE+Aq/O5l1faDs9KzDdIq2NIR45jlTTYibNOPca66ndqwY+3Rim3mG3mtvfTEOqSIrTQKps743cSjQ5YgLV4qgbxecqYEuPhac3n/cdB+Hwa1jRJW6KxhBDMpj0BwduPryW4x/i99L/gzzToPABVoiiTWufTRQjO5DCtSRJ5yfYd4OLnioUum5vGvc9f9BHYOjEiirIopP6EboI1oM95/ppT3rO4jE8FGQaurVbTwAo3mv1L3qopa5o0nh8chlW68G99XgXqx+efEzj3H/MfPhow7fuXXoeANc1Ff9R2Xg9qbLoaiUsbro2XsoIAvpBXkswzOoS8SiNbxyBkimX9XAyY4nRX33xfF1AWVz7hrQ9ZylOC86ldb28/YGokAQI0HXOOqNv4qBtr1lJIRqHVUihw9j3WRVp2Le6sV+abOolBthglPesYrPTMXlkOCVl59oPUuRKeB029ocT0yc662oP2PXAPRCBewuxkpci2iBGQI5grRHLSNVqb/O8Smuq/swmfwN9kaJ824+j5oAepwLdfu7BoN0nnMAtLYu7xncSrNCGzRMe41I8UantgO0MgOz+c3GDF4fCpEq+jcaXKR2rch3BhsRdGMUzHtG1fYDafCviSTMETDH0Tfw2mHfQ7BfeQJnzQVkBdMWYCNYgHEU89fg1pDW63ffsPUyey27ZA6ghtbn1Wx73z+veOSjIu0zmvVYFMjjkIz8tXvwEm5PT5ZT0r/aJ8n2v1MgTtQsVmyHWOrPHWb6vpac0kBkh+ZexdeVs4UJs7d0GDPfBCwxQRdQWjbNqc2rYA0kyGtNR3QIrLkTXgzKzXxhnHFrwCvdMGTHzH9v8TS/fRbSArc/65K9rO+elT/R4F8YVNDjlBqDGAeC60gz1AoZdQr/L/nKAYX24YDh2gdMxrLbZs2WNsMZjDu3rwtECQ+eyKO2XIKCeM/J59zZ0OxBzVKV+ZyzJClnpjy0Owd53FZ9X2avdEDIw4kJYkvDppnnlmL3wNm8QsixorXWKcxq8/oAK/jnA6WOwLO93jEQTenh/M5mypuAS9tTFwh5QcmREwYDDPzEIzfkEUWu0LJgdO2cnQhakHaX5j9CyQ+TQ94tYbZ4G479L15MDR30ggZdJCHaqXB99IVN8UrHIgOXlkv+PYe/C4Ytb39e1lvT0UQ5z6JNQmPKl7EjMZMZ5LU8OKLx0vCzSOArobetmms5smz5WSqXgoW4OuTb6sCyJZQvTV+aX8/10cpKEtCEJzKb2vMDW7QuTqXGzYmmY/2ri0v9r91xJP0SiE6gHvl70mnTVnpaJvMxHxG686stbd14UcOF5FTusxMorZHqOYHbKTjABEWJno0uFSQ6l0eDQVaRNRb9ftu/xgGP00nIawDjgcv8H2S5pcrFFb40+L7jCQMthzWdXqmH+96b1OX8KfnvE1hNkUb7Cc4HQwf1BEw3kyc+jEdGuKbm65FQ5H2TCHlg5pRy2RlVSZW2raTy1NvmtjB63G+z/sITwJ9rMFaFe8GT51WX4VXZqUw02eamm/zkpxEwAD1gn8Tk0AQeiR4V41cP5CkRp+Nk+2Q6iFwWgOejWcg+5XaG5tLU7kELcL9Eq8UJWWQ/xW3eD3jVoWGgaP53jzGv1yaXJaAdQjtk/6Z/MoAQL0tfqw9iM5AB69cPhM2hql6iFxC1eKBdiFFike+HvqGRxN9KHP23lQn0udGeK60BZEao+H+hiC4I71tgwCpmpJk7G5f5fJU7cAmyLAabDaldy2isblRcE+XOV0b9pJ2OF32iCtkEzpxnoFRx+FwVPppRbgdl+g4GpFlsH2xTKSjcZoaZ5lVTnunH1Uvm0tsGFdsB4f/zLE6XSIOQcFQpkoLpGKHPHJJ5DgeWDHJ22EM7Ug5D8lilno9oqkHaRM9uAeGZZ07fll7P/qgbhImEc61l1HjF8F8mHRXh39lTjUcLvm+X0sZCX1tTv8dO1nZO5AM73zwa8P6uqYuDPuGi9D4vcYd/th/HSGGTvbLgaSqBFzy4UNwIson33t/ILzSJA44HQEIeNfEFXWLjcLDZd7owxoFa8Fy+KgV1MWiOfaHpIRqkOXc0butDMsfnlWPjicP2ZmNe9GWXTGZ8Vo0TUBu8S93p2tZdJ1qzTc0+nQpENgNyBop1979IWhog2PXVTYoE6906fdJi2w62n4j6BizZqadMXx6Tsi7mMWKqr1pRybRsBcTN/tXdevXGGcBwBXxl6gxpfIhf0biShGYiRGsne1CIKkOPRllmOWLqH6auAAizE/5FfzX9uwXIKSUf286GAy+KIoo9QljYckYr7coYlaT2pPx0NYFJr6ChHtSaihnuv1at7wPX8bvhedVd2W0C1KSEDwMX8ZDRudjm6xqS7Drt98gcADu0J9HBFt/5S+1PinGT24+T4eD1lOhLPj+2gGE91d/h9QY2EyoWdzv9t2kOHpY1aR9/i0dMnsoi/kXHrt99KHpgUM/AYT0/hNjJ0t6MA6ZiMi1jNCImLpCVggm+1c8vdGW+YO+75Ecp+DJ6ytEpQQP1OflMwpn5b6uBbpAPC7bu8Sn/K9eJ3s15UrqN6s7VxF0dWvwdDMdPFiCmeFa4j6vJe1pzN24dhE5Ll23A2C5P4WgJI1SRTlOh/H8Hk8Z2N/ADx3+YHvNkpTgVmCu2szyrdZgiK2vapgXeprbuSLybEJBugZS/SiiDhnv4NiNfKmYkRR5frcq3gFperUk77GpjCbOyjQi50TpWepVgpUHw1PjbMqKuxZizcajCxb/u2a57oONJySsmJg/0fHFtffaAU5eFlvCUdmZcjfCGcF4rXbbSdREzrpbM9eNd+MV6TTn/+OrS9QU8FJJy5YfzwzHymZyk09pmAbFWdJ4Fl6MtMCE/YQwGs2WgeJUaVdSjYpoqUZkwfWxaGGHLTFT3kwl0bjNiY9RRVdibGbLqxEBCKDw41V61G+1hh6MsM1eJZfVei1CWtdgZcoRffMncwFhX7kDcTqGG8hog87ItwTX3Gx3MwRyjWlbSO++O0Rf77OuG/XEWADYU4dDikyHRN2c9YAwUkixQkZwpmQmnJp5MuPM0Sesx5McSfwMnjXfAB8ToLGRlbf6S1I5OgFzjt2CyrGvX8GuS0X/87F7LBLycY7QqEXwAsTEog4wd9ljYJ+qNYMk7d0kLO12qlRc/gVUMaDnhjzntfq232HQXWmgZAewQcSGGbOcc96Bk5xzD6YafkaOnF32G4vCbGoA6Wj0Y/JNyOBpYuJsJsrJOJYEzl6xd4dhaKz7SNI6xnMU+IXF+84nRvD2VrmQMU0oxq7GgEWZpUA1Rv8ZS/oNq4clsop5H/Mmcyo3a6UO3A3ytfahuIUv6jS0yUxO0R/LpLY2SCAd7tQcIoGApsLsmt9YL2/dGIa0XXn2YXnKSbuUEKvcugdcn2PQ1OjtAxL5SJC6BV3DP8HN6mDCpMFypQ+7cuyQ+6bkH7g6rAr8LQTwL60S1683OjPsxBTmrJhkJ8hNQp1XSmD13CFGer4co0zmzzy/Z2JjZGnMiGsk9MAF4thsjVoEOX6qFvaApzTESU+SkdWl8vkm25oD/9Ak1+Xg5ekr3tarOUEgv8SA3pXEHtA2YQwD8Yppm1iap9j2l9iFbtK6hlCLl6pu7X/czPkEihImdQZip5zM4s4SwmjDPdZeWVbbx0tXfIa72RyLxi5QdMR6L4ibJP7GWRzuxSiTOtwGRS3SbSzOBfsG5WfXHOjZXjqyzY0rw5nBokVwhwnHLAn8oXI9eWtlLKsn2tqZvzhBR+9f5P9hC0vNaKHsTBPrM8PjpR8AeVrBLQKmD2DlTgIXP0HmVgweveDtN/bD6k3IbkTnDYCQqiMnQajdIXxcEzCvwhNWFum9HsCmVY/qOPiao1PuwinhpPpKvRNOmldpew9TNlZ6enH7/n9GzY7+KIwx8udIcEqKMqdXpA6us8b5+vSQy/K+YwTNjb0uxN0nXhxyj1Ejcu8V2LgM30PacHTUPpJ3hthVaOfSlKp9Rzjw08Bik3dgD2AZoKQpzcZ+amE+G8dm/DgbJO9vyuZTMWjRCviRBqRHJWM3zpp8EXuJipA+t7wn8dzkro3v0iXPC1DgvjPfeQX0XHNNlh/bDDQpHfMJJ5EEBpBrZBGyon8IsoL2GndWH8kNKT2P4AsR7Pw9s8PsGDeyB24xD5h1dYREUgDWHEYfuEYZqtA1Id05CIes/Jh70EZUu8OtWhgtm08mab6H4nY9RMIVRXJO9Hth4rmqq2vpgs80jqJ2MDrgu92Aq8RlXoyc687Dh9/jSVzDUtqshNzKl1wffc1ejt5WWxMngnjBjLwZB0ENyuFUSieq+51lLP9rrCFuc0BudA4JMZBTfZCKhywGMGojuUsa25roPYx2/zmjX930z6dOya2RL3IO5j0U9HUGA7/t9SKm8O0wlZYYvwtE+rChFrIDykcHGYWIEKMBgVqPBhlZTXemr7N8102Ff4DUKO8VU1NW3Ao8eRbmiMN0kJFiPiQRk1kOoCgAxFGwC0R25UELbKLARCRSAkaJcYSr33MRdWeNH5aEKjqhYENXADJ7Oi0cbTKP9bJtwMS5xq8Lm4KWbcyKl+srMmJI+4N8BRZJtziRtky+2d8R4exojZxpj/qnLZxHgCa54sT+NkNG/g1aJ+QWZt3lDrwentGRg8NGsoy02kti2j1zWWarkpTMeOH9LPiW9ft1fyzH+s40/MPRYAfOEJJnUIoFGG/xCY+Sxl9QIAAt064W7IhdJoZoCemW6QZaw8F4w9FM83cuPQfgsaUxhwJ1n/qPAoyjXrKCd4oZCS3IWkc354DFZ8sw0SyC9dOxze8c0u0keoKBN222aKNfJxcidQ4bOGp8WBdU4wfvIg7L0c0RMBV0mt2tS4uVsEFOtDU2Ly1MhmV3N5yfiYCwhCf4sX3xnQ3iHmoHdTyuZxF35/ht/2Jaa3xlIU1qr246qvUmkSdcuP+vMwYnV1WQU2UL/59YBUf33yemYf99X0BN8ycgswrelFM57T4LOLR2y9zrlgMseJRA6IvOBPt7cqn9Aa/k9tV8AKbE+5/KAH3olLbJkrS8HBdCdSug7b6aGan+Iob8TbhC8bKz0H/haTnZO3iDVfMjdV4NrO4QWrInsgJPd317uV70DS/EYZGmCjXYgGqwhCDsCsBmsGhp8u1PC6JVwuRE1oEEm+MgXZ15Nblo0NuPeBtu8zrLxJ+RJ1SgtNBJaDnpnPAPhEFRTM8cPvruROHiAQg4H5Z/VA5rP0SrxS8PCfzkQpPBSZZas/QUb0p2KCKZ2AqL57PUvwGjhBevoPY/fIIDEURlc+c2bRKT5bmCRehXWi1r2lp+sPYFBkNjNoUSEY7LVLu+KwCY1JRljpEgaJ9JURqkE3SqiQNUAt5uVD2bdqaa6gsOqLHC7LOAkxJBfSrKq2sr/acoA4wC3HupffxlHi2zfCzZ+jK4vk33DR6kwXuuRAeoDb4OVdtKGh5JVauZQ+KTqlenm7/7DZOo31/H+bjizlyqBMrbIAELHD+lTaJ/nm1ZVqSOoe2SZx5/9ZFKugxS3pE4WLFL/YXufD4Z2K0wo2dkxgwnrurXfIU3fw0Hw5wChRHbJOUFIUFBKgoaPQW4LuFIGyTkdXJEWTAYafSuEpnb/2nwbAcZIYLX7hJMk+njpRkpZbz3yCqckXGgQM6kx49w+xnVBIxTG7rKRZsqtLC7wC4Gp99dnA47Kl2YKycLFgPE8CnUFpujXKEs5lbpuemQpBA0Xrc+uHsMHd2oMJizsNn5pP99FeCGG5hDLLKj5iTEx1lxwv+Zd5W5W6yXiVyEwaR6+gx6U1MEiPOM5YZ+rcRmsDGXrQIOfGt2oS/UvrzKpN9FoAuRb+v2qVDPXxuQhlkW4IPCys3yMarRSYabGetuvY8aGNQbIzgTNoLqUQgcy9UNceeEfKXqxUPSp2tLHUmMYUOLioGaHZJ3G4ZXMEcVg0YHEHcwVh8Gn0WBoSVvc+DxDTOoHYwe9pUk9+Kb0ojwNV3/sMY5r/rHSv72ixooIB6LcioP1P+zcnbNajCS2T/i7AhYMlW94ZSp3TBX9ckFbUtszIXrzGxGpdOGBmVOM/gSDo1O9gUFZaReOuga+5U5XzgdlJ6aGvX28a0Shea6bLttZ9WsnOrN5HeuuBVFmUSQc+4cz6r7yClQDLPEzSWRcQx13PFWW400vRYlWAIUEyF+dltUUcqHBP/sERgF9P3Qy+L8JbtZixTUp74Ni49ZyKAoRD3UZyAiID/hxTQHym0MSq3V16uTBPLyhI/E93eYCtLzQRnt9mY1CMiyL0ZiYsaBp98yB+NbVggQUkRKz81c0ozv6sIP3Rnh/S1+P0jt6ynrlpCzK3zIWw1xFBAW/2GGiG4RY+cvFFRFBdwuV2nMLYeZ9yIKrL2F7LNKNNX7wE4e7BeBuGGtFnrHKyAJJgHchu4kF2c54tZjRwqvRjySE6x7yyr6ctBNTguj+LinwOfAzXgbZax8u8R8N6/kAirbXNc7H6jbkB7xoEn+ZTBW27tLL8Cv4umQBb0rEX7LMcAY/QJU7zn9sXN3OBBpgKD/iXXQMjaS/usrdiGwOF3zsh1MYgbxHngOnZzwRLO4H8Q3CUT8G3fIAIO6tLBoRVd6aTkgDcZ6jdgLOb6sBBgVxkzAI69xVU4H4Le81JJfYfj0ay7aHbAOZ0UZiNpW2/7tWwqzQ+TI+AAjYyoPxO6lrE5y6ZxIwu1bEVUyr4bfVVAlwGh/8BJWR5d634aQwAU8gMEFSk7ufz69hNI7TPvHHZRW1LKHVtadyaiJN+yL5MnB3c3atx3GvhBisf1bGHVoFaCxy9OWY9yodB9kHdRTUbmcgvCLRaLQlskgv6/58p1GugGcMhAjFksVtPluT/4zgQD/4h3wMz15uOJWk45F/OnGPh4CcdZ4ti6vrNhXCElnmfBUdgtye3ViJEgJxLgzBcKknkgYJWdJDiflfCDki4yln+m1KcgfGWCJcqNZDzNv3Xf2mhsTB0vpD5frk39PVRoPaqadNm/SK2BSNvDZUBiG7/ITLD3F0oG/C9ww6HvJkYii8aVZuLfoNW9FlGDwlyduRWMxcGr7JPKO4YG8pqhOrtwEgxu42yvJJtkzaurKco/V3Fq2ZWwM4qcafGIUOpgUodUyWs1tfeEFv3b9NMgLORkLDt553WHiUh52Twf7/dfsl4tZLo/F0XuI7qhpMifvvIcgKGNwI73qGa+/c2jxZI2C7sXFQmmN3Nsii40lKJpu/S74p7AdpJmIvQcg877nSDLnMN6VVLasFJeDbAn+4Dfu7H7UE3wBDdq97UP79vardcO2PdNbj0wnxqQGJo9s7Y7k6ijuHFFp5Nlcm8djnOkeRgaFgRyMEzig8WBQSMzRrQ0aUhYUZ8PyupM7BvRg1oXhjJ7+/fvJnpjSiOzwJrEWLXaWUGDGuW1HdAaK8VMp+TjSH+/Q986EED+8ZZzYDGpJo2ZatjMYoJzCeEaEwI+r+qVTYi/qsPQgfGOjGw4eiv22TsjgwT6j8+bOyXLXfI97osoF6aYdC+mr5Pa4ID1YGrPDOyXmzshIsPuQ+MuDIcMIC9IZLjYTWz923/wTqA1YVJhZmfp0JfyHtYHC+69tB9kLpgHpq6IDzxvzpq8/VKRAM9WyUJ3/lRkQxsYkLF215FslEairxNcaQzVu48QbM5HKOsKaltYLCJ6zOGu6kGtNjOD+VhGGWg98MFS56L4kpU95rpztUTNt9mInXvI8YHfJCnR71mi6yhSeJ+6jcQjKw0BzU+e03Cvqu+mTwF7FVs6p82ZzHjIglRrwkFWS1WZNPNxUzeWqb9hwZxFvtR8duW/kRUgPWxze+BLMw9yXknmUnCID4XiSazmWlvaH30/28wx+R+GZV28Mh5X/e30qmnvftOdgnPOri/ZZrhGz0kKxlUUf2pX+pvHwZvD9iziznZeiWXdqu/tS1l8olz2GUX9rjHDOSw4xID63G9zmhxyveZXonWfIu8Q9IIVB1RNZP1c+RL0Ta5kszj3SvPE86JLNlX7QRrIA8mHrRPiGiRwVSX/mfT2dLVbvJz93iYZYsVTSgx0H7r1uSxvVp9Q6wMbnByeoQ0ovvYImCKg0Ksi8Te9hxm+pUVAoCBmJsMjJEzVdQoXSGCXMHy5mH+X71A+od3le02+vR2fjinekyJEx3ihybiYi/wMzlZ2PBvkxl8MIjG2SeF99A/02u6dsHZsTZ9wsSVdAvWDSrSDOnTd2B0mTFzUVJu3wnFYS3mME98GnYgLzFb3bxauAvAQIOu3aU0Qp+go9CQQS96QBrs2sf2rkozJQTVGGYDpKzmHGQjG0Ns82SQqLnN8t0ilf58AjXPQOIE7+Vvi7wLxJqXm6CUILkxagAFn47905Ihg2XuQhLbbawD/Jfdf0FHWgo9VsJ/N8LIwg48s+BIutVez0ICjvqvNNSaOQYqeJ879jVhmB4UVVVCGEN6amqew+mPHpDdjiCTs91+olPPBZ7bPZKGreMwAm1Hn4Bpw7R3/ySmBV3GVw655OE2gtE1Tvjc+FFq8VQI3rrbaGRe6kwQxBMv+CDno07czStTIBPk7rOtmOmJF5wjJvNJLLDOcVRDPQIG9kr2qxKKZvaXsCI6i+2CL2ajNME1M/ZFiglMH1JAvu3BirMhn86MrD0s6hb34sPiftGtq+rCybF/XSoM/34WhiA3yivbngurcTcVI7HBnfNABFNv2uBgOlDISAtG0kZYLj0csoHBQhG/ZRCGcJH0XJBT70wn9Lhoa9jKR/V9/xY/uoTODtqI6lrrYoPx2WeK9CrTq2fLQ6Hbd8xYbf8vdp+oKYOIRP4SRy5x6LYub1QYbm0yTgjPJPVyK8S7ZrIlxlLtnKn/mW/G8dFxuY248+FfGrF+IoVoNSu4MG0sSLWASaZ8HA541hkVkXROBFdB9iPU6hoxQxBRiXDdp9dB1ATuyNepXn6XiU7OGZ+Z0BU8hpVsUheVJICV7jE9x58efOYLWYLC4+B0C2+gkERtAD1Ns29RJeTHbtdW88YBRqEfYTG+WMSM2i0jfx7sRfx5PT+CFA4HnFFVuSaszhYXp6rTx42M7OOi6fp71l91gCoFerwYFiSJfhW9E1Zcb17Up+escmAVbSXqZ8k+ugZJd5sKh7mYs7rTlNKssCoQxG8qk80BwMUQ5kvf9YT6r1LEVb46WzjLKc8htPnkmBvA2PL1Jksl854wFBPHYU2WCT6MaSPMz5dqer+DgwlbZEGBmrgYycdwjAOz+JwFI+r8lf+th7PgIY9sLHHv/PzCG3OQUj4FD/YxDJeBI/y+sMSZ1JBlGt7LYmIqcAyfI8I86gD1CV2BKNBeHEI3Tiv7y4k7d2QpZTxoxCA1eFj1CSjMgGD2j1qt79OXGKVHcY/aWq5IjTGfEHqOGFvr50iS9KjMkxX3Q1TUEREH4bxphYAkLnIEewdOc4IUvGfVHhnifpFB3NePgcwB4Om1wY1BB9adRv0ibTIQfTcdL09g4jyrphULUQAJ9odRY3UYvcLiupxbHKXzqUPCKELR11DgS10+V/Ybv1HcFmletdLzsW1JqAO8LdW2JxA9BNUO5eO5C+zyr2jcMjFoMXz1AbXDYtG/auubRhhwB0987WhY3wF3nQCUvNnq1TUAnvwiEMVoNN5BLvZg8ESHc0ghsaYaVN4pg0AYhLQwHT41k4GcMP8tUAbT+6oEwPPDJ1KvWVaAtsfKpaCnrS3HlLzbYHfgh8Fpid+G1vvv0nmpBvnqa1N21gggrWEsnatd8k/QqxpEfohxrBBmPG7UfbXm9RBIRbHyjvCEfu9+AwVe9Tg5luOQeFpdIWQLUsjv253U1uFuJnkAqlIvNgwY6uUYy//EbXG0nmx4MtF80KpaubJqCw5zhUaEc0rdR/PYkHQmK1P/SXjlttJDI/3q0UG/QZzj0+b45PWruCnZ69bAp8nFfYLBNmEl+DiDiNEPnDbBN58YcsfTonTJfMJ75hcJi4+3t/PjCBe/TLo/pb1KVjwh9iJ4JGdRst/E125oF05zNCXvAAYahlxc8EOPjG8Z89fspAHsM9Z2902GL880N4is+HleJe0wt0J+nRH+QaXFUbxnjvoNYgLz777WbP6lOnLNC4lDXob34eVmjJB9K7ktM89FfC+xnet3+FTP5ZQg9MrJcQCc1QNc3CFs2C+38kgJ70MTC/6940ay7B/LTRN7gZICOZ63JrcqubvAlQsHHmyG6NmEMju3rJmeX6ZrTNCfDcK4sK+XR0uNg0jcDbzTtbDzbHg+QPl12SFVzyqp3uNzwwumdTAtA0pz0Ww8NeycqMzbRJCbq8RlxmNR3ts0Cvbsmy7YE1U75Bk1sgc1Pra+dMXCZXVwWVS+prsAe+x69eaIJkA0+/W8VUYkzurcw8Uo4Skmd/kXrWobJpYIO0+g3fniE+1MmqHuQK847LG7reekLDzwzR9/S1JINpahlnkLKPEJSRVzqrqqn2rATiD/57gLznf0Fs/OkmCGExO6QGMqcvwA4ww6oVPG9bsBDjAcFWJamVVzjEQEoKqssNIDQhaLPLrbKh0aZq5OCj9fA8CyPop/f7bVKF15YTZqV8SReqw2OVGHHmJuc7rG3UcwTHxTtVe4kGFmUY6jHgRJ3yaU0HeHJ1gW0ESknyUjPScgH+G13k9/i5UE9BgrbewgErsnk9UAAsSVpJBecvEK/jVmUrUIf8/StyjgGwK0wvamncDUuQdUqKaD83s+6yBnCN8u+26+dMz/zHi2MlKqGf5dg/zlcuFzZIScXPmkKpntmGRC45imQ4LbYHZ8IOLAcvkorQ6jznSiWF5AEpjorshMe/FxO4vVy49oqVH0JbJZKYJjasTke+2TFs8w4AbPpDpyvLmEXdFJ1QMVnayrH1sWRXysxqE7aU/hVuGpXpgifO4jGrMyQt8vuAhCXNdtGQASesGaRXx4SbmLZrn2lq4b1/LB9xnsAaaQI59m+apYtsgEyIgecj45fUsuEuDf+Ks0gySl1SFMZHZHFviKUJPpTkPlbnI0zJVt193zPkC8wKnNWBn2PlLKUu6/Fevf8A3VSmDTH4lcdEkx8Gsu9w4nTAKcRti36pj5O2wXoDTuZ2BduqQIwfVq8mwTVQLAkmcEbfVG5y66k45lLWFRZfr28LJYpBaHP/xB6+mkrEs4bM3iJKMu2t/cKGstrMNysaXGoTG71ogJv9LzIZA3AuMbo1CRRWt8GTd63tzeX8Y64cc9XD+uBPKV9IH3B3H0LGGw8H0OYhAmMHwixRux/Jy+oUE5F1Vgdd1oqA50JnYKRrz+/8vZ0wTOreJFYfPX1aRHaG5mQ+QHIVIT8cFx2G57E1aopifSnUOZFiWKRtJ1ca+H/TbcehtCSkqmA2HA5MSkI8oDcwM24MhqMz+tOfmll3vfB1FRU9KhpAa34zeNPndnCBLje3dJB0uct4iQjLyss72Hd1E1tJIHXjYvBNCRlfhqPpMeCJqeiKwYlMkKwx6WYbvYN8bXNWNxfQd2Tij08t7EBP3uENu3GXsZq75zuR0mvgqnGz6Ana/k4LRWo75Y+JbibAqalcO+Pop6Lw5+xKovNzQl70YmeGQhqfPq1WPApbphmllL0MFQ0VrjoSrz+5fqCKvo4SluAAnxojJt/yvympXzCRPq5UI6YjJAKRgoqDjB0XFw0AJLqNSiI2qna5oDD6e95+YJhZq0EgA0r5GUmsUCHXc1mAyG7Etj+Xib/NTFjAtSydsw46iFpdZprpnYtqskGgyZTbKggDcdUCvOu9Yiia9jkK8obOxK32JyKFm6P055XofVqpHkFCbW3a4K8nTF6EHR6P7toiZqCLSZ1KTqa04ybswCafjp6mBj3KFEcRCvihCNkSeQi0c01rkHjb8OvTO++I02TOXtCDSdwzUofWEz2LCsUCJa1YVKXUkrgo10MFnPUlicybuu8u3k66nLScG2Z1OY4LZ9+7C+9SXdjEPXspbwrZiuxtxwuPTY0OTZ+xUSaQaRQGZbWwd4H2iAmyPTKWBIR6sfNiHPvvIGeXFlMc2VSzCNC7VMTEWMX7TuZ+QYTV7l4KhF+YezDvMoRj0YkqBWgrmLPfdM9HlwNkv32CRm0DKk00f2XZS3hLRcqriIKMQFlKKDkvKLUSGOs5o5NtSbdpbLowWYZIyhs32RI3rAC0GzLzYurNwbjo8b67xkLt0Fwzlngt/eo0tTP2BxR52f0k/JPVqcozrcdNolBWeigNjuPehsqgyv4sY8laeXZfuKlCPVvI8G3gPrseTWHrBkw80b3XQRHiaxHIhdLuZtBQU8/i/tAiv7hOuTqA1NFwWYHPKh6DckwTyrIsrGFlaS+fdnA9ZJQq7ojYWTMSkEsX9dP56JYsi2GFpbeL5Uqwfb07M1n34vm6ve5klpAGXTPGWtIYaYYMRMXBrz2DC0VdQj2HOdR8h3Qbp8MpUOjPBjNXTvGoG7GTYs70sDoVD+75duhnv3XzMIDQDxOzepZ3uzudCmFSevMsqWE/TyxCUKF57Ex3mKAP3oKGkTh0WPMxdcWPe76obffQ1cQgJVhA0cqAfXmmO6jxtDMi6NvY/lm1ViYvZrrsm2r9CYByHPVdah4R56iRVl3e3VKGRlNFtCWgPAbwHd5rOCyjkPEOQ7OezxM1ENPy4hKclXs5UxPpEjwtoeryWqjIwH1KQ1pBvt9e1Vj7EwH6KLykhhSO4p62pWOZcMM65eeG7q+2AdEMIO3vKob3yAOQm48akHeJHxIQ97MOFTQjZDuoyEP209ufQdADJ91aNPBvgaQI4xwsL6JtfJdzAdGW94G3FoJvc9sRh8VhccL3tLuaDhuR6EBqKDB4auM0fWb7ABuZ8F4QFfsbHIQ5hZgZv4nGG3RYbxDBd2xuYW2qhPYF0ZYngdP7gg/2RENThgS5YmN7jmCSku/W/FbKeVchkxy/cZAP43qUuQh5BNAjyjaUUSA1yqx0hjCbuGy0+KOZN/kVDnZd9i3zdNvDEwRS9I5lSl6j8OIX+62Rc2WxztVTSV9UdROjIo1/xP7C+yGDQbMorbP4tiDWIa4filsze4wl0ReYUuTlYDtcr3P3QRbQ4uDZ+Wlkf+fOmcT1jzc6O+6nId2n9Hr0lcw4BLmE4auAy1OpxTnmlb9uXYcbIIgWlXdTGGWAn7rbohQgelBCUplwuRjwNW867ibvLAMZroOkA72OB4c9oxcpJBP8jz2/VRUsFvFR9VW4rpRXPC6YA6m26rzZ3XH1x+g7Kx/oIA3fLxVh956PJDXps7nmM9bFs6IJPqOxqXxtNhoMCt8uldDwydovukvmmr0iT3REFAOanxEdgppguYgE3+j3g+hnNr8+sZNFzWXxTLN9rSzDPETV5y7q8SW32yCMDRZvyy54UMre+tEakZ7/QNrXf957ppFumyjbZwyWGPRya/8o/WJObSMGgxD3eaznc6FF8n48oiBN5NDWpUnIfy8K4Z2udcVnWRNn5RoaiFXDdvJelWWzVLg053GDiXuhY7PZt9dML/TfMAQ4VE64LmvZd5siQmSjz9xn0QBUhK6Eez+t2x5xt1rjvfUBiyW/yHwi9+iHumtyEyUZRK+tgNvIWmkGNYX4iEzp3RbTaNq8C4rplnBkWUWFtChxYM9TfR/+r/CjPXlcyhr6odQ2KR4OnO7yBFRg17V3M+lu8mvdBIdFUPiRTcKZ5XXuI9oX+1a3QYNCkwQWIkyrF6DkBVNm8fZbhGRNosTKo5oia1DU03S3nzwMvwNJn8ux/T3sZJE8xJ06ZMd2h8iq+O31F2MbpkVnhqYbKn+4r1vJchBIQXuJnelThWrD34bf27x9TkkULEukizz1SrxGErUFD1hZab0QprcrnNI0p2jBY4PduFJT/yndnhcAKlWE2YWLCTqepT/D3l28mGnOlBXXRlTX6izJBrPDUQ8kQlz6t4YUdR+b3fj2Y8BGsY40/PG2ZoqBuTyZoFpf5dwiEfyQpXWsPohGKk3x7ADpIVDreR8dGtRfgOv1Ix71zc4pI0cX4Wc2fhG8yK6rKxRI5LsmDHMw+bwvlvOSXe0LnvXbBV75OaFzvkh6qIZ2goBw9+D3DekIe9gQod6scIQ0K0LkGU7h4N1eP2hQ7KHV0nlxfcnCCe+P6SmWToroBYNDV8NPI3TarqZGB8F50nVbyw2r3wWMgGhHyh1ScKAgN881OSKXAKlib9ubfMSuWjBHItao2E6QrHVSlj5JOjvJlcbYY2rkakFrMOgi7dH8AIebqHDfjHHl/rSLbNobXjA8hYrGQOwWpzlRNuURG8sp/1ibJ8NLkshXWu3rLmNzduviVlPqdTjtZPZJtqMRkG7F/Vhy41dcc4XffghV7JxW5udRLwlWBLgWg1mrK52Oxbt9EYFesqoKz2T91A0D3RoJCe3Geb4rH1sZHCGR/L4kOfipnJ5mYp4WKQ10abvrpE2t+adj8hV8NPboSDYBht8yhPb/y1rt7rFHS1yODXNkOFFcPTuie3TFWiGFlVMex90vInUtZ/IcZj9zrzRLHSDDO4GPQUIF9wvX4o88k4lejJeQBWidr1mkPBW/5wMm/qBQoV0cZD+TOblP4bujkRePKEBGHBvK4zVXx9+UMUSJn4xRsqn5zw/5UcbCc3NBABFTaXSWMxKwwiPVgtwsN84cRKqJzrRDE473bO0jMarTqvNCQLkTa++vqnX6hOyu/tYu/e2eaV2dvIdazrfnh5kcE0C83vFonBDT4weaMzdz2CJpvraR0negIe/b4non4GZuuHlUXfGdpH0N8I3n+KceMQHG4UHA1MnRRgHLy9N9+V0jSZNwAfMRnOKUc6Uaz80HZmYxyLgRDsavJrTvizonADQsRgH0aKXCU9t9rbYTV7/oPPFiM6lY4JaBAuQYzQ/xpWc+6iiiZtjnSXWxZ5TKZr0x7osQCNsdT1ieA4Af+RAdEri4ke4Kly7sDFhGC3fpkv95zStVF/JzmF5NeqFi0vlryBvwKz/btfhwzvikLIalvypPmQZxgC1O8mRPDvHZiGUI88uWSvjYaC3JaucZaAPOnW6RB343sBBxb/6K1fON+2D1eUBWFl7F9cTnaXdYHYpmEvpM1gw5VPksERbIJhZ6ZnT+A+OYAbSaTOu3CvC616TOIMF3EPLjgZ86gEi7bcd+KT3gIpJKRH0Fs5sXvw/USA0MoBV1Cc1HwhwpREFQ6wDm4j10wP+J5n38uSMVcIPXHDse4HxfyhBZcrJLOSAMq0UI9ypNo0zN2orSkZq+Pmcwbv2klVpy35eJTBXKD+mr/OhBIvGIZMiDHbf4K3XS4JEhIYn1/YJ2hF7h3IWrbAG9wtLYN2p8WhY7avqTVpw8/mr/BDS5i7bfjEYWTnb2MkLo+1Gac5FpFEomJ186kPmg0EhHz9NSsQJaVuonNPw9dRu4ZO16Y1caTE50lyUttM3yAC7tuOKJim3FrD3j1/0fhD/1tUyVGPOWqxxJkbLuqiu7/fGMIqQ13fzXpfftj7XgomUO9X7gtAHYvhPnHFFrmN3rOqp+F7at0goTZ3ziJl8bJ1GEiUUfUSucswQclChg/IdSqYyQ6WCumd81qLsvcq7ASV72cOqcKo7Rdv14+wfUslq46+dCENLL7McfDcI22KncGkz+DpGYFrVKpZTrJYNo3T75VZK3G4m5QT3XYWnlATvtt+KvXw0TuCSaI0wdjewfR8eByH8Mnjx9BHDNkCzBq2E8mnXHZF6/LGohjXCKpp+EsZYknDxjRFyy555xrcHm4YA72XK7pPuobNZ6UkX8n/DtoQDEoA2Ib3P20eT7mGEfrnLWWOqCzGEBQwyByjrFWseMQhcxkbg0BLZCM5uwWkCnS6JbT/xrtAFHddDnopzFogMvkVer3sNAkGH1dS70guUJfyr2NJjRYixRmjAq5Fp215pBw1yuJ9NwV5SMbRoBKkKAGm+bHZCDNUE3deJ9gFt4CB6uDxGC6WAmooF8xW6MU+Dotg3hqWZe5sz4L8gQqRs2cWzpTarkgUALK1vqcpa260l9SRbhTQy/tChfHBF7NukTbLu4oxNA0zjVCY6EnsB6ppz1Hd7s4SOs99kNMq8jqXYpp4bC1Hw3cWjk6o0Io9CdnupmscwmPn0zoUu9NtOds1msXWnq1dUMgwqnRGs2z9I1BKdmI+Ip9ZL7iWCwKKqwmEmvkhYrm8wjA9WmoxRt2JinPntnaJcS/Y9XeIEcjDIOzZcDtH37ZFOXnTEvskoaMhLm4bydMKeM3hXkM7rP1WYbPlBfJWMrUrgAr1xfE1dTCfS+vLIbmSdl3VkpNmYhoc+R6tMBZ14las92y+iF/8ZMdA6n+zk/U1zfR/PW2cPnf2kLt7lRmC6bxXes9vv2dnouqEp3yX0FtHLxB49LsXXmHhiXbwmEWL5AreL934PX7EVgNRjqscm5mxOgFxhn9q66xqvLHFBsvbP0BZ+bnOEScjTqtDL1US/xlOGe05yguJKJXqvrXq0ERzwopOz4HWbh1s1bZkLBuJFB7KjgCKIMyB2GqS3CrRPsJsVUFZZAECCpgtFw19bk/+g0XS4F7pdHUfaZTfFaHChU9y9Y3sl6CvVW2NUOw2UGEpPERJSvXU5IIs9YD1rl1zG0UIbBtvTosSGpVNo8GyTn5CvW7XbWVa4bPqJyG/I5MzMILNquPy+bUIrGnaMCRayI8x0yViH4Wqmk2Ga4XJ13CdacsNqXiK6lXkxnFnfZWscJ/l49McpGtZ6LjOY2VTOgX4xgWXjGwbfqfUxEZFVcBjiWoFx62vzjO06uYj8iLPVjwSbBdE9DfRDbp3Sg0goGJhxnZTtBd4yxWE5e+IdKNNHydsJuR34WSoDGOjQksYJYubqT/Msibbw/QIYsWq1qW/K7wkf8ha3ry1zFjttz2eRjzgwLbVhrKELiqVcbMBFZpB41re9/2Pi+tHXAhT+Dk/DF00FZ+HAE4Z2lTEC7bmRlhXUiyVeKw/CFikV6Q7ERrBEtNxi2KTqTsvDkLWc8ph366bqA9VveIHHfh0f7ZQTfBm9KKPeIsN+C6eFt4SHE5sunGcqsrQ14z88j876calkM410qkA3YIVhtwnIbfu4sEIbwnUHmn64Tra51r6zVFJ9DnOKANOYBGIo3uRC97/EmNPkF4OdydkDanjNs60cbUxXbhMcXrdgyKw85RM0/tpRfa6JKPY7oKO5D7kLdov87JKJpywvY5G5jD52vkPgwGiVHu7aO1RfHj2eP6k+laWpVIogkiF37FCiLF+IRwMc+t+QjfLGo5h67/OspQNAufch0KdSWOblJtU3xQhM6kV+4M1NHpcl2742PROsODwOboZfItCAy2VSarT9GjpFBBjOeX0saOawrr0i37UjHVpqu229gKlHuO6xzND1AzlQedD4nQcBmSbITTTGmS+qiLTQ+ERiCZNdyMCgddAuQe1iMakuQamvElrid3ziJDmyyyAx64sdOFXZrFBfzcHJod+6XDEkZXyqfVkzi6bfEXdJQY0XI18syJMaK2aAuu1a1dIvGprJgoHt3LRCo75U8k6b3dhUgBmNbP8Arinx+F3H1+mgD9s5wvS8PWzNmPB0xGvU/5stFEyu9DafQcCuCYK+BdMI3aVB/LOfzfr2ZQ4V94euVethXEEZpoJhyNJ3MLE9KzYgPxi4ZlwH3I6FY3GFuGr77xMrK7srIiag97LuqxmUfivQz2oEr7rVFaUckcmuo+ky5tWkr13ZNmX7ea9Ngk23Q6VAWLxDrIIVI5GWEBgz9OqX1YkbUEPA4+dDVZvsTGncC3eLKF540cSgQnwwKdVyddzJ+WsSG9r12suToBz0v+UI+NUkgYZ/zk5tWgdZaiCbxGEq+WF8XcTeQwq/SWCIyzzUMnBOVb+n4L7TRF4fvN5+yW9qoJ6FXxyqeu8k6A/j9fXnfD2T71/0+DX3lRteGugpiiRWy3gdsiMqxvTAV7SXV7+jrMB87cAgnzM9r4vfv4RELFubJOZ5LmuZQcDQkYSGD0eA7duW7HrwDCoVwV4U4L5ADgXkCouB9h/kcPMTnt9aieOrQOJrkVQEnhN2028Rc7LSFNEq+eEKTHIlcSWHhrV3Zi/WsS8RN7njOYg6TweoCyacYzJjsLWVyX9A65pbBaQWsolY4XoSxXFlRbIs5snt1LFkO8lIYDRGHVQfIWsN188kYfsuS4GxqxTXfdxcPKOM2UmiM/hBL9iVhe6xI9rBc5D8FVd5Z8lg9DCyj4kJ3iPoXJcb5PKW54FXMnE5PfXyjUeMx5HDLA2xuGG142MefyduSFCuk5mYBXTzVPF0r7LIzFzSKBtO0FgQrBbRWMQqCnfZwpB9bEmtqw1rALM1LqEYYq7NqorVV+tf9AZtttnf3wDUubfx16QLezp2UkFLLEHiQ+Z9DgsKMKwxj39DV36lnmMBN9hQ4XNvwwmjNGHKs7dNcpdGJcT3rFruYKZ2zvg/He2ji8FaRcaL87gGkJKQZ2sdryMY0h7+bUPs0QlY8rkFQB4PjIv6BinPriOx38rMUpJDYvq1P2Xr7xL5+84rBrZKhIteBemGkVmTYyBHu5hcRThvsML12I/fUecHaeq2YqXKOA7Qo6otPQYAXbQvybCXTo/fvwWsfYsmeMB+uleiWDuah5WHPzr52HoJJ+ZtVE0swJvZc2hPNbkeFQRodOdRpXE6QKYkPTrvXdFEFgcwRNIqtgyVZbnerB/hIluQlzFI14sNmidYbniIoMmLhl4H8wg5NL3yXKxxBbi7ywkbCeTU5jeiqi76J1wdwx478vDXw+2+pjfkisnfNPfxtnqMAx0u7hqnRaohWDh6ucqrI5U6D3TnPC1dYtlzTL5rttYefQV8CQkJdhm+gw74VsKM4KawSwzqzVBZdE4FsBDDJZmBBN3Yn2930yj+kY5G0XLrM4PAgPPnHjnElEX9VxoSYTDFLIU1ZwMgTUM+ujgLUfiyLqh3FjNyMihsUTzM0SEaAhEOkzPhGjBQmtLSWGYti9HhUpgdLK9wOcO3gAeK0kusnL+8hk8yEcH6rJ0b8/EHX8NgTF8WXehi/Jma+gQAqcf4WUrf88EL8IN6fwpvV/AWSzlV1PHemmTSwWNzTlf8d1FkjuwEBFf42k180n7rxDKBqaDXWpgoAC5EfQzSZfF2Fv+KwdqSvO4U4MmWv4XR629WwC8GSdPJHSb5SCMaqP68/soo+sR0PP8yaDhVRQSsf28WqEO+nhriEk2FwXYtGTYJ2GPtRTIe4W3d9/7gfq7e5+8kufeKG9X+4wcun/lRGhMge38ZmwQlNG3WcWFT5hL9KshbRuVh/BXx/hVouFYfbRSklrfb5lbKxRl4+nL/KEJ3bB8UKgABmE6OzElMeBM+32xaXTsB4cTQpUS/HezX94KhIYLdavgcSjzyLBnXh2QyLucCbwoR7JPTaDzxctpRrnuv9lE66fXK6jmbDAsZrH7w95q9bp2bGsFhI43vKJ4ZkICnr4298vj/urnNAI6zx/Ki5YgDCG361/mCkUtQJ+idDM4/INF8dmSVWw1ehM8xnjcLvxFybq6fAmrqtpJUXp4RqGN+19SdFAlVVZu6a5ZzoP1384bWI6rR5SThwiZpBfXIVPL6YVACCmCMybTA3zfXwoHgR+mJATD9M7k5/nrHEmdnr4LqgSwn+j4IMOQq3Cel+nVKF2zI5SnfbC83so/OyDx4EvHe41JoLUfPnUmBqEE9/MwGTekWQMmalMGf+HPGY6ZbDYrFW7D9d4XFkuzcYEMAW9WQvajFVb5oFBsb9w+ZhaxghP3/Xnzg46R5DVdvcpQTcDuJq7SzYm/mEuWIZcc5XRBovrWnsNXop0UWLy6TCx59D8nfQiyc2oaSUrOj/2rJKKphYrmebrx11bDVsXCqwzfqahRhW4nngxSGBdo+i+guYLuLPxQttrRgCKqkHy4FmTBBW9u1EMOMdxrKmnbUcR3wFRDeNcXfBEd+jPNQfTkJCg6R0gEdhKV3VtXa6A7CQ8nqkRtA1AvrzZZnMvppCwwxDuiXojMkx6WFf4afeMJlX3c38XCKODhy70fsfDjGTLoU0XroNShpHWb8RmDKS3wEhBM5CRHp1Dz3mypjTRfmrmAbf8q9dz/9tAFRaS9SQZrHR9jOXw61hDU6M54qJEyLPtM0gLYEPruDv8ao36+T8b7dBfnaG2rrARabXLpL7a0eqSvreqM7vjimpM1CLU1UYO23aIMGP0l/gLEkyrCGdVKYyHFgKY8NBiW9k91l0FbEmMp23x8kdl+DWOziTLepBwKLWPXjPHAftYvSMd6o1lNLYYuAKAuL0IslxsYQbj2Uu78197T2WKmTOY6FaakFEMUy57g7BwK5XsO7g17tfs5bu/d+UpftZ3f4G3eH2VSZOqheBc+bjzLH7lvHMCL2a7yvtxMhUNhMyNTnugxCzozhp4+HJO4d2pZgeCPNxFeMkV7cAKYWxbdVvkn1RA5f/62jjFk8eCqGl6hyIabY9wfWfQdXW4hvst8ngEpN8nWOs9ihpXeZRnJkP2pjgvQOXL7qbWAYS/wZHpxjGFNWBx6e4ysnxqn1R5RuHW2y/4iqb7QELzIPYBVtlYllZIGlUCLznl7o1dQdPgfNbdGRjHd9qdgSmWUYCeWuG4783a/4e4HPqrX99QWqgZEkWq7FTCE6bTGqB0XdJDyNs9Ipr+fG2rPgk5Nw/Tl2Cfe2dpX9vMi2btqpLWAZBrYIcgWM5kgyNu6Zo3uFRnUeoVk0Mp2zOOXyhdfKtNGFyGY16FAmY2Rl/8saLmyBDSzdpaNQxi0cT666TBcqbJ7JJlXhOUZtwHjBeDzfe2RxPTj3lREHosL//7t9tq+HBfQg4FtMs+C8n0FLPvUqj+d2HFYP3pnl4cftxBFSe9toeHS8m8oypEXM2h05ohHb5CZ4gVjCi4k3b/oZmrzK7L2n5nXRKK59enOhqElm6jHwrqAnhAXuO12AXHkzaz72qSAasuF7OhteXnpqLBS7k7zVJ7GpSSiyUaJSibbf/dK8SHGej38Gad9qofbfb8G0kBDry2PS7/pNuDZKJHfEnwdqnIRCiZL+cAnJsXds227ND58Be023sz1le6akCuze/mw6IJWnF7LNzTsa+mSHtM2UNvaqSWZ9zOMhoAkS0x7O4hSFXE+CLw+kBCcTISGIbVQyEN6yfXS9Vgu/FOIXotKftDOe3XK2JUkwICDchOR+IsbPFgixN4wlxEOekuoLI1TvOLBWPEBdgKbTTEM+lmA9N9VD/8OIwvJEytfGc1TPxpHizNsdmbAwqT36f8sVUHjNA354HPmnHFc9M7XgFYQXlnBW5LAV6rfvyleyYM3eMsbUxIs9sk860ihDcE13ViyfnLMmVk/3sxPKLT2Fy/nN18XjOQNaUmtAV8MN2s91a8UIwuAGieV7YUnXWHv9HChVgCEZ3HTXLS7wJXzTz1Xv6ED73o00C2844bPsiIWgBAjumnGJdxUaGoRId/nGW+9vm9W7pGfIUH5urDwzRjmM2wRm0z5csuRZ6I2eoPP+OENUTGwqvaR3t23i0OolVRs4eI06JWTeegDrUUe/ZXl4EAmLVlRCCblL2+r4As+QDAWOidmmnT/QORcLFPnE1gz+G+VKo3+lRMxkaJj3SuBYx1KbzApqgTzrtJz9YqOLlgOM1GoG2WPsrjhl4OO2orRyafLuVEPGqP3wlw4yAGlx+M3fgfxsqu03yDbgmCHzJGYGRavi1sjXEAMP4mBeSeVxXjWshSZ2NMu87hJoVTZASqBk5IB5A+No7nJQTkNgHSmQBcUvpX41gikuy3zU8/rdd9ZFlagBLuLH7h+vzCcOFc6Wod5UN06/j5nKhQ0RLQXLSaxnWE+1OeibU0qAM42fdFdjiW7iwLQQ7uiI61iIn9lgZ7IIoNXV5glGntCM13SvwUnxoa4wxBGxwXI/K6KGkfYm+3Cg6VcSaJbhJ47xqAfL8Oc+PEQd2hDSUsqsbVQgyrkReARLu1nofCTNJkkSZCqewazR2cw/IB5RLoOXHEwF0zhKWe4B4J4uOQke+zjJV+srOM+mwuCp9vb463lsjwLnG71wnr5FAT/PfozwluNeT+4t/zMGgMYM8l/JavWH76IfAAhlIENAC1+9WlW176iMDGsLFD7pgCbz5i4PK3x4mDYPlgoab3XwqrD44mNNNKe8eonOQMXZv1Qi0KGmEPJFSut9VicdQs0iroRcC6viRpuEwTm5sjqbjT0w3Z7iyT8ydSD+XpNdH31Ef1nP7z9+QY02pUvP581yjoMHYM3zWsyUOqVab1+RIKBHPtih8tjZiwChjligujiLQXPMUxyrm67KUvTjihhE/fnzX5qJ9FYUHO74p39pob5iWkE8hiqNhq/D59C4+nYu6pHJbpHgPaqvTIy79ao6F+Ihl5hDSk6YTtF3j6rLqhbWWOnNgJ289M+09j0jtG2CtCW+fu90neHA/4MfG6iMfZBqO0hX9wk0jwTRuiEdcKMCaePTCNP+Vv50Ss7f26NliTuLf3kFZi3coHrkxuFKAXuJkm/FdEDiOo/VQFpxHBAHnyjui9G83xfP4XmrdyZ6tVijKR9DOpan3ah/lovV1YyWYtIKZlg0Yx6k15p9/KOwDKYjsbeyXg0EfelbV5pI2dh2hvx0UXvV+3mYzcBaTUohNrqMxDMO0rhz/I93xooK+6sdFV8DknB2K8RgHiFiNN95wMRlUxgMlDtaj6aygkZU3bgW59CivegpdpIH30To7YzH0sitqH12gWjO6ScUxtbVbAK+kgflzR7gRVnfTTx+/nVzWQ+i6uKmVSRR7/dqskNj1rrx6d7rhoYJUHeUyUiMkAVwrVTwix244MHLSoBp+N3NqoJ2aIyDinaVBkgI7QKk4b+ciR5xQ0zZzNtRMvduPNeodkFFAguB0K07HDjv3uiAbLJ9Ho9JPjSzF0htb0WUEb+ivKLNxYgBJie6IO4CQHlBch3B/eTRieWjECHwVRrYAtWJZ6Zvr0/PQCkaehwET9jOkYZ+ArQzScygI+k4QQjZjdMwNtNcwY7g9zPOwnE3q88ny9/NPJDB3y3i/svQlYblKTdG/sVDO88Gg+GrAoujJf19pxaB3xkKBTwL33P12+VyBi4dV9mYXvtcKyyr7ucKfiOjHAeKnO8jWvmqlGu/WPPq65RObeG9gSX1x/Tse4l/+qPy//6GRVCLGlHpsBsfKjy/PlBeAQKaz1hhsmli+Y+NTTc6Ydepfxyf+Ur5bavrUBc5M2S2z6/BH1bADuPPfMDpQQG0F17FqeSCfQmfmJI1EKFSyy2+DcsDG7kAIFo+mtQccVl8BRPcZR7rY+xVkUNWa+b48kiNvvuz2UwfG71TMMpineyuF4IVTecx4I48yCtmBks5J3bRFeAoZVlL+EnGFC++CCxundeAMvQHz9gx4zDXXy22kZV5GjfnAi1kvgBGyrSc5FuwSncUFQRdQBXSHcrczTKHml23vXEoX40o5CKek2AKHNIvQG6IdHV3F38wAT9wHrMI6eFGkTMEq0Bel45HJvx7zRw9Q0Dcoczei+pJDHizdAbH/FgPSY595DA67H6FMT5Hw1KLBKffffuAgNqWoHvZ5FGD7hP6Ni+0yoNgEcbGZ3kAbNBpqPLB7UsVvLTUmqQPrBA+eVA4FrWCMboQMiNsH+ska70qQJ+Rrd0KYGVXTUr1vM8b42eOZ8Y7tcOFDyjoZ7Xi0aHuc/HL9y45qKyrd3OMV7xpDFdSBlMsHY4YI8RKdGE2yI/Z8BK0QS4LNbJWGpAFKGK82WFRUZY6VaF8Qm6xOIcE+OsHzf9f8owoK5sddsk91tNocrljQSvGc5bJ9KaWLpcOHhiLVygpRlY6+wH2XixAQV2jqCcSSsy9pezBd7Bq3IpQh1k4sDA+nsqMtmQmsSmmnre9p04YDPlz3a4QXnitvqqKsxMG32vkeeaAAZbKInhADvgBDAuSs780C/G5/Bd02J/yHV22lpZRdKjHQvCeBuYmYxaorpMawpY7jveVgHstuRzAzEHau32RtOakrQcgRwG8R/wjk7TUXNlutBlIdP9YHz6jUGJD5a04vZMrV8c3Khh6wuvt9tdSO5g7A3VWA0rT+w4Z0KKNRBDTvOHTjvsh31PHffdMKXL6icKAlmwet6Vodo/97huj9oVMwfSJxxdsUlRgXkWm7pDBxh0nUTApcyx/l/ZgpIynhFVAHIm49JKbPD465dKF7hrZ94206POC6rAM3hqjEUMmbfjH5n3pBVKNOUPguc3QeenJdEtJLiHNh9e5wft2VAgcFZk+hZUnqnpFVdwOilbbinkPdo2vg54Fr1ASXBePPks5+HCbtK1sxb6NCOlwpwERiLzPyHn2yvcOlADz9j4Wiysz+CtT+8JBMP+giT9hdbcDL/kOvxoH2Yu50k725ztZBmnOqo2bzOcU4Lib9I6IKRbbh7t+7t0Z9vlcIGRVxl8U5PkGThlA+utt0Jc7NoM3rRJPwEI5yNHEyY6FMEden9P992qE9wxvqPApnUXI0XmrOjfxhwL96iXa/7nNOsnDT/nIpuMcWrji+RiN4NXjmDu6uQ+XrvMaA83MbBpkmIMkTP3fbMNNqxEQJwaTlYhMh3iHfJFtJKXUgxM3lgme3SKMbsr8bLw0KFotLUvLvbOSoM21Agx/olREopEwEshjRs2rwkFsu6HMknJfGpcqWxr0NuXV5c6/JWtBOjvoGALxleFc9uVDA91HMm+WO0nkxFhvDELl6MNiXTa/1o3zuVxF8uFLBA7XYhUmV6IQderAQ9KFP+SqjbKYEsHZ4tU1MvOBM6JhmmVYjXFLJM377fwTKgfS3+2NCnmnTo2iZizacEBwZhdcuAaKpp6P3xn9AuHdlsbu7ljLAV2M8lqONwLj3pVteR6n9oODrmg1yVGm40Qim1X9nUSO7SclMzkoIbhgg++4p+15QR3qNVCLFXOUxs7+q3tzGq7+e6n1jOupeerONjGsfVMROD7Rrjk1miL6kDRd1DH8YY3ui5R1eD/y4JgKn/uyknNZovmCd2I01qLJi2af1QiN19l07C8NCnerFMX2Ltu8+UefyEgeQWUXTacLrJbYTp0CAO/2j709Lm+tV58iO7V1Z+TeLto+FxaTD/5gR/2qckbkt/2LzR5j64S+yfUgPcuGg65K5Qv03j/gxdjVqEKuK27ATBb0seiPVu/L+M+duLTLCp15VQi8wyQBSI6XCS+5MsqUkm8fmQkiWSo0ad+RbJRYwxG4006RvGaHen+M7Waoec2QjqNX8eb4bNpgVscS9bgZTKbXNlhVO1qdfXfpHGPGsxXtz6n8piunNz98FihoLSjPw0LCV77Rdk1lkqQpAlcJNgZ+x4RBjpS7sx2QVxc8hDUoYhgwPrmNCWKiaqp/dpw1+3W6aMAQeETU9EiHb41ycrqI50TLEPLJNIsZyyZ+LmZeT32A3/19ED4zv9Dy9L/R5r0dmaJj0dtSoheV0NPUrTNwUeK7rez29jHm/HZqWHlhJHUhI8nsyNeH9t/gIAdnzBVDZU2Ol/9htR4YnThpXiXoz2QasUAXZV7yjw6IB/j/G8AgnNs4TxRqvb16K+Y6OjnxadIRz7goJtxSI5G8GL0Sb1T/K/RJDpFECiZ3XHeLzbL6eV2FlOU0aXFdPwIj9MZBAEhBOj1MK8jQBBzJRaXjK409JTT/zhvOx2afuYNJ4u1uxJG2n8KMKKmhzwI+PozJoPuS5FZeLtT84jYtrndNh4mmH+GFr1nPF1u+ugiikElzmx9LbyNjSAvUyy+ra4mwg41tJtOl2Ns+8V/mDsQHW+0vHrUtohhsJH8rgS2ZzZk2hCIYUzAa8em3NqqtAuaqCLwwz/XWNPRAbLuwu9EsBDe0urjw+3OijFLL0KXvaaYhNkco3W5EkMJU/aAx2S7FP7pr69xpr4PBZYIjDVPeZojMBfyvqyAu+NJtZUBBUODwHP35ArpH6XdxvNxxppGLKHGd6IQiaUONAV86RnBfOYikbidYcoJIVdKUs2YiC7BoRMk4k52vgIzzWvUVTUhl1r2Tl+1MK4QtzRbWvQp+wI2WkEm6tuPmWiV6N2s3175ZIKf5RdRR2Vn2bsIwdPkJYFvl6TMbtblcVH6fvO27XHbz/X9SEqBoM3PGgowWl5cdaKMhKy+Dkfcn9AVPvZVxY9/DZaYuEZtdA9mhujTFFdZSJdNTqKMP0Im7iyG/P3ErCyF9yQOmGIVxhaO9HVS7403YN4ssPY9ZHLeThUBop94OQ6GunIzt+5r1fJciwKo6ZT9i5BxNGTThwZKft4nnAtDD/t2zU0f3PNXHK+f55dIKt9EwnBb0fYmvWE9TnxJ2+Iv5eH6jJnwC/enDeJA/nEyYJkK3DInuSdr/S2r2uuiQjw/SO4E7m0J4qWz0MVUnVpDDEcYAdrnnCo7b3eq90fxh0zmXl0SPHvNgAJ4ugpLjsGawK5qjRJavZfVYlTeM1wrUYCRI13XZbE0iGKLTKgOmSTKrJWvfA64s4DezzfVIRXxA34eGPs3drGE+7nQWVzU8hKH3HEs3aizfDFl8rrC14n38A3fnZpwZsnfCHfM5IKScXLu7g79LExrM7Y21BPkT/E7nwVhUXQqQyVoKwgzNHbN2hPiF7OQaNgsZzbNVdNv+RSMBWpXK20HYdmmFXOvu5kfSRAKU5V0u6t+x0qQosr4aI8qXACJAz72hwFjW3FoJOxsPNWFpa+W6BxGty6/a+bu6NNeJYNrTPOI33quulr3nPPCL1XlxG1mTJ+z6JhV8JnxnLfN3pDcjInc7OYPNWRmjvD4eXGrsxmGyi5nfKUUjVXhenepSOOPaDeA2b11qlXHXLwZrj1JMix+SNjQD/3xlfCV5/5SGg5g+JNb3DGQ/IKNtRNw9/441bocqpMIaRsgjSR1XyS3lAoiVfTvea5nbNYuXKn4Gis3tNcrLnv2ImnW1A0WQa7cgqZb1rRfO+2aSOCuYMulPbYQOFZTCxnnob7duTOkJ7fLGiCgosz+TXBWpY6rzsgYi58ltaHh75YAi3bYhE5OpmknEBgiGdA9BRWyP2MKub3hk67yBroNXlBmY2vRdgHrnKBcZiWtAw8c0ATMJqDAS22wpb0W17DK2mfqjlQTEzUpIuQK8vBU36pB8Ql7Fox9RT2i6L9WCJAelXrvgk6fr7U/vpg5FHhWAYNjSCnPTQ01sATw7DC0ElAE53NNfXtqTmwKwyoW3dAcKAVujVStswRPdxlpgQROW28kPookr2XxgXUyxYrNWBWsZZlhXtp4PBN44gVLSFciKiMrwCCqAxzGhHcT17rrT9gewQird3u7jMqHoiScl2lHdnHjDA63LZmrsDyZ1sAP7g8oHr4rl7eQL1J+1uhwxsTYZYQ05X44SOsJVycFvkNci1RsLWWuJi0mGdaNkAYIeb8EhOP+xi8RxH1f23S422aD1fabHrwzYrEzsCOW42fICDnYh7okjov2KMh1oi/8AkvTrv+7HUcizBGxejJBLBueavj6YEJb1VrSAKyC+AA4/ZNKVZBfb2rEi2Q/M+TJqWqgX7zkL1MnxoLiBHEk+84/0JBm5w3fKbDw4M3EO8WhxymlWIkOgCDFT6NCsg6rSLy4SiT4ncm77LMjUKpT+TqO2GSaz0wyqM24YX3Cs6orI4kwybMt5iL12f4Dr0XmbpEKJpCDw4WkwKlH9IuxHusl65uVw7wdervn0Lz4QwbYguhQqGN0dK2JrdM12kgSOTwacmCS3fGU4xESAhqMGBty/WTLgStih3v1PxsI8mjovIo6eZQ2h3zyhZqxpdX59iMkNNM1AMi9+LraUmr9DYbXRM6SEgQQeZTeZE7yrnUMZREQ19O3gsCHSTUQ5HzERpyYsbrugswDmD6yDZx3BwDBZs72BgbxtUkUtyp3J5PLnignRJf3t2DG4Y0ZsF0qlvj3+BxNIJzra4BR/A9ShidyYgzZ2FQt99QaHehhQVMnzGO1US/0Ep8etT/VhMGUAHVplcFS/G2oDy8wufO9YKoJKW5zOOOTR/PbLc3gLNUUKggshWITq8Prjtku3A+GdW9mLHvb6/cUARyG/6zL3qcCHpUftkbWQM8MvUet3QIozYXikRHABaV1cCnKp/ExkPpwD0KegadrKf6ic0Fgt8C3SRGxBq9ibVlxtAsmFxK9WfmNckiC+B+egawk1C/ys15hjOv7W+6MUdr8WKROJXNUGr8zqPsaDkdVxnSt5obLlFvZpuxffbhw/MYLWJ4T52iSkCsKFFPIwyIHjPUWT88iqsieNrWauLPvDHy+nv34oPL15Bx5gz8s5ukAc+WQKZx1tR2EgqYxJ9EBDXinlq2/jzOyoX/Hkc1gQxUTj4/hufELGxqlz5bvFclRkWEUuUEMHodyfkNF6yklqtUDbv+2T5U1DMiqQe4UF4MEdiYX10Pi2iasbEb16WcrwddcMoOSI01/6FRtctasmhwgDuCWKU3H54g18A7RSZ7M1+OyB28XtESLetsIVerQkKEVrBQXWkSR9Xgb6jCp8ixnCouK8Z6VMdap3Ho/6kv5Kmb+B1Z2RAGoHWH5ajJesp8UaZNYzraxLxSewt5EZ6BeXrAfEqMuG65w5tqACuksLpiM0BW7TK1PnDmxUpk4DvmmUNuL+4WvlXrFvr/iMl69Qy2UXB68UTT4tRw5eUoqm7NezuUMwXhPE2OviKvbxgadJM4m+3JZ8aNXa7iHBYdUmpYoFr7NFc7/eQfht9L8KGP3EZvCo6C/4KzsuUG2NX51lvhC3jLZSkF8NY8HCT3n6EdV9PhD4zVQodn7W8f3DyfE1LLBPaFfSlzir776gEMcib3X4zotMsn9jTu26cvHnDEtlpzvdK5Syz0HTL3iIkPVWEHVR6Daa9OvHwZ2KQFCqRBzbUaYcYNXCK6CRPyu3r935RKCIhk6jPqDXCz/IXFu6bOlM2xA/pZD4RAeTEDnJwVBRPc1YD7PZ/13CewUFTZeGLo4FVycnaR9oeOl5RKKTq4OIxi4K5P1scF8TRJiZxz0/Mhq+07UOc7nfe6fUUecJ5OBp85lquzZXLKnRFOgqEcnCcLoKkZZE2wLwMRIRHFSAXvqx24Dg/Sd2OUnEPQOThkkV2fbbRpSp/NX8A4c02bKu/TOJ/xoqqcR0SBTffIG0sXGpras1y2F9YifIB9BaLL4Pq3wxFmTZL4xjffuVmb2MhBXlltJez20u/aJYsWTzIxd3EE+T28qUlJ/lee7GH3KnUZA1VBWzhogNrdZ+QENTjfmEZi+rC4rdzBVC72VqMF9cgv8mCuQbxBsJrZC+uK3ofAtHKiZlfhd5NClFEFSfphC9mjEOsQCxro0sp5U5rKZUDUsu/IC6yzQgFLc3GHsaCmzIRyaJk86T0T8lRhpyvlUfCVU0POA5AqUld9aOqDJ3RBUwZ5nOTOzlWaYLCgM6HzYIE6RTyKFKCPBGqlTPHDTpbC8OZik2UjnGBgqDAIgpj/w2kHrFBEjeEiXhbu0EC7JFMHgOOzF8ER0WtNZ3aVYB27Vj52BI/tH4EyOGVXKL1QqzbxLinPcNJLZhYp3hWnZeQK783zlfD2IwVWVoJT0D6gCnzjlT0//p4UmcnXBFcmj9eb5p3VPI5NNTOf/dYH7M6z3xXYyTYEtfNWb3MK0udEYXFDzMnPRq7T/tsKylMJ/zIGgPNLEsllSqvD36N8A/on4qOPoG3ug3zlzW2RfDNp8Xp6Ijvznxmg8w1m7kanRLUjkwGcjcpr9gFZueRxhBsnZ9a9gAqZZ7jpaCLktqYMq0xrQDAA5zyymADge7vqea9RS9mx7VKaOTDhgNrgJ8yN6GIjSwDI4QU/qhwl2LTZ0Qer7+0LfitXaxatdmnI1Z23BbMU4JjJO7J7jE0HvPM1CRW97OlRe5lqlS+Ns/H4iFCNNPk8ttcEqDCi01iTpHw8Lz3F4kqjalflup2rX1RhEQqa7EtVprIPa7N1CSdHn9107wX+nPEo59se9B12pgQfgg1QCHZK9nEgtqdmzMrBgTAu5igFgf9/l4d3xiq1ci1e+N/T1T5YKL48gL22R3iArSBm49QitVgzDuqrZoBj68oQG1/tFAGdnMvdgbVMeaJnPNMkgrMiZX5JEsGSiQfpaOvyyNR5uSdbRiTuWIHOVLUeDn442nsdHW+4VsdqKnyaC6Fmo+aSyanBrMGugkS56YWoaPP4e/C6Mta8b2rTiOi8REs+7laGlDATWemrJGPeQBdvVPFGqDuy/i9d91/u3Uh6OPsPhgGoW207gFRALw264Nuq7PzF9FpHm1rhcW4x6WY2p1rakRKONy5FAal2G5xLHll306KSZTgfsc4qaTDJGNge9TpTpUI0mV6B9hS2uhK2SKMFeRaC99oj07FiO/LuVxXE8wKuzDDa8qfQkzxMkb55JYuikF0iFrf/c5KXVNpYfdCAwY6B6oHrlk4Vy/9BoY4AOWoHo0cGSASEQSN22iJyIRcRcluVhTWpnki5p6SJ+E8baTTTkHlifFlzmdb5n2k/fQMfvCRzSvGKDBLwfSfRYKHT1yeMsD40C3onWwjvIsGaBgYJHdDPJfRBKQSEoIrlAJjHhJ/3ecLb/odlBhH4K5EappDAYGLm/z3DC9cOWzl5jGC6z+kJPuSDaheCblq7i5bDVDZ7sgwQ9vOB+AB+GoDwSbIAbZMQwtDDvjf/VGB8ALOKckYghQg558mASe77X5oweB/haNaCA0d1Q0BSgMdFwLoWL7LhHvZJapHQcDhmzmfA4cYiQ4BuoAuDuPP8oUjJKUz+CUTzHIV+Z7/WSm9D+6dcNvj0pMddOFkIsPf6cTSEvnAUxrwI6GocU0ccTxajqAC5LP5PZ7vFmmxkmN4bvniwkdEjy34/9VrOnS9+GsKvtZHQZHwBgslUU79Q30Ewa1mk5bXxBvKaNdOsP1sCiZDEQPNe5KjPLQjiswtp035h59XxSCYN48WEV9DM21gGXuIzaCtg4/nD8nIiGVs+gZdd2P3W4ZyRL+8/MtSNVDKOLvMDWU2453vJUEZx27N6JGcg08Uz2RBuyErngOB5+bT08DLkcQ55IArVeTtd+1ZMSm4FyFPaFTdpFi8kd7OxLxBw2/sS+9vaoNeytafwtzume3M4xTb9J0Yu2e5KK3k9Z9LnhUKC5/xTL4jchgyqeOaOBjTBm9sTKmsIqTCypuC5dKm6C6p7+Adnt9/hv1gb9wba/chncaQdEESXUCsUZeMlpREAhxWL4GhAPnXUToVnxc0ju9xcn8rq+kdQJctsSXUb8+2WHT1kAg8fEZVHr3+muSQ7ndqH8yXbwWeMwy25Kmg3nBqDTIRKMcpeq12krn8DyACXT5qDu4aLkjXRp/iUe/MXrllVqZqW/ex2/1g21UDL6LXtrYavZo+KxawY3ENRwiEJHIBz22fV7FTcqortswJB2eJEMsgieWovkB3lkQ5rPjLZFVrAYcYyIuEh8x+SC/MUx3w39WsBg0nbrTTsqDBWhAXuE1DLgff61OoIpF3Ui1Aa5ZJsmWpmy6t4PPrvfbBnoC3Lhb+jr8Gl7RM3PAOuszEQvJGueqvBcsAC57gNN0kAgpeYlkfuR1LNctXs77HSTpvgZLkq02jWfWXRJvb39XWFLgHCre1L2C8+VCkoKgi3pXzh1Qg+EEOZuBEg3WzKettafUUQRY+DD/FH2cnScJrH0U0fTMvh0tBiMWQDstB4gArsl0/qd79p3rY8vCG1b550DPkuSLJPpGBk+I25QSwlCHXySITMDnUR3k8QFpnaMWG2dlfyNymx0X2B4o3nIj+1kKME59FJ8zbZ2L9GQQeWYUh7jwWbRDAvZnX6TOuAKy9WBtClZPHFBDyLOMn0s3Qjs7BmSqbaFRjLyt50rKSIxeGG2flFAjMyT+MFfMvLLs5ZOexV5kp0Dlkf57Jbxf56r6hVQjTuzUtVkpYfvAaJXFn6QNAfZQV0D/9T8UdT/ljSQtzjSDsSFu7AUroLTpIskcze+jeuqpzMH6yQc/0qCVH4REA0MtBd62K/2TzuIZBrVB/ClBBnQhNzFpfmW4g95C99orTAzNSThKhNV7SLZ5/mRwG5Kqn5kOhpb8Mmz4kZP0Wy+9rlMPIjxH3aIfBWQ8IiCIC+M9eQm0zThKMfo4PaeO07q/z4zWr87ShVBvLx2RbDsMP+XkNcHb4aVoYWgbnfQYL1vQMhKY0ESAy0h8TNcp8ZOy9A5aUlj6fBhRdW3+DVh4FKQltgaeazrWIX93UnrdGtiHHaKfmX3Wx7n7/fv9W7dDxqPHJMj8h5+gZX5/Vy7yuiJqowpkW9QpVPYnwwUpjly9l95wdA4FhzMUMs4b8D86ywkuHaoVaUB60mGgNIl094XekUUzFdps6eZ/spEsq8aX9lAV6BpDCyt8x0VWynw5WQbGV1wGdAJ/hhwZZhM+V4siDRlPbQdLjVipZO9WeLqFPbNWKlKhBm0x91LJNyerfaLyBVw2MP1F531o+oe+wNv9BuIvv3U8m4F5Lb4Kj9erdvKJIEdnZXJyZtNI6qB4I1Z0M7LUG+UY4/MmvtgHekQuLY7iSDi1eeDtnjgYDsulCon+RxLeTfYB0wAo7wyhPywuOP7kYUr+ETZs6oqhAB8AX884RNj4ia2vxErrTcl2Y4Wh89tm74LFhJQD6e0FZM5LGtSpUcaBfpIwu6Cr0clGIlXpZZQl4LQT2O5roXLuPaF0C3wt4UkIbRWvrfwZVGL326UEFJR3nSXrmBlZ5edC06DFXYYIH/qqi6ZeV+xmgPLS45vyiS1lpHrVtbRAMMLEXrP88XfeQUqxBwwIhu9rEDEaB9MIqJTTaHAyq/sDvvQxK1csymaLQjYfNIYD/K+VV85EOaAmEEIgtLxUojIkUb3KhNso+oCxBR6jGAQEswTmf32KZIhQVkaWdgapqt/IO8UoSLP58MJe+S5V/cw1Dbayz5nXlTV+41cZnByFXhJ8E5dZRF96/SBXKedyF+M6K2tcCZ9O6lRGN29iHX0siIBsVqgfUKiRNy+a/MOU4CCI6Fw0d9hi7l7R46ZH1BC8EBEEIaA/qxklz9a6ZLqYj/GCqGaRu4SUiPIuhzW/zzuaSPpvQ9kQcY0quKyX86ltmHmZeDIUYPuUMMJ1xuAZSLgWCOP+N9+UbaRxMHohRvarFhafQ/KZV2Ct5LM/JuRXK1EDd5oTxrvdYlkqqFgBlMI6C9r/ule7xmFzV2DhW3n16zxxycOHQ6P0hNftpXdFnb6ZSiGl2O9YKVo/XfZ8vk43GBQtUMWJhhUaBjmrZcbvvCA+lnZQD6/gIPqYnOHVDlgZjSdStMUa96K5iGDrFhAfr94AW32DasddjIz/w6N1SKajWlm7yx9rBas5pL/c8riS/NtyYEaeMF5o26ea+44qW1ZCU4M3Q8zj3KahgB+1Z1QDAa5hp0I2vkwO0P4l84FOTmbJST5uoErUHS9SYaS9CgyHkUOF/zpZzdiJQ6qgKTwwy9Et7E9fVsc5IuVC+RKPwaNVkTjT3zQ7td3HpSwfaJrYldyoTYxExxYze1mwz/WlIdkNsDIzhOzz5SmsACcaPKp5fXY03k5wwhVvMBGjzJOogoge4JeCO6twFS3a+EGBc54TWjUnwTwa2c+EpoMObS5pE7stDRIyrlfGdxFXr8QXa7/ToDhw/JXNTvFz0iEFIeLLV4kj0oZNt8dN1y2hSoQGzN7yKjrQO13EmNKkIHdc7sD0IwzPhoPj43s76jis9wf1X1DxY3L74LJaNt8P8gaTJYVgYWoa6rNPNG7Hp8tR0g/LlMwz/2HnxeLlrFXi8FiahKROjWcVsfCk35Pe+gWxw1AfUdGWYf0eseKbzlCkk9ngLipgFavzdrNyChyCOWvjCGc9U7oNQ2I/hzd9y8Gp3Da4gQQ8gxajY/90f+e23dFkxUOqdinDSF596fUDr9KgMOk8psuSU1T0LkpIvNzbMY7uE+vqnOSp0nj4RE6CLBQ8Luv0Cb2YHQ3h9iig088Vr8aTRi9DYwBLF44RqTF5+/HJTDOvfuxlXYJSCR7s0+QhtcFWmwrFO4+JFXZxpdEzPLXHHxMkvwVJPMnbQmDzETw+fRwuiWdertMw4n49bnoACHJr+JrUEcG9C+UtX0NPLVsISdt7U3fAJAiGSNtnoQ7872RwDQN679hrs0Lw3EzzV3Ji6ygy9mI7KxXz+7tcqbm2jbieTED/DPp8UqXiU233z7Zh9wIFFxI42kDMEj8bB9vt5sBo9HhVVkRdB0+0NZeleNfCITkTE1Tqohj/JQ7Nnudg3/8ENPrbVh5dmRW+yEifBb+hs6wTA3Y2ZoIFD4K4BlriA5VUWZxSdaHR7rLwDRqhM3HUkibImH9ZMiq+pZrUOAEspfesxfru4ZiWU8oniHQVS1vWzraxwJSA6Fj115E4XUHYd0D9Tp1Z+MsrbTuzMqC/mWJIiaVb+D2DupGQUzZtKPIJKsv7jsEWS2EAeIzPauq15Yv9UZy1JZ13zRebJptofVDnWShFs4IQ6byiq5VpUwKNfBxNA5yHa5eLcOerRcWNkhcWLJc+tDisqQt1WeS7JKzsn9O7GprWNldPsKl+0SuH6shVTs+ludmisOMKT2Lkx9SHvdXCFeLsMqnuhiZcs5T62WKoKOvI67iGIr7rajS4oPkQH0Iq6YX2JXo4ysFZr4adwhekIH/Vd6Cw3kmZ3m7GtH+sZtKtxypDq6+4o7cD+34+beQxSSdQ5oxv/xV/cs7qxWDwSwHidIRCh4r/3fKfeas6tbyC1Ls1OQmGoevsiMIFtov4w+CBQpci8KeaOVRsxxdysznchQzM9nL1iFueFmlBVtZvVxB3jW2aP6yyooK9kobFmJpG4cQBH3Gm7Zt9Lz4Z6A/CjsX7XrEk4B6XJBCdRN5YeGLQHb+QWTTe6q5n8xZ4wm/lySwiZzhhWJb7kC5cdk8UiyDgf4saOLcbz7ClUuAMs+1IYoXzQS3ci5KbBJsrvDm1Ky/O1SDZYbEDkcBIGlxFkEnEA9eUKEJf7qEXvq7RvHA0r+ocL72CKpgmb+Wwh+dKfO/wGTdqhj14PuIWw++or4rsYCFApd0bqAqq0ukJMuW2lYkIbf9EUniAhwwh0VjjzX0CtCdtNiDHQo5jN9dotk5AFM0m1KR83Clj8jR10kgWB6a2CxvzvYyHJtQ5l9BiNdUiO8almx1mwV30io3GT8SXZ/JydMM+6UH/0cSAxwIgObRqadVGa/X/rOMi2f1h2vCb0jMSmCYYQfekwmvg3cV20XceiNMWkZHXEgLVm/eAuTVwsKc8HH0iU5+xXCJV1CBtq1YsAStPWzBLCKZjmPWTMza1QoBCfZY3ML7SpjT6yxHC7KCyN229pnMYS+I9oZrlekKvDbcvP8yXeM0OboYCAk9ZyzqYRDnVdjfluXMMTgmHiZmYCF5QyG5x4+iQpw5eavhS0iGMviPgCkTpL1js7aP7ibfzNIyoQ796Etemdf40pToTx0oNREkO6IwBjsJIUpZ/abstyzrGT8YFvCRCu/3JvzMVM0hP5rCi4uH8D1UXGN4C6cei++XEnaSwFSxnQzR52bqmUudsJTAEav6/UX7yOD+dcaZsq+YEM1KB8JvQmKzeamHbdviks3XKHQXLDh4dsgCEUwlHnBRi7MxN7/P7ahDcXGtUNSvKpUlz37FRhM+HqPCYvS3KdENlto3g+Raqt4tn0W3cTsqrY/hFq5qvRVnEGpDVuJJtf6OVZBK3aHl/hGffQj27qrzpRG+VjK8JchnSnk6LESGSD6+6vo9PWg0zCVgZRglm60MDtU3tD7m7ItGS1OGjQu9qeyiwIkb7IXv/ga5JS+d1/pXHmpEGvReVdRPTTmqsdjnsNnPXWVN5y+yiJX5JF2E6MR72De2Ax5uMmAOM3mXoMTHqTY0kDJUYsugFle6u5gEKw5Pzg6meUS9CmxqIBjQ7Xx1r8YJNr6v1iC5uAIbYJRGfLbFarfs6E/p1I8fYBB30OdNZzmMCHrjjjFZJ22WRKXLdHTmxLeCqhNFGorMjF2XY8vZPxjlQVY96qIvy1s1wUXo2ex7qpzZLWCkr4TlmuY0Eko+7NIFfiq0NFJ1tFECskIR9RlQOZJY6NUAT3kyapRoQbWFtfJQX2ea/SOBsliZVoBH1AYXA/bPurgLuGqJOYSHFI3PH0DpNc30QpYFPlUMzAWjgMFwJGUAErDbeu+kbk2kkE12pxwYm4sFmS3vO6mMellfSHV0oNN0AsOWsKEslqtViGFmJzyaOngV38XiANLrQy0MAK6CRBlgMluaZRSZInJqUvw22Go2xyXnY38jO1p5zmyjsVfeUjWztjyFGfuWUfQYjU6cROUGFmK/tbuoRLRHpHq/0O2ucswaZCcoeidcYVBQBQTCycRlOaRYTbOT352o4onRD7rkWYg9kSz4oQeHVAOKvA2CU6ef7PJuo8gTfs3+vQ3la6shj0NvU/T52ljojt/lkWqztJtYLFbpHajxn+2z1iIsN6+f/F4m8HxrIfGr436SZIkT90XKz6C/2EcyCNEB1ELBM2u6Xi8a0z9Cl5JzZ1he2GNQmbvpDFC40MvznmHlKwvWfS5/Nue0fN5G/hXtFKln73AsZc6S8hpQFSyF3VTLdAW3OS429e3ErqdlPuJmSvgh+1TU57nmEg8Ezz6k0SB8lPBm75dbib0vIv74WHbNBXT90466fkiMyxuW6xTA/ACcLlsJk6TMxY7Xz8aIeEbfX2czQH5+VOubhzc/RJQQIYy79Sm+QVOuEuFjHT9PCYDPN3xxboLG/V3vqiQBjbNnQFgDPK69TwBU+CW3CHmZaorTLLKfyhlVGNq0QQ9qi8TA9x4qfLprO3fAMZUw8ARirUYSL/1f3Z1dKOGHYHxg8meqVmBOpQYshnJleUjD+oBQPqNTEeWmycAKdoQ2ah1xlluTY7isvbOfPH3nR2jElhD1Ru3B5HA7xHyuRTyZZ5KyqxShiV8B8zn1q9ciOVGbcDY6u/RJvYlo6AD5rWaaJ7oUnPOjA19aGDuagnrnlsVl0gXH+m9m3oV2m9cCaDAs0ybo8GSaPRsazse0xn2b/k1zsdkLgQdKEBR1DK9f7Q7iQdBAf33m1jxQW8JWzCU8qwcq4otfvtcDR9d2l5HMQAvfunmkBxmjguz9HFPVwzI9RWu0skMhAPu2kuxz22fXj0EZ0lOQZmsp6hBM4nVnYDlPi6LaFeHhozE8c2F+S+fzLaJEuO187VZp6Lv/+K6vYyf1evavW6KuCeVeTDURYsEDStbVZtgUzke87LV7KVeYpgdNNWDOLBR4PozNzSYOd1gjijkJ1LIA5tAUgqH79RU0kaLjMGnMVT1hP27vVTtyTkXJKDdm12RPJHLcUiKFRY2aRv10mONjbQZhq8dMR7YaVjXZt6PrAUbm5sLPlZSxcGxQPITuAagCMkdTHkpPSUzDdka7sb2lRDx1X1aqUVUb9+CckulU/Jlq8AYYFjRIgvgNzGut+Ed1phSKB7cJhYzSXZeczzIwM66NsgThiTsD830s5ftEOectpmm7xFqMR6NIOpdZPNcC5D1orIx4ZvwTUP8URlT035ena+tNlz0/8G8xJJ8iYEbs1XDNrmMjNmhiTjkXHmIkcxplLS+NvGLUn2ZE1vzvjrIcltPdWhNvChWUlbWW9sF/CU+m17jU0rI8tyVN347xDwuuNbTrCy6o9rVpq0JFS2NXwG/KtoYu/sgNTaMVRPKIMr86aKJonJRKj5QVF2K64Nm3OC7Ug7qAQHQnnpkklhdcW36kXiGGEqdt8pTha0Pz9aGkwd3UNKsZC+ZiEq8qbGwktYLAb9JB5kuU+JwsesKPkjHKdI8EBGR2Kh0DJeMpI7TOXEJJo/6kEQYbbAL40L9WPRIQo2k9xA5RenYWPdT03t3hlcyvOXN/WcagreAP3IVszuvE11az9HFLBCfA2+zr6Ka3+ZJ8XJwtNjMgjc/Lyclh4PR6X4ubGDNFq/sNlVhBb4/UeJoik3t+LpKMxyJ5LbcDG821gr4xaYWeCQ8xlJ5nWl5JseY1DV18b5KRZRia+xA0Ovn31t81cP1xRe90qFwTjJWkrAyCKISppT/MWp1kvpOLJMEW2pr4Q/ba14q5uxhHcr+iYibILn9McGuA7P/5b3grK2PZSSuvSBUnICJ70evpHeXbDRsrL875cJgOm0eZg601qUXpSW5zC1kuqI7BBGBaxHF4QR5Mk9HKNwwwiHxINZSO92CItJXvuyFW8vU4JBfYIVt5Zt8JCd061/fCIXtMg3mxfeAWqvbJ0eylGq3nEiOZbgpj5zvjw4erQLbtmGspxy5trgqIyhmCRY64ahZnqwxLdL+UkC4H/jJsYqC7xG2i3K24XMqXP1lX6tIjYENTJfNRKBxUlagnKNdMPuHrr668gljlT6xC6v7QD3UyvaDq3gVa1KjXogO6DV2+InzsyVIJ6j7IZmFZhGzuoHHmUkD99qSHREfmKtCcpMKQMLJ4JXGGOrOPutm0mdsMiWGFw0wN5c2TYbtYkf8/WdJsM4QSJ427kzdioijoy7Gb3ivqCQ9YNgXGvrTCqGIThyBqljHvRjal4NITdLFud5C1Va7vrIL0i9p3BGjBX4WQJyeyY1clWrEFl5KK3ytuRMV6ibU7wDUiCV8p2xZWDwHmKrdU2jhh2I0jfW8TFZ+x/z6VnK9jdoZBWUO/2kBUNcA/KUl/TM7glsdWWFYRoQhcRJFbL1VvwaizJhiK1D3rckAQ2TTuR99Qkp5ydEG5zLursEtNu9MGLHxIIyteknsP5xkdldG3gyuC+HmyskVGPvSONCpJ30kzwDjdv/LgXEsj1HLZqtBw70JHd2eNaJF+fsd94NCCDnsTZyk53qIRAEHV9LFJ40f/+KAOCdkfm7lpNKUmpJIfMpeG4Ywp5fh2L/NV92ckLXxnIc1DTc+UciIwMi2r/Bv7Ls+ZYME+m+kMBlgdOV69D1E0PAnwYPjgi5BF6BVEIUUf+iI8FgHX/ki3Cz9Ca0VwTkcY+nP/qid6QNAoVSaN+c7xQk12cyivbzHEjUo5F8WBeawAe5z674DV8niyRVXwkHJZ3v4kRpCqzZsJOonw0npsV870r9F17+IOQm0fl//B9k2JbR5y8X8wmKYw0FxJqTqjQnFnSSjK1RSd190z+rVhNwjoxP0hSCSF3H6awk3zBkXtOb7FHd3CABRtnXYi/K9oBE8/fgjpe8gGUeavHLezqEjFOxrBR/OYs4+6KN2IFxhsLnf2fHVxiEzwoQXlA6uKL4mwQlxVwjtZx3ICtn03AD5iSxrMa6zsRHF1n3C8POSidPuMb3PVgSHKZazrBTwr2JQz2R3i31fxiymzgx+LJAHXhsxTeLLf+ICu36aK00DhB/+GzG/j5pPCT8QYptCcLP2wLRbo2g5zlf9JPnqFhVUKlutVgumGzBD7P7HUF/tBJ0c6XaDHA7poHWaDfIIUiEusOdiwxpi4LCzHe7FdTIM1mVCyGMie7oXtleS1aTbCmQbeqgBtDkd64n3rZLwvFASBUJZK3hJZyrNNl78owDX4oL2829TblyMaLZp16NwIATe9EFg3NaOLh2zGneaN2UYqhMMYxtcYiTV+HupKNiwklMUzxDS97HL6Ok0SboQTwcJHuPJpJPUTiP+FYAFwgayF92TnAchRWNxmvoIE79Lc4Gg+eb0IRb4plNN1RpFQ8TYRRlVjeREdcd2PK2+p4GtI1iohFoUJkZTe8a3wLY2DUFOe4r0RCLJUeZZmP+9ardLGhyE+nTbfPmuUJbQ64riUxyVduBoaik1tpi7fnaN129CKC/HGlU4p2DWaHpHWSqrCjfbkDtIpB45l3nv7Etxw+/t90grgA1UmT93KLB0wUAfQOE5zs5jxDzoi1K8NPhnPc5jvZZ88uonygTc4K4HfJiVABtFn45b5myp5sTga0X8NUAJh8CCe/Djl7BI9Zf+7K1N1DX+on1zdpv4EjSJadLO/CuqNgpBofC4uxPq5sZ2T1Kaez25YZUle/47DQRjLjlJPGLIsnXk7lE/p/F8MVGCY5/XR4adaQtfVK2CV1m6AbIBuFmFc2y4eoO8LDIcnBOPM6awmLIdBQj0opOPrqVoSOXsuyLv6xJSgPrsVRY30YKWrYCc/1N9R7JylVDhsMWyZnRsKAPSpPad4D515rAFyXRdcOdGZJO7d7/NpXZJSyAqwde5DQvdQGXS9H42wZqJzPNEoQNnlHwA51hrXFIKYqaJ6qkup6wZsddn0izRJGM6TwpS7B7ssLnn2i+rJ7SnQtp5XvUlK2Zm9fU84K8g0X6QFF/YiS2b/mn7tKShdsyT7rgdWk9CZvQkLQtZTBcI1VuqD+foJbOJZuBumU4zcswz0GRQR6UvJ2PC+JJZgG5ci7QO0XgIPnm3bB5Q+REgxkuIbuW/UpaZ885emYou6VcZ1rEkxL+VmrKoCHqBUZ7FMR0NGo2ijb+PWNy0zrowt7eJXIDxMNCiKlDm9DqpyWZpl5vAbwvwUSmwIgtz/ogOKYo4N0uSIv9ClOTg9W8QnF8w/AVd8aTnAp+p04vImc57qc3X9ncrecyZkEWCcXw/Ry+tv9s/IRlIWY8TsYfVnqFkSdNJrPMgWnfv5b4+ycOQUncLer+iZAO9L7pp/+kPNsF1COtPbd8SM5ltq8VwmQw9FkdwP/2obJVOcfHDkwFLYk1c5NbhEjgWNGw8tyqs9taCxhQrN9kfqsmSJEMLRtnBT47nUMl7r2PS6i+V3w/lvz+uajdJDniPJTIFhVOQ3WIAS7NCmxOdKibX0cW5ehu7+GGDnmTB/eGcj96dUFzAvl+Z922cT/cwceQGpkGSZTn68nYV2z/2lQ1NY7VC/uXbwvuxCVx2AAO6Mpi1tYVncUGeFwWzZ5daWkwBpNnVMItb/z0AnLk3vNFsC61n2cHV4k9bquVpglE/BoccpbSOQwEYjyWAtjmNme1VH95dNvEhEtSJDLprTfspGmM07g+jmrQiPQRDsOuMrXN6tK6guEYcLh/LDtercEIHHCRk5gRRxiZUpqL0SOT8BiPqP+G473FJoH5QV8aJcJJsvRZMYAWuuF1w2jAcw5NhlUmMJVLOYxLL7g70U5M8jYki/RxSMSfbrZee0d6KJRYis3f4WPZT+OARUnd7Y2H7zC4B/vBwRg0cQaXEOjAdDsdoWnN4pd8+VfVsjWmTExAlcicLJ2mljyxjnAlriTIsK9njh98LE+guYzD1gQKBIUh03cWfzPOmBGXfORthJ5qUnEghk+TGReOj4E8FSbPYvtEkohZyHs+feUQV1oflFiFbtg89azNjnkBz1bSXynmrSyUFbH6S9zpSVD4n4CpsSLIgHAxACcYH3iP0rGK6K+jHVaZSNk/zuoyiTv7b4CU+HjqhWvH+wOuXhJRF1jYZMsjg9ypc4QAepzkiaDl4W6gHwxF1nah4graWrKJsZbZSFc0MpeEntiQ5coK5gAGY6Bvrz908F4FrsziBqJ++aW4fX7urlf79oOasa/IMtpvGLxPimyimM5S4rSERYZGf+PTw/kDqnJfiRfDHjs0OJdKUE6w1qj2+i8xSxT2X+vkzDpZbZEzuZBbAsgoiHQbfxDmZMqJ88qDqP3y83eN2ygTWF5g+raNvMPk7ypNCfkgqReNkFxV9GL3CPFr+uP1RxjvyL1PX3myoKOlftow8PZvfKzucreQtgv6btm33IvEmrMopjNpVSdGRinx9/quAYYB0+RtgaTfxjonzX7YTVp0SqzuWNSlFWbRl8sILHGv7RXQB++mExngPZnSUv4WkYYlJ1fuz/RFiiKl+tEShQOE5i+5St1gpxs2hXJsAvl9g6c//W7t+PGKr6kvcS8ZuCPLkhTHKbEhoTzdgup5uBonNIZdTc+Cwyb6ovXBmLNODpaF0NCbtXDywzPnM0FmaZATP+bHL+GXacXRH9nPpN6gTS13FqYRI02+9cfUldgW3eZM+rWvM8ZBRqHHDgtOYx3v5/C+78uMTl0chsXGCVSrYex3bbpVehh+XkhpUgjidFpQ1dLNg0RoQR9OyAUYpclKe1jj2qGpKUnJWkowi3M7KQuSgN+I7xVxsAmWP0pKITLWCuk7Cu8i+7DYUMdexKOYCBS95TMqt/YWzT0oVaPdcEhKzqUYj2+yCFemMXPgruXE285BIa0dR7EjW8IviywAoVyJKK9hA2v2NJTE4W9C8g1CcRpyn4qW4IfIA41d85aVhZvFpfvnFm0E6rsa6KzFbCYUhnD694M0rgLe0NE1U6amAiihPp9cTDdPZsoDB/uqApol6TqMKvyK5iJJzES0atHGBXUgQejupiS5v7t/1NvwwV1BYOLeDAMoBU3b1awViD7jvlS86nO6B2yLtpsOOCgMVmTxkSPaociVxzycbRVoMoiCUAQhVUTlx21F7+DuOjzuurrW0/enUNaYwRc5BHcnToX0LDvEseytaw1w0XzJGz7+v4S0mE4h6ajI4tpUmhGciQkOCtjE8KAUGglNwZo2ut1dWcTwdMzKPG56a2MqetH1bVJ/9p3DDxfQJ+uyohOQOEW0lXQ902+XEI4d2Nr6JwSO2qfhefG/KfvWxhy9dULhs4fbgGl6luTncY+q2Qildz+McVJxqGGIrQTbn6nJk3REsXjEUMoRz0yDdBEHxfYwAj7+9QicU+oTyQlw8SlBlAn4YbL7uUzaq/Ur3VUD8+eGHzCCViOzn7aHN5i9pDMJly1ESfbx40wsQjKd2RcuV8qB3OiBXFgeEuMOs9C9z1Zq44IpN5krxMrHSEtYYCh6WjjkLZ+6/LlppDJok+QbYjKiKbPIvcopY2hFk9cy0n8y55sZBZl2xGXELCyJw7zYBsLjQR2XjmITx6VP0Go73rd9Vb2kt2LX9qMLspN48BXAeJRSnPA4p8usnJbxPMNPDk2UXykBSwGwyrpwlPGlckhWG4AL2XpUdBs6qoVqQaSqEY6mi6S6psDCK7vxAIW+mCvviDgg9xbiAVIu/dZn4BLxvxOS5FXLNwNkqj9QpkcW9UybNebznmzxcc3EPh4C+LhQCbTHjzLOClzLS1ngeagfBPr6XFXxdLi+LEdwS7OdHsKYMrZoQbY+ztTJcsoJwYlBPBDVCsHF0BZ3hDKZW7FyGK4beXgo5p+EqO7LuYukSAvtng/4MBA3U8KQT3HGj2HHDYxhtxA5H1BHkxp2k8rvwYfF8YYMKFPmmHqNKvadc8WiEmLiiWFp+6vBBnaJWQO4t9Iz4YAQ6gIsDzcoIuDoPEnLmk2aKfPVIF+ds/LW8Cc6eyHi2akuj8w5qoHlHjN7YLqiuHUdbCt2GVZo3VeJLLPaxo5wmDnzbfP+y/Wn71laFWRL79HrMMsEcVKpWj/xniGuHzAf6/9wx7W/6F+xz2X5zVu/9I494rfNSGz/Ja8xty7lZarc6EgyaFoLQbYkI61ng5n8mjDreRJDUtaDdncm2B18KHO8tjkpYERNFl8Ko80CXq1QKA0sVKzuIg02Xh0wWkmR/2HstNuPeocxOGYVwbYvkRaHV8BVjhxla9HwyxbPKHLOBh8C9jr3JX7Vs5lLpLHRa5Qk6To+w1qlvmx6sSCylQn5DmLFVf55Bf5wzq23uSsbb6bYutUbHPgWcLSYcttj1bOtam1R/73s7g3FZ8SrqWHO3R6T8Q1gbI4qpn9W/wsIIniJDEID+AuRVZislTrmy6K8Gzo6c5W4NOhD/o1+t8wR3bSRRD729b8Q+Qrxe8Hv5hfjP7GZWY4T7/a3lLn1TmchHEzG9OVb620jTu5UjsPxqXC7a3Xahnpy476plG5JsGd+k4MLmu7WKhByVsGo8vla05gWfG2JB+6cNN0gtwPD9PKP2gNcUtdyrl/HHsZoM/mYO6qOGabVyi33BDqX9pdFgMuSJpMdfDM5Z0BSH13k5xPPteznFXwRDQiy4pyXrIt+HEkflJd988C24qUh/IAsc9Q7OyMvaZ+kqQrKb7aj3FmQrQOtA15Ryk86Rhb962bqsTtz1GuvggJxKrkHl3bhrCo6aF0ZqFVgGj2zGQLIaqVdsCPgVmMI6xcnz27WITiLAU0zVrX45xIqdTgRplXeEIkhAvhZbWJkswTLynpRWVvjTqn5NdyyEphNDRriABohZ+PLNA6GNLFkI5bizv3oTWZLHGoQZ1yUjp71EqkroNPSjqiTMOkz/XYWaM4r9Mnh0QdPU34S4CHKuGHvn/u0NxgBbIJWSoQKZ3XlfM+FNl8PIFQ9uGEyXEE95+cbUNf8Xp02EqSftwj0KcgsDphZuFmNNO8Ml5yjPSXRd52seV/DiCVl3RXhH++oh24sTg645Kzj0KsybqUiRvK4SpGHrKGwYEe8bs5bQoA3Naf2Pmw8LH5nppk63PTzQ06mxi0qI5ex6bM6Baf7ZG2+NScvRTDAEo/7DlPoAvkgha1FPEgXwTitK7uFhhj9VNiv1HsO0hvXpgOa3xNaLwJEr9/sG+KZNPnIJel3jsKVebMIoxGZwEei5ld3T8dl9YuqboI5btSn0Q+4pH1ALNg7Ni05vvf18VYyOBCOn+orBnuRm8n2ufln9pUs4bOUz4G7jlf93hg5HA+qf1bUrUXx1N7G5dIqWNwuMIMjkE3R8qS74qSAPN7rySgD4WL1NG/nGDOcRdo2GCgKg9QfmO8PXo0RyIjull8xXxL6jz4iK1c4QwZYNia6Z+Qmapu+1tzSM9d6U1ItVK9SEqnLdBSmL7uHgF237J/TNRz8USeuLuMuc+hwaxa9pY7v8yUCxZ67nA5mOOxL+nI9zdt6WcIuR2m156wyy3ZUUuF/dhyMBe8+ji8HOLk+mcb/KGfoICirGgXx3a2vYzN/r8Jq1H/sEupd+tJWbvQYAdIObmVu16vND1SYcyFPVbcVYpq2hXE/oye9G0WBld2tIvffZqgDVrhduHw9C5U743WqpUSZ9/maRy8LzYmXET+fK5t4sEibUT6tm2EStWv2+zv++TQhybVwTtBo5nMM3rJEU1m3bSlG3UgS37y6urH3SqhUHCYy4vrL1szEweUul318uQQxVTwmckCoV5vF9+87xboPXrmj2vDjdzuD8zs+wo+oHlEDHTmfa57osbwuvFDqp8Gm6FS/2AH78e60+7ceDyylBNKqGrsVq29lh0qSUWiiIE8LwuMLiZDyuE1WNeGhbDmBIfj+1nilyX7RgXZkci6xwTkfrFabCrr40kwH/nOpdi0CFzpGOpFth7u7Bc4rLBBIYkQgU3Rpnt8Y+wAll0TCTTsbp3w5OFOBF519i4h+qtAf93nxuV4ZblVUWG4wyCMRTM3+T0EPVcUy/NTbbtHYcWH25BqrSeohyziRZ6qe1HNVj2qOoPmacdth6kmQfHX+LDd6hZvdM2wzA7WnSTAJrWyexeakH9A66rXZ/S/5Se86kxeh03ia3JHnWzZn2GKu7NlDiXTB4YTYAZ/G5oTGjRzUGVD08WwBdBRaObqLw72L553obg39wyIl2NjwpmtC0NrRriKjHwPP3Q2p3BGCzk79k/2OaodITB2yJLDCjTM4HRUMlyBACDDwPY3nnvz5z5k/NTwhhSKgwSBf13JTPT/Nrsk9JItf4ken2BOQ5AwvvDOagbQeWT/IYZfczXzp+K8lEA+xU43hetTOnqxloRvCyb1GCsPJX6up8Myw0LCJGjRp4j/zt7YEioCw1MDh5CHd1q02mm56klodgJvfkQG69W1us6HXVhhijvoNdtciyP7dXuZuHgzPy2VytZNOqR/XKrMpJDnz94aqvM8B3dGS3FLAGfYPDbB4OvhEd9OsdaDcA1WveO5yLOEYIBZdwxkT1t4OsIRUVThOsvVEb6RMmUDwuTe1Q7L15qR3louyB9M1xLBuFg7R119sRIGJoSNaPoNHouGAEm/vZJqqW8SyFBuAdbkb9ea0318cSj527S4RhQCFbbD79cYnf2klgl4dXcNQ9xplEjLKmRlijqgBlqe9p7h8zJ9SO41QU56ruzfrZ8BCdLsuPXE/huV4bwBfjAG0UpeJTFk9UWO3odxhIZ59MIFNxSxHeDAY4DQmoPj5w+Augp2HZeSlohyuopCe33QoeOjOodUCjEsxEk66miBGCkRCRYlyrbW/JVne9yc/zQ59R+nb85VZMTUyLF3EJrclD/yMmgHxUp6w8hTMcmAf7K89S//xcuYytPqwRvQZIIp7f+TIa7JoWl8GEyCcvYp2RCTuMDi64+2f9UfJFmkuN4ZE1EJ765zAex3RGKP4sSK5mr46k60TNLlyZgeZI6o3JAC+CKJGB0I8tcGP5+Gfmxmcw1okGNIJHF0NU6P67ZwWvXQM/ORjCVpQD5mBNeQSpN2dWIn+sMIAVPlrf/SC/aLaMvLQk8EVaI0p3ridTb3/mjuTM3pcHjQ14TPymSmQwm6zQjbdsf/9j/6/7Zaa71C6ED5lGo4naOzFSGX8IWExJFiCmvXUS/bUG+qMN53ueQYcGwKga/t5wr30ogqe91zGjThaOFmV+v9lIDeTLtlG9HEr1aycneKsmA2KyM6e0Ah2pJUe5qN98SOZUyX7E4grUvoWVjzZOPjx0ySvC5l4QOyTTxlqHRleJuD39fFrmM/iNgE0t2UWbat+br8L48xOYaeCWqLz/5PBT0JECnaNerzJ9lUJFZgBAar0273hlgTdeAlbBPIsUGAB6DHc96rwwQo6Do+Y6MaukfXUkpUQtGdyFzFRYm8cxC8bnLhs2cn98AytdvvjEKdGPkB+ETYOIHbwON+1kjR+0JUoVa5rmw173as+fhYpqYcs/4B1Sm8EbqQ6HG070rWM3+MhD/T8ayImvv2ol8T9BmEWAa/FutFLyuoImKVZgg1IM/tChHx64zaavi2DWPBXZuvoe2ByrDMyBGv0SKj3IDY1icET1cWcP1GgHrQJ3sDLmjexJy/hJF1P+0EgfMPQijayRSMiu9Moj3HSrzHa11P4aY5xZHaqKFs4LOU1bcwgX+1gSDAAzw0+KGZXLEAa9Kn5mzb+A+5Zl6kldKkmrs9H8BQnJYScJnvLQbDUKXXKf2V7LcHZ0Axdsb7hHtVkb7MCIPhCNXA7EzmHjZldoS3QsW6AbLRPHSkxJVwFziRpED/CgSvH+PVXDyzlGvzlgrEpX9uCJ+3fqbfU0d1YvuZDAgaWQnP16/zwumhynsaJ5k3iXoqFYUdn6GxdFsl0gBUGt/YGirEton/TzdegQCgEehN0GzLtjQbxI+k3GmsXwEJHViox53l+OfDRCRTt2A1XKK7A/2VF31BwBy/EJVEIVTUp1H+GOBqxUIH5RX9zI8mAa750okb8zpa1aRhhB7WCmPZ2Skh/i2MkDcG3zskOnWHBEfNWVQPlQEEmV3sECJIZVmflkwS/60Z09GY3zDo1KUFaCkL+/JFY3kpTUg6ivMeupgGvE78lXJGcK8V0412G/fDOfIFlwpGF+fl2dPjBqW5UklglCUU4I9RJE6fyq10d1MajaMEC3au62AIgroba6WEkcCLdeNRfOp/o2iyuFuRT9k3eHBgVUlZ3K6WZvnd+mslMaoem2qJzdkMOCIAfC5r3P04qXqQO8MGymx9jD6RSVeWPgNWMHm6SikXSwHhVTNOgRFafUoKhqt1SUX7LoGY3qPyf+faftsfqTdZGjqnfRHh/Rj9/0RlR8gg39mJf1IAHvs8ncPWhzCAn8VtlmN9oMn3D4bxUNDkLdC9gEQv3gq25uGLuBmTXIJyMRFRURr/1Rb4vS76bU6lHviRvBfFrMdAaM4TZaT+Ebg7BF4At9PfuVrqOUwD+NtZVS/iYMBz8HtOqyqOIe/sPbvq8JzKihxD5GTDk5eEcQIPONhoet//mVkSm9vKiNMkQ/Rl/7X+fA3bcO1e4HyU4xyfeTCpwSH+XNngyO/hPjpMbWaZzUgqL7BF6yqYDwym5zU65YiPRIOGLoLXKsfn2HROx29LnV+6KZCpVSrogHRA5kttGZ2vELRTNbhwIa8U6t9n/JoyEAccNnjGJfwhu80EPL4r5cO8HaP/v2cOFZAB0S9rEzVkuHX+04hJnvMMtWF4W2DZFRsXwMSRW0oCaLNInFyrWGUFpuh2gH+6DtMXDf4R05RKb86K67DFsK+m8ycNk65Ud2L0IgLiGgJssiQuhSp6RiS9QTZuh3bVv/LDZZrNhSqIWkWyZtmtzs/ZcHQ+Za/c8Ozzvgg0ttpXaa3Y7molOouB3Ir/Xd6VPGA+9phU/wW3b5rYzPyP3eoOLp598d+7UKgwF1DgwWL3PfaTBWgZvXfG9RCAnacNuOIMOl2vAD80agRcIQtS+HPILNeB8jXFvKiXzwaimfz/6tFgmOjfhp/DKNpXWIKGUvv3p+4V9skipP95rzkZ776haUa7zKOYWtGgYB4TIYAT6ywBT8BEwPmMrPfNlFZ/2z37SlZvhVm67tn7GhHAGSw0n0Stbjwnr1pblfSb7mU7Qss64gcf0B3+inpFIoOuHAeNOCbRb9wBnxTKwgfeTmFwNQhXqSTYmVW7b8ROcjsHZiPzdkjaE7obemIR2B0HcZMp1IxcLYNxvhN4Ueio6FVadBGqr8CcZysmgMx2OU4ld+3KLd/uV52hz9Db9SAm048dKurcAbF/ini/HfuSugjMF6/4Ue9PwH3nWOu+WZq8Fu0m24FK7Da6VGC9/dgg0lp4mDrmgXDpflkIZGAIxBu3aME/J1wLWsezOS6mzb6fRXMkndsfgLIrYXk00mnSL98oQIim0HP+FsZFdlvf5opyI5Q4BH/p+O7nqbkfO0sdAKqW6DQnhj03JE02rdc8oREmC9audSrd9g3ieFtOedVAhHd25Oow5AI8CisX8nds0mriqrJFDTy+h/yfjzEztrku96GRBH5ehXJEt5QXvF1enQMW9Hv7+lW7IsGWRDP9De+jgJNn4L8gSoNbkLwBLP72fDKxMek4AV4AIqgvh8w03tH9nI2EzI/YWN4iWrZs1YZj8wnoUBqbIT4GGJlf7J1YwCXTs7um84tK4MC3qZwiWZ+CzquPmr7Hl1wiAtSZunAaqvVJ2VSP7dMv11siFWZA91EgrZNbLkw9Vho8JsKLCvnlLsLM6zLDlutvAnr6HNIBNlpuDJXnRdueDns7HtQfbTdKfGJ/U41sRVNzBVgJfln2RTGQ97v2/3kjnUK+am0hsNsdWiy2NpDUKwQuJq7fUHCJmK+EIXGe4eqNJ42zoyBr212vfSY8ilCACkLyV3MZ3qdZj+snM/xxhKFkhuUFX0SUhdgEvc6Tc9zsu6I03Qvvx50ezKVRO1k+GW9V4e+WS+xzYDdGJCCHtr77q4q+VXXndSrY3J+J4pGNwPdH6fn6/Yy71q7uQ2AQKNF9cxk3bh3JqcLGt+G660+/kUqKMHiDYLCfvOjcsJwQ77tjAw+AycVecTnsnBCsgAqfD1quiPJrXNGlfaYvhln0lBDJSGowPehpdim9u/5D1xI7R1ssGWOyXNaiLnyVs7JzGKESw2HWXWidqx0KNnNwPIvaiZMyL3+/OeMIZ7Akw5YVjfWZWtB1+hSToBfljlPjVBgk97wfTlietDvy0zlfPEe66fjOV+KpD1G3aE/mCeevjO1SnKgt9cfMDYQXKZHdEDEkD2RmyL4xV/NKBqauPdMmyG3Ak2RbKjYwDuCDUdPYaEFQfUe+ReLDIPPoz/y7QxmNePYW6pVOjsbvtiSEsDONL12qCjdLzMP5MXOU/2ij/M6IcDiNeokSj/2EJwTgDKcVpxvD5v93bSowq8LwCIgxkhAsg4pLMla7MC9gwuvUXsX33/EPaMjV/O2o/rjtMkQ6TAEdqyUFoGZSGZpFBGNe50+GS35zZ08m94k2G+/wHSQQdaHzsttx4kwJMlNjzIsmvEZyAMCypX9ELn9x87N0K+S0pCBvRaI42j7LzosoqnECb75GrhfM0jNBNJQivwKHecxPTEpyeoPVKYpKDRLz7r8XgDv08/D4m7nU8FY0HLSYzmjyfhvUELrjAZTnVrJqZgj3Nrk2adoU2TU5auLPUmpujTYNUEHdUFwL9+E4lPziv1Qv/7o34rvDYoplzVXnA5CL8XegYB/vyXkLCvCfaci7Vr8fPTvul+DkR993pY8MzjjrbrcjhoGgEKFWtVTQIJOCj0TANkd5J6CVgC1GUwX9UD6PctrM0tYxmr+O36HOSfDnU1XE7PW2EuNDlDMqY5UVx6ZY6Pl8G3r8uC7W5JjjZG3HqkEx54KXfjPfbYyjibDf1UIQ9IaQ5HFa6GQ72s85qRkB1w6N9G5W094ZULV09iN+mkxNn/3Mcrq1To4mURCmjIXUuq1Modi808ceQBPhjY37e7bovmmMMuRzvygF5vYLaenNYvcvvaNK/9TUcXEY97UGYhGLxxb19NaKeczarr6rcaLlk9ahI+jh2gzTCo+cQ/iPc9bv/SoUuRA+tM7B0+YpA1C+zDGnwusNP1fX5B7BShjrokRuAWXgYrONxtsN+8XVbHb0BbE7fmyT0TFA1/XC9Ioiko512pgZA6odMgw5ooZQzukgTp2Uzr5MrPFrCJshDx6T0CCTKYoAZaBHqhtRAa2p04fGFcSb4Un62Jc86ZWQnO8B3uefP3SGjDNYi0JBF26lbks9Lldnh7blmm7bnzGOXMCe3EhOz8QzAFaqlZ5bqXZ/7tjeab4QS5H8WL9tvy0HTKZyfA6fu59jwtcGAnRiTZC7U7Qnv5qjY1yhK7X+nVQpYBZYXGyyAEZgjLBOtJj82Z96A/EaQ6+NtLjZo+fEayhcJ4jW3OUh4i7ppPriNu02ff0L7fSNIUfWGr9Nv5GrCEAOTKjcMDQiPgcZbIo/JfoaI4TOtfSdW0jvOvu1Ta0mMPkxbWRa3CYuD9Sp3Eg3gZum+u5IIV5IIs3gQZ8cjSLut4woP159CTJEm51e+2tt53yvO/0WCixQKRv/yeM2G8P4PP4oKQIaaEgPhV8Ra+vFfWqaclqF9F+F8Bi3xwORXhhrQPH3Ra2xUXGkRBMuticmRggy3tTxhmOCeqf61SCaYqz4ttZBikD16VR0603mVLvuTZ+1e97STsjeYX/lk+obS5UW36VWBIwda2T2ZxZ61tSLdjCERm2d0pRV86Fi9pfDMkoITcLN65PNRU+hQVYwDhAVx4bzCIan/ugqutXhcA6cPbYDsQQjZOTQJ2YM1BZcql3I3p3EKlDoolcY0N86bX8UAuBxJdxOKmmOY9vvNlcSwptI3vbyoWGcxQQ9tVivqzOjnciswCkgEigBnbwaoNmh9ya5Ts1rGykAa3LiyplVv8VZhrV9fabZWYggTSYE1pWpOCY4ssPNWuVVB+OWzvBUEYZF0WO9QXDm9TgHmmNmUew1Sn0Pn1AiNyvc9gO8Ar670zkQgwlv1YUi2ioZjucz9UmEZA/YA0/Njne5/4cT7sdcC8mgi8UEIAnkoVVL/RG+5zK6AKC1TBi7MdEw0Xo96BHjE+6BZi11Hzn0dv6POTjRzHFdgR0nCWhP80OqpelKXNDAx9/QljUBL0oqt6VhLZPmGN1lAhzAY6paHD5BREdn6fatJyVZfvhaB5TrxFSqsApBrUyQaAg/VHgCHCwqAwUclpUdh+Y7qfLwUGqJk4Kg/qL/qU4IO/zIo8Xjgtov5Ov7pRNzNYLvTzdbiNmwWkCV2BCqnZTprMc7gExTwk8UeKJILQKOMr8WGhnJTdmSHX31ul6Ga6EHJM9EaaiZ4tuTxw6CEVvCjvQfttKxCJZua/0KRuormLyWdxubUbmaHkxI0e0V8yX78IZxleW8+0lzpo4zlmQL50gYdTCmJRLPtk4LN7gnBjv4LvFrJ4B5VjhPgB1ZN/OHIqvmgA381BHQ5GN8awtQeBZO2MlSCMeGJkZhAICmMhnLBB+/OY4fxA8DqqiUFqY+tg0rQx8zLFwPjIAai7Vy2r36MXUjX+gYUXZ3ddC9czitY+xfvTMMWz6leI29EkLP2t3XYt1p4euPn0xO2VqKcqnAuwmQEDiDD04FZY+n/bISSeVaxKydQ+n277zkgbtnN2oPKDNApnwyyO8/s5d44lLTAl3zr5T38ZetP/WP2ZHh6IejqKBR9sXt9ob2AGwYGmv76yxuXkp7IheTqrlEKQmj+eJAeNSKFjAc9LX9Hu8fzY8f0+M9ZiRll1gK+QBfMXYBfb1+87N3fAfIIUXd+acRZwg0hGk/IJu2Chi4EgJC5PLxwE1+2xHgJpd19Z5Z+ncoHPl2wokOL/Eopl0mOU7kiOLvKdINVzp6okHjIXoUCon+kj3nvwhkUtAf8MNoawqTCfAO9S5S2YWhMZUNKmqWGSLyHH3DZ3RRsCruO2Kq2TGcDiIDBRwQ0rGH8j8egTjE8UwpHhnKxbPdSc6TuBOe/x3Ej2/yG6IJQzUXdDvSpviupz4H5/RLz4Y5elBkNrWdDEMMtaOex7Y1YbGwBxyYJ2owLY+PTF7OmxzoBqPJq+SxzB/VykUQTkAU29o1lw9maZ9bWmJyaovylJ9TDwu3kO/sotgR/6Ixu8CZA1S2r3UTGMT1GciG2rWHDOX0LtfGQGF5bN6XK+dvM3JdWDyNcT+iWcYSKsuMSq+i8Jl/KKU25Bt4L0tVog76S6uxMY2dtFng1uugS5lFWXVbLM0JmoYErNgNtP+/fpNtFn5ZF8PL/9EElnTO8Wz73xThh094kZQ9QTNqdXg9Z99gys5v33Ji6tueg5464L1DxzN7bdAIIHeRocuQjfUSBLhpMUiDmlp408c9esUp97h+b09ezSiwvEiSa+4Ag/pORoF7l8h7ZVNz8StD81+BlLDUnl0PVUH0C68aU9EuOHBr25CvG4HzP8y+9fvswvXnu4bVlhHoHv9KTlbwW3TZ0tlRfcj+42d3fWeA9/0mnnUvM8nUmbIbp79JyjeqyVLZuO9POTRAj+kUopreWx5zx532/8H6KkqfqAlYd9Eh+eXYJ9KQaeCmZYht3/j/DPfSyGLeEcZvDaP72sV6AXmSwue0yLAd8lDpvjXsYULqfd4axoiVFyiJNhyDI3xOkdVjjuJ1e85ES50eNTZbhIKcVO9HwLs6tfb1BY5TAYJk1crNUgup2OuWpchjajACxcDxA7PJ+iy+ZY27+mqwaOoear7fu9X+8QdDp2xxg0wMW5hza6oemctNngkVd8gyiYWFoFNVxRLB8gVQyE2L8IIpBJSft7C6qZUPWLDvPl4Sxxhn6oJToJTbhYNdSYJmR19599Z52225rHFG08CmORVPk3lWMJj3HQAlkiJyPNR953RhB1Me9NiIs5/f4ffcJTmzs7NHVCYMt0zKL3dmhBbxCSuPPxq9ZCc7kUIJhj2+mbF/V4xEkQrX51/eejKUWll+/HIs168d2OExsGbhm0uTkg1vg8bZUUNWblSm5kja7Ac0sj/nlp/4OkaBF/5P7YAZbEK//brI+scWslVUyaSJJPFkvaEfmzOIwZ1hPVBc4vPojXcDR7WPkdSXrxFbinktr+pDlF2lD2qyiRM0oA39v4MCcJ4u4mhHG85xjwG0AzJEO77e/Ev37KMjaVmY6fnFACRp9ZeJ+ALEPzNTDfK/5gtxpNtRV1/VTDE5FZvnCkMwbiJe7rWqlO09YqHaiRGHeKjF4B+Drc7IGUH3He7Afj5d7V8P014TbTsxHOROVROAaGmmQCfGIipyUUmXx6QZ26id/jRG3rz85MR9b7zQ7qu1KF5t7qptsRYPgF2NBK1H6cjGO2kMCZuN3YTkXby47rRz7wPLsQO+ja19kkVPsl6pHmbR7X7v3t/U5uX/m7Fgg0gQXFQRfOfoazYlU7e2yf4p4hYF0HfXFYlAzEMm0iQBmiJhLrtt2zhOmLNe42henMFGz3IgNsWfPHcL2yfdUnqc1ObmB1N4D5BCI767UaJj6++6vUWHDZNQl30berVOjYGKuI+ahdZdU2a1CPmIJ5kDdkO5isgaXzigFeFLycx/JpLJkr9eoKsxVfg2LlX4GM0ZFdSZAMiLKMCDM3zhd5ciBLHfrAzTahXXvEhPXuz0gE5Uq5bHoVKW5d+hStwFip+SebMA6UenYFa+i58KfCtHl2u8yKNiVSRYPMZiWY0xUDzKYjQyAMdkcOPs11L3AKsdXsW2yIvYJhDnciinjKcB4Dc0z2BQd+5vUm40KF4v4xYzDXtcfMtNAbkNqpy/3PZUcWfgGk9zlC7b7by/IJBKktkY9csFHspd4uvIOVssa0Wsw31+ecS9AunRxH/8SFtEhEpBSKsa+LulO4CGFOFhUFmcyec2Gp4kr9KZaIJVWjDDdhzFYjJLIWT5luMf8vZZeHLwROIAbS2Atge7AkFYjOpOtAw7stuKD4iHq8AsKo/2PL9pdeDAj4D2ELK9pv8UrlKg4KnHdwx9I24ZpGajut8zcpDKEvgQoXRsyPyvPSHKZApgNbtF8+A/4ZSO05FB2KFcNOhQjXU3/zUOH/MaZtiYOVCNwd2Y9UKk5fcxHXBH7XYQzlhq9yc+k+T4pmQB9tGKEuX6KWrFF+ft5WEXkvoP5T+L36/AoHhiAWQK9Lsyi0dJDYn4Ly758uqdWZEozT4R+QmY+sDigYo0xF0bGjmxhVdcFG2m7KgKF4LV6mKEO5KYQQRR5ARybGTgdwl2U/2adOnJCluLpbCDtf9yiJT16vLW6J95ViVbEnGr0vkT8Z+GR6/oKGCZnhFOeMSgS2qhd96iHoPx0gWh7EElF8DivXUWpNBO1uQlxoUU7wygkXWHXq4H0dyn4gjo9DO9q6BG8uQs8ZWSAzZneryJldnfgMtZhPz7BDrXh9A+Y+L1oQh/cjzQ9avJpbOPrSQKHa9/vSYbYvImEYqmzudqsSdaUB762auDtR2ZOhqDZCSxEXVF1LUNrnrQj8ac0+0LaKhb4KlMa5ExC1U2wJ9iHRuARltIi26aNJm8/3dBSPkkP/asY142PcYb1jJ7/zZ83VONGIwF+gArtRrJfJlMA+ZIfW4LRRWN+Gc5V/DcGlsxN3fPxxBbNr+JDaZcDt1UTesjfV+YqDwf2vwYBtsM2MJk84MXpbKvxQLcgVNhueMsDlewpE+x7o5+nPmaUgASgCwf1hljRJWHX4xhL+gRfkG844L4t+GMVLJ8XUWTT6a7OZcIs7ZOTvE15wfclPTxd1oZJ4kkJaV5aP/kxaKnxzznv57twRjehEEGdEbqlgfGtN3Vk4scEF+QaM7Imwp4GxlaP3e686k32YXAlztWgFA77X4cfecQMmOWBiY1U9P3eWGmxzvcFrRPsZ4wUC9TYLNcFsHHYNwpXJMH86ctcs3mP8X8hcTH/PIoYquVqPzhbmAP+nBYDisofnkaduBbu3YWlK7Aq6E+CJPWdRefvFMY7mI7+7Zyl12Fjc0Mh496fpElaMKjn4dw5iInEqD44R8a0H4lW7ia4GpsSo+f/xw4HPSIFNuJPTI/7je7otcc94A27FyuD3+sGASXuxf1zftUeuLMXOco13GiXItvLdaXXuqkkAoIC52RR8kEBv+xzX4HmXfQdPC6wsDPiao5rtXPd4c/r4BMPlyzkWc5FmYH7/Ix2vvJSfHVZuekjrIl49yyDkSMx8cnL9oJs2WSiFXRx5M/Vn6XmUAFGUU+7SZM80a3/1xE0L3qDgq0cb/rm+CSHRIq7Dasdgn35NnV1xlttfBc1sLy5GHkhnw58FlCmW8K3MEz7zTLP7BDHFeHvpTFAKncPXvI4gm5vwTH789gOFQL4CGb0VQGHF+3a9VCN6YkGjJmtsWaum0DDE2VIuvaB8C1la7GYrOs/dI8SY5yzsWCvXco/943D7Hquqv5JilHgjF5Q8oYP366Kifzs9fY5iYA22hnAMscT4RfHIIpGWhgE/BuxqFCAHMJvqK7KxKw6wF1NtLOl14UCNYf24iuvB1Zp9dEBfsQfVmtSgWL1JmZWFiWMRTnsVU1npG056+qWmZZK5AkNC3IxVhnS09NhnO56HHzFO0mgHWVh3e/NyX5xU9x9JIK46N4WarYk3FHeT9KMxD2E8vFq6eyMl0QDgdWn6GfIFrqlPWH1oy9oZJIjvGWw1mU9AZ6Z55mDsd0FQnJHyXRDGEdZbXFOVuEVY4QBx3QMcTxM4B09WhjS5JWiU8b+jVkWemNM5ivEfjRQLF4okyYjoe4ZT9j1P55I9CiEfBnfcr5lCeFtcO41SzWvAXCUL4ezn05le4UQPs4YisclIO9z8f/afrezpAlgRCzjozT+I5srCfQReDDdbOyKjUPMc7t6aTo1oUG5vkXWFpzSeGfie0Unk/1EvF5B2GUnia/tD5MVYmUyz5FOZJr3NcqxBoXNXM5JzVU9WZM5XCek5zThGepVOOAr9j+nqMvxRB0AZvDqnK5uZGIpBUjX2DYoSw5ZeBbeHg6w1n5WvBzRs9jKVztFKiT6q8H9oDICQ2jzBoa2XSErlPdqUqJOZwCcnuRFn40JWGy9m8fgUzzENFpgmHhJFRv1wkfikHChxhxEVGGKYj0WhHMorxgjoiSed0wlnWNYcwdA+Yf2xDlxwcWZZNXE+3CGev9WsZDgcrQr2ds/xmuGB9BAB5IDKBvBAmzC6rbXZ4qBGF/Vyd+ORMsyWr5gcn30XTrzygFqLagGkzrKMaVK9m0P+LLraoEuVLRAJtf9YxpOCIGC5x9z2UcnUZafYQice3WssWSxr9VYAZu35fMgB7LKr6MwOHmVHHcHe90/LV3RxgAGGF+DhW5GjrynxyP8GGPzfmt0l+IH5+OJ/HpruRGmciLn9HTEA1+oM0C1ijOoDohe+xo5gw4BBIeejbEOdJjgIaxkaug/AS4KXx4MZBXVRidHS65vAgQhiBddIpIznU/4B8su/2Q3KR8vFsRRvzO4QE/64Yfb6SZijNmNUCfkhaNadOvHkAMFLiJXXGb6y04xvcYuAAzM1m4hDawM7f9CD972jENCWf2nDDSDEIb7mg3WyeYyfkPy2JhUpTTMWiVm09YQi5xbURu3zzxRsHfnd7Ge/K4iWvvVDTmj2laPSjSKl33ppTVPQgJXgAIRc1l4vSOBOn1l8oiLXSkoBwW+ALaDK4Nsw26qZb7Au4mo1aa3VoMazGcAo7hSFpXHCc2XLllt8j+tlF2wXRYsCKmXDZE/9TQn0brhSdcMJ8Zy/PToNhUsltAL+vCbOwkI9Cg8vZk4lJ/g4izFRWyM/4oeHCi5dtFJt/2ClVv6BWFVDaY7z1Bkz52smMZn2pmsGzuPvUiPpdvWMgW4sJ8P3eSvkgBn7HjK1xKBVyZMVuwi18xkhVDh9FcePqNJz9NxioIePTaQLR/CJVPa9vP0NiDM5iB9Bi7rNAGS46ytytrEXRMOeWp6MlKW2eaurzt1ZhpHrXE5CSEGfQtu438vs2s+27oZvr1WxNKME4BUeP1YK1fqozf/qwspCjAVokzssuF9fx4KQ5PkUEpK7Vo2W06Xu+EYoQfld5eLN2xa0BRmIU0G8g7uRfOnZRQuG1mjxzZ8S4Xwqu1UrhZV1GxaiGotOTzSrLSt+UIFv6HKYmBkcq0Y8FGKERa2Kp9ZRtvcepH98zKahpQ3Gjdn6kk0y50VF5tCCD6YQIOXEB/cF6BFsCnizqvU2+4RS4/WreuYw0kQoa5XsfQPTEpr6Gp+GOlVk0rosLTdMlYvDG+YbeDe/GHOC4pufADJLVpp8GLN20e9VeNk3XpwgxXc7HRHIaDqY/m3YdE1stFI6B3uoBpXC0ygA2Hvju05l9T9Cu/e51hrIhot0xgEEVOrsYuGOIvS7lsdPIz2nC6Kz1rTlptHQ/qPWIx4H3IlWe89pieWhadZMnk8RZk8jbEwawJ98sciWSGHDX17kGxGljxPzBHwzYONZNh0eD+/ZavgVGnf81bvTzxoH6qapDYmiWoi0Dgac7EEJfqL5o4S8f3OvzK143Cj6gN/oJ5vv+NCU6AYZIjJRee3wuKmbwb9AZKxw+sbCNnHcQZ6AYCctrnuwwEb0dVqqrvFDumWQN/0iwSc/rMir83asczTc9Hb9uYs3h+WL4ym69wabuRTLfT38WKbYXYfuXdvbv+bU0u5wQZf38D8cB3aRWfG8EDCHI3Y511FUO2YpHgEufM+8lD992PgsWaNG53GpMbshv3qYdIngK4QfyIy3UN5y763KT4L2ts+u7PDBoo9swC2GQRQSidiIOKyuFcBLz2XgfPOwopxMNB5ZgFHIiLxUZ+qNGLVwQ6bPAH4Rr1X8gojxap2BtUmKbXgA/4Gv4VuCplQnxFCH1vBC6S8ki/F6Opn3wWEMvHQYZleoycDdask5e9CMVHhGmIAuS0G4T1E89Q==" title="Mekko Graphics Chart">
            <a:extLst>
              <a:ext uri="{FF2B5EF4-FFF2-40B4-BE49-F238E27FC236}">
                <a16:creationId xmlns:a16="http://schemas.microsoft.com/office/drawing/2014/main" id="{4F46BDC2-C31D-AB1F-B4E0-23EAD21C40B0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340691" y="1252700"/>
            <a:ext cx="11510618" cy="5122665"/>
          </a:xfrm>
          <a:prstGeom prst="rect">
            <a:avLst/>
          </a:prstGeom>
          <a:blipFill>
            <a:blip r:embed="rId9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3167" tIns="33167" rIns="33167" bIns="33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59">
              <a:solidFill>
                <a:schemeClr val="tx1"/>
              </a:solidFill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7B13F259-3B5E-76B8-7659-032EF56A4D9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29676"/>
          <a:stretch/>
        </p:blipFill>
        <p:spPr>
          <a:xfrm>
            <a:off x="3878413" y="1674688"/>
            <a:ext cx="4229690" cy="154086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4A45AE9-7CA0-7AC4-F65A-FD59980F8CE9}"/>
              </a:ext>
            </a:extLst>
          </p:cNvPr>
          <p:cNvSpPr/>
          <p:nvPr/>
        </p:nvSpPr>
        <p:spPr bwMode="gray">
          <a:xfrm>
            <a:off x="9864524" y="1431196"/>
            <a:ext cx="2003902" cy="67955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00">
                <a:solidFill>
                  <a:schemeClr val="tx1"/>
                </a:solidFill>
              </a:rPr>
              <a:t>BCN: Reported salaries for marketing roles are low N (&lt;3) across players and hence have been excluded from the analysi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5E8B563-7911-9CB9-BFF3-0DF90271FFCC}"/>
              </a:ext>
            </a:extLst>
          </p:cNvPr>
          <p:cNvSpPr/>
          <p:nvPr/>
        </p:nvSpPr>
        <p:spPr bwMode="gray">
          <a:xfrm>
            <a:off x="8717335" y="5609630"/>
            <a:ext cx="847017" cy="14446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i="1">
                <a:solidFill>
                  <a:schemeClr val="tx1"/>
                </a:solidFill>
              </a:rPr>
              <a:t>Low N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B5BCEFDC-149A-69F0-1BDC-8180A3F19892}"/>
              </a:ext>
            </a:extLst>
          </p:cNvPr>
          <p:cNvSpPr/>
          <p:nvPr/>
        </p:nvSpPr>
        <p:spPr bwMode="gray">
          <a:xfrm>
            <a:off x="6781895" y="5605300"/>
            <a:ext cx="434654" cy="14446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i="1">
                <a:solidFill>
                  <a:schemeClr val="tx1"/>
                </a:solidFill>
              </a:rPr>
              <a:t>Low N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C5D6BFB-3A39-54DC-B23A-7F1AC173267F}"/>
              </a:ext>
            </a:extLst>
          </p:cNvPr>
          <p:cNvSpPr/>
          <p:nvPr/>
        </p:nvSpPr>
        <p:spPr bwMode="gray">
          <a:xfrm>
            <a:off x="5878673" y="5605300"/>
            <a:ext cx="434654" cy="14446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i="1">
                <a:solidFill>
                  <a:schemeClr val="tx1"/>
                </a:solidFill>
              </a:rPr>
              <a:t>Low N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9D10823-5105-83C8-4B84-23DE0F14AC12}"/>
              </a:ext>
            </a:extLst>
          </p:cNvPr>
          <p:cNvSpPr/>
          <p:nvPr/>
        </p:nvSpPr>
        <p:spPr bwMode="gray">
          <a:xfrm>
            <a:off x="2642944" y="5597279"/>
            <a:ext cx="434654" cy="14446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800" i="1">
                <a:solidFill>
                  <a:schemeClr val="tx1"/>
                </a:solidFill>
              </a:rPr>
              <a:t>Low 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02951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Boston"/>
  <p:tag name="MEKKOFORMATS" val="&lt;MekkoFormats&gt;&lt;NumberFormat DecimalSeparator=&quot;.&quot; ThousandSeparator=&quot;,&quot; NegativeNumberFormat=&quot;1&quot; /&gt;&lt;Font&gt;&lt;Output_Font_Name Default=&quot;Arial&quot; UsePPTTheme=&quot;True&quot; /&gt;&lt;/Font&gt;&lt;DateFormat CultureID=&quot;1033&quot; FormatString=&quot;M/d/yyyy&quot; /&gt;&lt;/MekkoFormats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4"/>
  <p:tag name="BTFPLAYOUTENAB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4"/>
  <p:tag name="BTFPLAYOUTENAB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4"/>
  <p:tag name="BTFPLAYOUTENAB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8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4"/>
  <p:tag name="BTFPLAYOUTENAB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8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4"/>
  <p:tag name="BTFPLAYOUTENAB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4"/>
  <p:tag name="BTFPLAYOUTENAB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aYhHdubK/b9WYMbiqTQFZNRdTaHJ1Coz+gznC5J29/l+uni9WCTqRMIgVGBy5FSCqTCP+Vdrf4pg20L7fH6DBLCUQPEirnQtbpBHNoYBczTAjyI+Q8sdgREG8v3HKj7eJNBIgJSMWMn0emcwEVHj1u6frAMlnit+99IngQn8QIep/Qhr8jUi1LO+/o87oAKNdTM6HxTKJKukgEon8U9FN9MjiMGwBafZuJU+WqCFQVdev7ARK70uXYwiD9qBOT2xEJ53xs00Tf/E5haV1DY5Jejc+G8rXeT0UMHAoqTZdF5PTimqNMQ/u4r2K2rZiVAy65rGTsAipTXkzOj+LqzfpFyxzuHfdAgpd5blrULJEbbEUkHY/aRNzy0ScR4x1wCG05M93ZOTExiiiDmAyvMK77/QuG5uUy7T/axrPGy5aOzSjt/Od8YhRh9/h4xlR7pSYkA5UbwqjOEY42rP6UnEpny8fZwfUImowdPVKFQu+Z55llCHH3t9qVsRVm5HhgwgejJocYMqKVvUvmHUIdzXswkDlZUHF/jOSqzeJkdSvz/0UogAPn3bk1miWTweCBRvjVFR/r4nH0N8/gfbmDYROK1hHe+Axzbnq3eaIVH7nVW1PHsVEB72ddCIRcWY2qk9SyrdIthBIr9/b62wskZHk8VGE4C3SFLJ59Lynmmdx5QETRWhTsCD1XN4fLpAtTwwJYbS8y36iqQO1yXIK47LrvOmit6FRljydblwKihN+VAV8goHy2l4PsIyqS5+vL0YZ8mxpFeTNqyMgEmjBT0kchX67H3/TWWG2N5MeUhvVbqcgMiMZWObBx74Kz49egbcPB1kktqjzzojU4d5HItd55dnw6D+ZcDiEUvzbECIWfsi60Wx4yoYoi9gXShUrSRl7mi26F7EwN71/LqSSmloSvcRo9xCcLyeuBPWF5vCGSNPk/d3scE46s08P6Uz96vyf+QVPORPPUh+Jo6Vr84WcSiLfsrRJUsiSkwsKv+5qyXxyW1RBq11nX+lAV9/jKM1QzXsRvfzruBMFmWwQ7OER28OWJIUvw8sxA2J12ghTRdiqDUm687gwLKbaQLDvCwYzecLMigKgcWGJ1+zlivvvPy4jfK85BnQLwUzWSriXTOzImN5cuadQyj5Bfij5/mMNfGxYlzHG98cefCgoW8QUM6wil6FJPxWbHX28kipeQdgmWKZGhLHp4tpxxL6d1pd0sAfeFisqaUF1QDL/pdFKePvA98liYQE35n8tJ47oMOaS/qAcWTCcmDynXkj9COGdqMbOcjoeHSc2FQQkYbazQJKE2KuCXkg3QsppvCQrs3lXmoAyuTLY7bVlixrB9ytvjN5m0k7eFD5ZmoCZ/kfvervGlPzr/wBX+gC/Is3mtgFTQ9Ljx3QuYUcgvBb9kfUgPfx7txLmLvd4xNGZZE+v10bjNtGTIJB7roW/zp6HcKPZvCxpuje0uky5vJeHGkbiMOMFzNfBsBgKeZ89vhrgOjpj9Hk8KC4m5qPtWDQ4egLwK6OjIqUB5VqPhTyNgZqOi7aiZcgMyi5sGMqAwKUmHXrFilKVFKovqh5Wyx7Vwao+QE2tD1DeXsfnoHR2LWB//UDoky9Azr09e+D9Luk96638rHAqaTX9iQK62j5FtRVW1OvgxqWLHivHq15F2d4rUb6L4IKOmlFKv8GYP22wtLVioEnI3oSXDCRLEqwMSWx0FU90YcpuoyVnZ6O2sGpKK92t59YbZOQwgHoItHT4OjayTO4Ky5m0K31+MGja+E+1pfYQG/8dsYKyed8wEkSKnFSEcPxD8iNTJ09MJnA0U88YqF24pmWpbHPJ4lsE0zAPjh8NgHbdkcZLM7aOkucAcGaf3dhsfMYSqdjJeTk8mz4z0kKXzz6mc6Ib7h05G8xee627x127ehIduC15ZlEGNkU+xmGihRGvU10o46eJEhsY/f6Usq0ryzTXuXWNVnUpmPw8+aKrJe14s0BAJDqRONxQaxGkjx7qqYiUAQ9Z3D5WTfFHDR6l5OP9I4kZKBUf/1JIj4zVCIGzZh0hndvZIFiBOuaOwUMWun2T+m67c34A1H1A+gKen+u0jlJaIRaY4Q4g5D5gJ4xe2BT9p7PxqzYcsjvxwFHRHdwDURa65adoJUjEth96s4QdBz8gHZIIipK4D4e4t+jY+xDQ23B0vzEK4Hocx7mxQjQIpI2EaVkvR7Y8EpOS/wAdgOKds1hDddziIV/Cv8lKDaNJgwmvyky6ulCzSIqhu6qkUwaI7odvr5ZVZVL1O9fk1yVYKRS6wu16lzpp30V3nVvYj3rH7Bo6yXEDPgW9KZh/vSaGr5TctNdoOAa+8OgTN9iCBMB6+NPUnYUu0SWXpQXKyIH8BX/ft8zBiwd22FrVHFuQQgD+ZCM2m1akvG9tfMTEpMyupgDhAInkrCL6gk+nBm+smGuRwV9R2Vwu9c52s7iHX9oR8rUqVckE2VTL3VZj6tt5P06U/znq4GfwBsaZ1FI6a961VUOlx+1XLTQItyTpzBjaykX4HcbumL4C8kCchhIxBagfrC9LuojFKXeRyujd/ZXd3NHwVkoCiQBR9OfGmrcq407yRpvWhc7uOJH6gtD+gQjkW7QeZ9vDL5dOX7zIm0picqi5gd0jZUb+UQrVU8IZdzYJhUK87yVbNGtG2NtCs7EwSrOWhOLay+TiX9gw35KC8NiElQZR1yjNatwgC/ic4OFBaaTnMvF3hkfSY8djz4beTJPxopgge6K/nDop+t9W2zi5jDSrmZaoxFpJUb3AcS3BQ/tj7spKtRln2WPc/evGME9C5sYX1ythTVAcb5h4GjzXCdecR7YcxSDA8z1oNsv7u7BtPI1tRp1FgJMylQTa1F9p5eivrsp2Q0iI3PuUO1luermgZzgo0b/IO3SICpcXv9mKPvZJQJeIR7a6g1xXlMyWgvpxrLkc0a9V69BS5Oeg9j2v48qt7B6Fic6+DbfbRIYgTGJxRacPRcEddN7Glkr+xRGaHoC2q2BhoNThZUooWTELXOuGuPY5D74nakG4T2B0pOu6w6ntVF/+fmxL67vqBciR9iM4gxLlNukF2RM5xQ+5Kpb5y/RPgoonvPVrifDfJENzbyhmjNx94/+laE2FkT2vcg5EV4apo6VwnM6/KS6YinFfXsBJYBAlitceL0E13YzCxav6t3/3m6eUbMhoU+5PFfYoCIt9iXdF0oeBDRNHXrMsxHr2ggRcHqZ5qb2PP4hvAnAinaRB54sbO+jdW9IRP/nDehoOe8DZ2aVc0OFz5htz1HN4A+Fc9JeBaJP0zdyffr9ang5BXKDdkXE2vCIDDfZP950MZzS5UXXbD4/vyT0fBgAHK6chfY7DJdtuOFKfpEUazQPDtnSHFipvKfJK0Cpr0G/yHmjmPxBsdTry2JB8SRBxUr+ZunfFDzH+ukqFVYxRgdutCYu91Ha6i619m+kINmaQC4IEPjKsBoxSvVK8azIo14DKu7buHn/uZUCpsDEJCMRGMdJm0FrTR4VtdhNumYZFyUfhJiE2YtlGscuCGF+KqS+PtxxRFDXE/1DDyRSpBdGhvK07TRyxs9sl9/uIjCW6ySa+TcGdPHSsYp2LVlsaPblmD1Gd7H0oJDLQHbIxsZakHs9fP4avbCF3QiDTuAjEV/HsS/8htnJ04d5Rzpk+ph/CTiRbAk2jq1iFFY33E1iYfrgxJET2BF4soiWTtyvrfdQ8p+nUGjVtgdelhW4/rfTSV3TfrxBEd+o6YZJMumZfDv51eYHvgiTnQ8zDefH2RMgz9sd+PMgyjMZFj3EXVS05LWnP5rTrsCPBtO/6mqxEFw0JzmU3U8r184y3TUdWkWdVMbM009ha6Flc/0AxWP4837Xn1DJgHhZlQsnN6HCetyfvzr5dtcN+59TD6hglcvK9p/S/R1UwByh9xhX1C8kFkxkdYeYjoLd2KCLp2iwAYJC2opWqI3TRgIm5poa6cQqiiIVwiwnhZ+5q1wEM0dh1/lkJqvJ+owrumICJnhPD5OzbKRvBT4fekb90oKkw1B0hgsgyeqtYz1FKd3JbVFm1ixu83J9ZQ/jPCh7SYF5SQfwZLePcZhwzVSQDe9blkhccAfF+BdxXxH84ZYa5BQucVF0rS9mekTzLFnNQVaHeFUrSdZ8MsZdmrZLihNb6TxMO4okcPCoNt/qP9qkN96FMzadb0+iAIe23KufKIhAc2GBNMUDbvCw7GRmLvISpFKvua7PB/hFlkP9uIhZnHWgXxn3Gx/565LybjG7uDWr5wJg/rziKUt7HYAMuv4LIfWB9wPl3QM3lCIojrOWpj6o/p/Fv33/1SRf5b83oACXI5l5ewqeKFefrfE5rqvuuj65lKNWLhAf+OUhnBYqHhsCd6mR5YzAJV6yduxmyhrrBgVyE2k4qTucdj/keSuyKpzdSwRppdbqc6rJnmG1uS6zn2CqY6fWgC7smC8X6pHuvHSd+3u+EDmgu4F2rNYmC9ZC5p8w9Nan7vkMygKANGTqphxkAdaM3b6bOv5vdB9Mpgw6ZplL281b9L3kdkxQ4bDUKUAYsM6rYmU+IZD4uH0eaqG7Y0lnxIcW7nvzdmXCJ3x1XkpOFAxqOCcMp+sOfxnW9124KbPn5fD7H8lovULxMCX1nDy+mD2Vvghjh/M6RGqh5gIWNfVGEUEvvbi6PERoVIf8PwtpKKTibrGaGbtT7GIIxAByw1MeshcgSuCUkkRwvJP2RrK1TwPK+LRiqZ1AxS37Vt7TF/U/fy1cdad8Hd2DUx7qkNnKhHEehwpnKlpDe3YOBq+AiJe/jCfkM84kl2F0qLTDMVFbaF3U6T77xi0eLqYOhMrSMQQfqotKnd9r5T/xsRuhzRGCUy6CJCUM+2XD0bGHf/8W7URB19SpJaSUi49o7HaJ2PDHpEfB3bPWOj6Lt8IxxHFEwI+TeKVxZv8M/fKAHbZpfOso2Sklv+eCkYcwIZDYgCpURBLtEJCBW5K89Kd+lGQquAx2VtUcqwdNIfq2rB/LNI5N4I8s0lo3drsBytXdCkVOERtXReyvtsV4+HCvLaZAqr8+WgBUncEUHqztw86XByOum0rv19FIw2kVltMj0PLIu0AnbC8sANbEOY5cBNfpzHEG8h/tts/zt7h4SuBEguFyZkZ7Qj5tvUqJTpq7BjMlHIfL2Zj92kljicHwkYfDnCeF2fuoL4aFgEXrpma7dVisbveiJlWf0thsmi+ILzApgYPKPMdMqint3nPQdjKyJvruCjut54mHsRpzDRnFuG6rpEXXkWMML4Vb+HGDw9s6YhSmRD88Ksz6RAVBFA/iglGYmsypcB37mjtWvxh5uSch+hWBoiYZ57HTd5I9H/FFUfTBbHILXAvI1xKDyUYztq9fyyAPSzZq23/FnpTJXVELI5CVJKtCYTq3vRdNGVs19cuRtYMbwV4bKh0nR/plO88p59Zalgg7uDLPcoPH111b1UiQoCW891ppfdK0QVdEN2P/q87Het5ECM26TmEuL+D4sVKSs7VHEHr4F6LJK3UqAKFhX4yxpB8ISUwH1RW44Azg8gIEZ9XeMdXVT7fKStdfyGrQp7eiv6s4aeIcPNfuE6s2/EdaE77yF1O39SZsAtZz5UukMMMUZ+OwYyrEjO1LrweuNSH7Yc5+PSnQ096j+TtSac7edVHjxaFeWX6yDv51zuf17p6X6Yd1UO7DDSbpvbWGXLJU2tS6hzckTeAjpqxAJMq92JizgvVx/stvqmxWxd6qp6CrISzcgqcWnLVp6Pz8Xe9X/gyJhvwuCOIBgqPtjk8Ejbu0nBLY1ss3z2k9ZyMqxuqsAQd6xy7rqHZfUVgZ3Tga94rRxX+N3nDmOr6f2ZnSoTyV1v9rgUh9tM2GMP+D7WJm3oct1xZGjiU5BcxcEiWGghBYs10PH4yEKF8dy5yJKAe+XqMTT7EawcGdX8SWgXTZCEPmCZZCjWjpwmhI1T0APV27juRnHfResyGWaZxQS3OBYIOm0PED42t5XTuROgf5yBufXRC/4rgaI8LsqGl8ZstMDNLKc1kknkTvjbJUzv/QAhWqwlY5AT0Vzzq/K3MdfRcIdDNFXpwpdtHkBFARYFoKY8kxOs+k+N+PkC1OWdnkmSpMZm2axZyVZSWW2v13bRvcRpsu8AeK36QhCUyL8KqYc3i6omSxuOf288RA0txsvhwFdUcWcSJwLMtcMeBbC3D7KCJPmAMOd7CGlz8727/xZRPnvctiGPQ8+038szkpQCzVhZVraNjz8i3YVKJPpI6rhzgVG9a73VzLX8LCqnO0gE7I3b4ylAZ8N2U3Noygnxigw5xg6OU8W4pQsFAHdvGOaNy7NeYkYYYv+5Di1jgobycUr63l3tKkHixq7SF6zT6rQdgbVcmgNMFqJXFuQsTsyawNiwJOu4kgiFZUUU9Q5MCqr3LFLLsOYborvOe476AIlS6cbB+svasQfaSVGA1PHx6c0IreBOzmXL+we06TkxLe5UIMxbA6xDG8J9lCsuY7PvGjmRFcV2TI2PYigqCrHLPKq747eBE0cvzHNvpAp1aye4NZUaZTzd9I0n9hSpvrYSiwEVUjY4UUlzfvjfbrDd8ixBl4QkcvclGPmaGK3illuPW0i82Kfk6lUj6T3sHCZjUlg9VkysOb9zZQY10X/hQXbIUIuFiS/N3xh+2eKV2jJKcRLTN9DUYzIiZA3w0XPplg5T4jxCijX7x9XwbdlmcnhpMNNBfcPlArwnkEdfYCF56lx/0OirfPU/o7UYlLiumfz8EhVQy3nYb4Ye8jJkqs8PVw9XQHbQpyVrqQxpSkcCZvO0rV26ihetE3DkG3zk2jjlb3yG9iMh/LDZNuNVuCI5379ZMfzSCaGbSnxsXD8et6hZti81zTJisVZ5RX1Y77DI9N8L6wQEzkPm+gnYEliuOy1bqZ581B5UvjPQHVXm+bWEphCytXnVFhD/f43xjfkmzdXT2TqH6pyNd0Ay5bNWq0pH8JA2XZorOCaqiozBoIEaW6vrpVqtwbFGicsqE2LoWQL/WXf+h9xuvwzFPDgrDirq2h9HDSumv9qanUr0i5j8pLz3UFJjrj2JX2/1mzA40koxxa/vPIm9M+cxGXDZErhokD+LQbz2APwgK9GH84mkp1i9DBNlVKdHzK29HKoWdDOmZtjeicHei8S02Eu6IW7E6VPWT1J0y0rRoLTcAKVESWc92wWIwlr7SA0TxLpwzJPublgvNvGEYjXEN96MFJWFqXv+dCyvk/pIyQkoSBnTO675tjIZdgu5c/LtlledZzai/WBN9sYQ3s0bUDZfeUsMg+g67G5fMWCg/W0YKfEs0nv+W1j0CcWUzTBBpGKT9Vx1JFwyZsLuD3y1j0mTTgA9haauA3s6FLEVphKxYxzYKlF6Qvvl9nqyQtwR630whGc07QU3kFLzzuZT/OoHP3wi/Aiw/c/GkCIU0RVDLa8v/m2os5/0HNfggjxxg7V1dbRQHmKFubqEJY6MyV/nFW8c32Pu12st2c7wHqjQ1zVYh4apxmUlgovJ6vkI7KApQOIdPR4um1W2H3mrd6b5ht14osKWOXpMJ5f1lZaSh0oMUvZqsAtmWmLt4nxLWL275hNFbJDJebE4/Xc69afkbCaYG6QAtwWaal+bqhj+crZqTIaOSrDTfSSl9XIAKbXXcHbDmepFClJOwgqxjnMcuE+L0ZQsMhHAEARKEZ24h/C6PyJrEa+cRN1GDf2G7Dajia44rkWt94GSGVUJg7MDAYBXixNhiF3qAoweQI4ljoNHby8pum122NBtWMWr5HaSaGxqh1H0HvuR8zu5nYrnUYzIMdJ/zKJtGytF7znrnesISF5h67A36aynxAANlTO5r1VzpWA2U/XkpbslgtN+ezMe9PW3mkjTJYqfm1yXy0SIREiJkr9pZKxdAlVSPgiBhyYVBZYqL3vqQvphMLwNemr5TUUuXLNOJwqyHmQOUdxDmcdzq9apGnQZPTcvEDFfwlPzxsNEnJIIyTBkpAa1bKltswmI2q6XKRYNF13SevjMCTaeL7AJgp5CD8dAXTC7zbcfGbksZCEAJaL/Ry6BCKPTImlFkl/VAe4l80auUYTEqrviRDl1bgWXhnynKnwKq7p/97FIrogADT4JjyLCq/Od9aOaZ3UnhzRK3w0xiLs+gHLG3B2HiNCnx3O4Za1YhV9R6fk/TojrdZHZzc8kXJhydmHj5J83t8Ytc6D/0Pb0R99rBp6afGsxuXO46xRVqOJTzWnD5N4Y4m7pVQxB3xe+1gRtE3hq85WNc+JhIlxCcstuC5STdmW2TkqsEe993EtTCVy+lSuj8WKtJLXEUAucsxCbmdg1A9SV4I5Fh7wnzzpMxkiu+pWia462HYktkvqwby5im8kWUo+w2ucLnTGUbj3ZeM5xatdblDxqQQSpqO35+OgTsz2e0cthnQTJxEnBOFy3DtlUTYzDDgMfUC/Pikgk6rUjoji/iGtrOHhIMM6G2GpFB1EswJo+B+KgbJyRv8uE8tKKAwlSjRa+UDGJWfPTb9kDHmdz0B6lZHGarH3WOj9v3UP+EhBAReJvwd3jk0GGcxKecj4gMLUkDoyyDlp90Oir1nP2/ZijxC2E7FyJJAB+CFCXOo9BXwPeFApHuSPrH37vqsK9RFycxZEBiyBlkeE3g2WgzBaCg0MA3e6azw46V748zE5WixB3e+THf2PMhXkh8/h4Vep/wx8h27hbVwAGIch9Lh9bH/L9OmIZWTHKPQEu43LwYdDIANuldG21sJU74odczfeuoWMX8zRQLUZvo1nzMqbVPd2sbnHYspCBdLHvYz19YbcXbwfQnL1Q94HVKE80n/nALuP0N/DyqEXY+Be7J0RYYCrpNPRD6DJBcGxxYxLtTR+Rm87jraTRKxctUJxRVPCNYpNWgJvvnPFwbOkNXVI3Y+9f3ASYtAGhwzDU9o19ZgmeTi/TNGKDSfpR5qi0L1RD/GLds+r9nkcwcB8igFedPlWe940RaTMUw4wj562eGKcvQXj+ef/KiIoCCTFmSyL7wOoCQnFs6b2bY2NPCztyguD7agJyjH3RaF8KXfZPY+VXT6Xjh5OMd7kh+9y2BzsQIWIybXogdP3Um49h6JCw+SgD+AEBb/SkELds8wzlH7jOkYxrstknXFSaxHFxGfdDUw/XtnRaeI1opwwESKgZLvtA1kUvxZmtreCZkDZOlJHIkuvm/xu9gpg0eXhrMtDrwSre46UAr52eNBnvDXdnN6bSe8DznaN27qF99x2t5Bw6n0rY3gcQzBqb93wxLH4JhBxMfuCYO3RgUoKvMDUYKt8NK6d2C9a3HgeBDFVRcxnj9SO4FUjAVuPKEOn0iiI4vMtoy4BAzwO6B/AgZN+M6RUuPDP7lZN2IGK+8/bfhokzPegKVquD4s+h9vXaiUP6DbMEPZ40CiAcV+CwhAWmexyXyuAXKnVlqqL5I6b1b099m+iK9uf6r44wbq7elbR0cB7sbu/7zXSBHVEUQVtBjLz6FqdStcYL5pyGvyIkjhE4aRxm0pJgJHKTVIydagbmLflaL3nCP5TwrHCAnGrx5FW6qyhg/bCpLtaxMeMVFvr2SIh/nP+BsiAssC7B77KVpWCMSLsw61CjMSs2h8otnuDZE1941DM8JzpRkMHbV8SnMAWe0Q2HzoGjNc5HTp1K4Fv1HFdQcGlgJYLx0nu/oFLkpa0U1YA1RmBhUixAmKPtx8OFL98vRp2a1oetZSLadu7NfrU7iDxPmr9y49i5zAEPAb5jHOGpBUH6VQ/PzPZtx8HuSOl3RFnX2GfKeEWaGiYqGTUl+VaUUUi8Tza5sDkxtTKyPO8B0by0sgBjtbNg1NqETilzYIGtUGUPQSZ8O14YP1YCMGBgiGxdkZ3RaHVLDU95ssSJBc7JcP2cWtfLFDPuwA027jfD37R9Uil/0e8JZ2swG6f5LSrrUrfXLuZkmkIza/yp1pfse9WLJUqbYJycnC5I12xIx84yD56GeKjENc8U3yvyhlh9yOp4PCGMQVZ6w/Q7vidGjh0kwv6JbbUplDnzhC+OCi3Ywzj1ojc0O0GwMVhXMmCZPTMdXOZ8pOPWBz2JqqXEdQo62OWaWRJYL2kW5A5u2DBGd0b9nnYIzMqcy9xeDrJfooQBsRUciZKaU0u2NM7CC1yiSmTSzeZBQE8iHN/2OaGZJqoYinfaLq9TIlgbFhGoUFNodzvUWjOLpsgLeavvgSmMbsC7JE9cnMK8tVvZlWR0S9HaP21VsFZqq7xTNia7JwofivKv4LsFRNJ3pZnGDMdNLZWHg4cJCfCQ8VOQNMl7mFolZj2QzPRFV9B+yXV75CN9avsVLK8Tqwdvi3b3XVo7NFAs/3qPImYvAm0R7JwBtqHXx4IVIqYnYYQrWVM9uc8uQhAfn7Q2fLk/lO9HTk1WOCoiD+4teiewewux8Yn0NuUnmQKBEDPr0yO1i3ujao9MCduUFzV2kyOogOvL6d89E4VQoUy76FYe0Yr61R4Umt6AVRbvUlnXyP9+pzeYVUiBSXZchhSsg10jKVGwBSU4PnTmNbaYP+9VS8WBpnBTW1lpdtARWvs3slCyQp2Qpjyt6Zn1RxBEf+lznPFGEVDdHzFJiroaae9b1nnxDGF8stiIzwYr9JthFyLJJHiM5KqXKLpFIiJ9GqiiRvl6/SL8kwuFpA5SK8xUxl0q/dPdg0JbHC01DgHx0YQoB1ynUDcBTImoKLLXuCsAI40BP0ZM02y88FuID7pjDQGw3T35DrruemcxDsDtu4MpYn/P/DTeGIpYlCt0HZ9gckT4JFoCe7ENcfGwdYyNYqqW3eVHfan2ma6Fufy46xN1YHpHxY4qRHqwpsk4LyAyVfyy0VxfBItVzZ38i1YO2iIpJQAKX4mG1aDRiPDmmUnMi0DtPbDxWMvkmqLsEcaS//e3M3yfZyoqMvNrSbmVpw1WxvjX38UQNpQWHVRT1Pwv1v7aYNKZz+k1qoEkUVE958brEtNN0u6rih/TDVAjj+k6uESymnlTbIeTDmgMU0DrO+1KsNEWQcLues5Hlq0vScUfc2kAduOCN0vKYB6dISMLzYYDyQjv2KdJlr72BBsOwH5qhbuhceW298QWYj9dei9aZHmmHpk3TKkLWwpELSwR7P30CFl+xlZnxIOqF+9Azwi5xtDRZArehzvn77nxsSJDpIiSR2eW6AXYGy5rSUp1l+6JTboS6TjyzHq+lOL7QMhE0JbDX0xH2gV2HU5yF94cYek+usl4wuwtrv0GHafhqINQdMcLPNLBMDNqtR3koV8KdZ0MHrUMSEVKCPOCLhik0ezQHI3xL3Ukn7llDTVd0ZjS2VhYpn8jdcAJzkaoVIg8lgN5aEYExNOFMs55lF90KI4Bx2ncn2U+4wvow8FYuiAN5qO+2FtyFMEpYTpvW1/5ATWsUIDmsTNfdnHQEU8pEespWEygBI79VSAato1snBx+DPyX1w2/mDak8NL9wqgiNOmMfJeUOdJwcGLnbS3iluPjmmv3twX0rE094iDiobtaSxMuPaqhqUQXkROJdFzoX2Cs7rS7IVqEvKRRq/WeQ+45HBIHr+G9xuO7kgoRT2C2OVp0ck8bGJ/2JoWCviSWaJSJY8o2+NdtxElUXpjeQ2rSaGczbQfvXuWKEBKzZYlf+ue+pXVXJEL6VX6jUk3jZrF2H1OqdegBOwe6oB4VELyT/b/CNvDKQ94oAO2fbeO7kSw/IJA3ssLcGBL16ex0pSxCNoghFBFq5NXX87iOCvZ3W5LxjlMFtB/XeQ1HTDKo/3i5NEMmniSyOBHIqHHT4tsC2mQjspzwyZj6LcMLIyEnUKBbK5wpFRCg25cUmQULwP3bqwb/2YvKCb3EZIXYo+1I1pXimqp126ZScoYM44X0zIiUrvKnqMsXhoDdZYc/ppH4b/Cp21SqFtI00GgCckqM1qgpaKYOdA7RMWB5alhlOrb9F62yWI9RPrQbdJGRmkDn2ZIQNALMEbNo4MIXqKK1Qssg0p+Qd6amLOajIVMatl549rtzYzfVR0ZCFed4NoGK5bA0f4hR82BKAwrTfRR33Jyut9rR4vwbdiKQ6X5mAzJqN4wbmC1tmyGWjrQC/KSDqfk5eSqzRPOJua5KEo4KtX2vcNF9pyNkptrO/lHWV34DwmML86ARxU+1HFHeBTNmZS7xx6UXvCuTETRU3D31G03TB/JGAP4bQYnNI77Fx9J0S1CrinjHHtmzmCi4O00tr24lzcBmJg2yyGZd9r/hNT+ks59D4T3inTkP3KUM3vvpfWZvXFVT28j9YfYSRH14B2QU2V9Gzivab2iRsLpifOkOZhFANQu5ahJFyGLnyOMEdZ30k8pSf0SutsvX534WBY/AEFjL+/sLre9ifGKd7MB7loan/raOhl5d4KR+jBxZofHoBFJ0XXCdE2XIhUFUWcfVDjSD7+UoTUilREkw7jhjxHllNfYL6Topp/+HKnIC3nIv6WORmvAdQeanXTEo/UkhypUIeys2Ih3ta71bA7Y8KXH2lKNNrWLcWhtEbSsgfih6L0kek2rv3eBLE/GgcKXxbDptcrKImARXDlXYZt0gpNy9a654D1xDHGI9k9iue6bt4rcVFEJc0BptJJwG4xHuBICe63AVcQcdwjn/EBLECQt+9ACCzcIpz/ynkzGt4P0MVhASIxVTBrJ770QdBWhq0HHtdp9nMOlY7t3xgfHtY2bGWbUecTdFChxX3XMKM5yLVs3FLSsxxDCAEye3GJFuJJNFDVVgfGaOeeFYb6HpUqxBWCfdV8ArcosE3gyjS8XFcPiBqM6z9oQBX5eXtrXgVxUcBQjEz/qR2fPpjHmsF3NT4izoIXIM0YAfKbPKnW0wD9+2dxmeJ9kErMCdKB392oeo4FfvRyumzIQYcfmLZHeDzF3RtvUeXa6HptQ8Vf+dvVHxdH+Ye1VFUQ+/MjYbzQ48TTBUd65uwWpyUp1X9l6KdRWv7WGa2yfZrDy6AWx6uVxRiHxjCMVN/4MBZnuSE/+WZ8z4evjmeJqYtq7eA4a5bvW2sqq0Nh6pKlUtasJhdR177UEcgkDvBwZZxS0kR6Fhpvv8DnWZO5FtMg3LGnG/QsufoYHuEh5jNSWBeTPIlgVN4yNkxx8Wgonp8Ki3Iv7Gj0Ts4ch5XXWftzVDVcl4wkMSQHNlnaEnHLtOyUst02+EATqfAkHyisXvnv3RC7vfdLdzh0nm0h88yZJ6QxvXDwisslDDA0rkQ/wM3qiu7J45GVgzdlg5iUa4uHwgtL8G/6dMPwwVruOetCx5bhTYDVm6IYvWkj7qJlaU9EJRCuSiX3IWZPNPlL9jev2MtSZoVi8l1DOgNs4MSUwrMUlmHD5kKOJf6j+gzjKAh1jgGnY0DzD4ar1/lJvpcl7CixbtOP2ACcGDa2wcftwOuxnEyno1oW9uIhQ2LrJvgg72gdTMU/nGms65oVzR4kl+TWDUcKYd7llBMFl44+fo75Rqjollq7w+DGycJx7vJYh2F4l4Abn0IbuPtlWLzK+koaTHhtf3wqMQ+GlSbn3XHY+JUrZUm+74IDgYXP/o15a6nQa5YO6X6Q8XM4EDuh3VAZGOvv5M5Gon/Lv3Uf66SF2ZHZHDz80NcMtQ3CWS4SfjRvkpmIHkC+wyf48ULZB9qeFhC356CpgrxBP4RFSfsQw2Pa64FaCn3ZdkcpgRmf1m69eMGx2eZ6miIfzbtW0wymHCf77vVRoyo7v+jRgZHA0jrYY9YFx6Xcn/Edbpg6jpUTEDPQc0lVZXe4oVqKYzeWLkU7GtulkD6dWa0F7ZJwgV8nq6b5o1LobeZJj9UtOLqfEbskfJJ0SFbCiTXR/7wU9IHwc1rhzNfAhqAFzzeM+YSjM0jqIagc1R7lDyBAa8thnkYTjWnbYAmR7j6CMPK8Ag8Ygo/XM3f7uzhGyoRTelimE+Y2itSqj0NzVJY3pcR3aqvzoMgQpd64hviSslkQx7ud0ElKD/acwr8U6zYS3QIQSs/D2BdM55TXjK9BniMEmwiTfVFsM4gGqQxcICdEi3b0GQcl+Dfi6/IYT29knixq6k7W5QcQuGZatNcGdJd79S5fjOcC2qXfN7lexxIJijW23+ll8vSryqAlLeW1OAGsxI9I9S/NqlR9cZnbcdVR+SrNo7JChOD8J0urp1+UZYccm9ej5v6l5mzy72Nv+CWd49UOiCm4+S93Z8PODK5WaDpL9fUBayBL2WBUviAUqbD7CgWvU1tmk+WPJMvK+T9+EloGLT3M+1dukn9iezXbG1msK5p2AxgYFr20oPNJHOY08IUxBMqKLLpxn63f0PW4pFeZvyhzi5s8ZW9FcfUKjTW4E3ItchwqWKvVRdv2JpK8+OvZsN1/WB1J9MWsDpYeN5rXgl1fGDJ1gksmpDb9rvIkZlclA7vVewtipTz5nLgbx7eAFXV+O8Bvrfi2OtEN+aF9q7Zx3RaUKmTBM+HiXjEHs1GCn9jlw6GWkPEA+PuWtyZU4+aDhnmyvQG0QQrZzMZCze/fqwDmP9FfdFObiVZ2ljp+wVonrrT1XoJcVxn7jo3zFr3cMRVVVb++hMUYEtBjsNMuVsatTcY1/mAPgno2K7KIrjC5U8GsNC+1nWdyQkbgEmHMIjFcAQRAmZAoeJ1jUH+hULiQFtRYh5JW9/UdE3rry/NFDfPuf2n26ryz+bTf0HOQNUr8t8DLaDetdN24kSP3hpyIWBC/ZqLRyIF3L/rmzpPpQt5csxD2fDDb8BdXcv4LBbv4vIPDzrB+ml7pybXB5pL6wupzeun6gK2rF+xvYNSC/ljkbWTG7lveGD7/6p3xNmJaFxjbUD37Hh6TyGbJm8NCIXSFQnNSQGZp0/tUdfGxty+9yeJjjWKfV8CiTyY7CcUce0Fa3dNKLd/pJpqbeGCPj5xs4RA1xshXJgLnb3posu50pVhvthX3+YcHUaZZwzyAo7iRN0DGQ4heL2jhIqop6d6c9QyEt2sH2vN+rlCr+s12O6pZy75/ZgBbAgltdT4HUuuWXV4YwKEoeUZ8O8BveZS8TnFclI3QsW5ejd1yzdSYm/Bq6AKzYb5fGoihDjQsOwgp4UdT3cfQC9vPcRkVv5ta/aXU6Kgl7v6eMFPvMy5Tn9zbTVRWTlDeGqvOZFs6YrBLUTdYWwSPHd0uMii+ASta3Bnu9TVACEi3xrIwAQsaNTJfvloxUO93CJWQ1h+e/2qE0qFZNhY9RxDREoNWYO8XSERL6PWoDQwQh5vNbeKfiTzddoIvESFres2TOPlzFzezT1Zl27BbwHOP/r1yYShR4NLWwDDbc4iHJ2AL38SAUvuogdXAIPHozchMOs2vtbb1gR0qBkB0lEHJSgeOZ1djE15l+0FHAYn6W1fJqacTsDpNGU1EgucdzVSSi8Jknyw7bdN0namKOH6OKwwdzcw1pQwKYjrIWPdAu1eeUOzaMgvqkd6VpPNx1QtzcupFRYIzivDwywnlypldaXHwFc0lIxqC1Z1YnmDn450VsQyJwNfeukIo27DBY4ogkOi5E1JvH6/THEzbZ0/42UTKg0KsYSaB/WC6524V+7woL6P23nb/ne3gZ603VMAiehslWsgWQSlePEDag2JxZQ58OafEmkDyRzlPVJ2f8+U0XcLE0FouNjYBozP2GtrBpH1OC4aIBBkvp004ISfS0qZm5aLNh4v8dw2kzQfE3Ty47NljiGiJm8OOj96P+nEKf7oabOYD9ZgyWUJ3w6PI54GDhZq8BPpy2tflodg5U1R6jm1wRM6emRceQtHPu7CIo/WQHmajzJzn8qeKs/plylSH5p6/Zj1X6A+zYQb5U67F2cLaEuGnmXmQcyYxd234mtY1QYjB2q/DGja+LkHsTQhBDQX4Q2wIN6NvvK905AU6UWsisg+YROU5T0AXMTEbO8cQY/VsE/yrUOeCRC81FNVsYmxl+W+IqOFqUXYoynd6BErCvO6NWq9BoJLL4LqdtbGfg8WU1tzIfM8kwRiFHdLR0MLqAimKL1JCCk1JGsDFyyOf6k7MAB9vtGcWAdHvVbcCdKMp6w0J3QeMW37ZIAFHhit86S1DeIymFbNkqki+Z2bpzrbhBtJ0cABDULXci9fQPW2CWiClJ2Hx3uy3TnINGBbU2cQVvyuS50E7yDNk+OtPwIh0oBC0gC+onG/+nfp3kGRfaugT7OllXqYFPIqhGCCPgnVyAMaO3uV+W7H5rRpcyzvNvlZyaHGucS/zSBia/Mde8LYrlI5EJ7QW6F4ZkaPKnsp3wztgtFxJwsxbIS0oaZvJDQEf70WWJfnzq9I4vGTYPaGZgS2aUaEqEt4udFT+hU/pHLOjqG1NsMU5QNNJtGxQCAyJtMCe79v94ZsAVZPOZNq6TJ+1UVPtew3mSqr5RpfDPMTbqCqvNmwqoXTnjAh3+BIHopUKbUZNXyNdwqG8d5fKzbaXkDZ2WccsLYR1tyDCJgUSLTjONFaY1LYpQ0u5HXDjn2JSS4lHEifmQlnJS3UfwV/rM8qb1TBS54cHA4BZUAzQ0Z7P0wc4WHU+ja6yonamt3sINIOH9cZ4wQvPd+RcLSQjs9KhVXSWRFP6VqSZbe1gqTpA03P2htj6IMiRgRzkIkP0nF2hUKVG3SAj+koIPXRn4T1XszxIDDGXcs0KJdLUU+WrlLKYX1btmeYc6cwiR8Yf2v9lDoqRbjLcx1Wtb+kesoc69QQyFh/Bof2akvwZIXMpuP/YfqRJhUYCN9TysIWqcNffTsQiAcEOwYdRbIEz4mytVnwmUu1L5oLlbJhFkG+fqcRHOfPJ82kN9loFXM1ONwOy/nMnnhRWe1ucDJvPTw7WpU4EiSoqHeC1bV7muKN5hVxBvuLYh4Btv2Ttz1HraE8L7dre8+ebdcDvzJDESUDeL1YL+k6W+TQNiVl/R+zCsbn/VQNajNuPPOxEMYecakf5NeLdiyGxZdEWQVBSZL/1KFbKK5Ko7w43UkcrbPmvhBEvjt/5Qs73dge9mT0eNHs+T+ufIdTFDZbRX8PAT5r3HFYMypWhPjUzdWaLSCuMbHkI4hEa15to6n5NXvbfTpVOhSUO+lOs9xI1dUZlftV8UhWvmyo+LxP+dYZeEY2YQuPkwakC9FwhO3ym6IIZ7rDjo6N3SkGqWEV9I73ijXCd1w42r9byeaYt1x4Mugf6S7JntUmjuTAeQ1RnLl6T4MMLXvdIIDGRqRkhom+Y9zlzI7acdzBNBi3V4cSzP7FLferMNvplVUhDlKE9riHxc9i75B5oDelENpfRli9ksLDVr8CTuBRH/cPr9j1lCrUO60xeyhHOqgRsj2/trUfeS5jstF73b1oHC5xr+dYo64iupkMndMoALE/7J/3liyhAaMrt3UxuvjZJsXnSB2nFcqO3v97taE+VXq4uDeMftQ5oyAF3k2bBYikYtr1A+uVZXNOoHyruziDiRvWRYrI6+SdY/C6xqA/aRJs/hH6yCW0SIMHaQLvWJ7ZbFOmoCMEcts3ChD06zthSkZBUmBA+DoqruqBRA7ElkFztaZi6RmpxjLeSLQBiGtsgUe4vYmwWy65KJKhk6uhGfjBMn5iT+aM0xBD45w3WveWViqXOL+H102Hm3xWDspOmLjdXoF7wGq2o9UEbpgnMYgFSuvOqsX7Pu/v6LV0hAtBaLsH1LzzvPiAEED4LDPct9WhEEkfJyYGAXFel7vrfAdrB4bSDCaEB/RayTcI3w9zltKaHPE5fgrT2c7GX1HBwMD6EK9/v/DJ45/+EUSVeBzTp3K8Cw8I7+GXyJKkQ40RQTgBYSeayUdgqH/PV4/g7KP3xFQ3SFhie4beXWEJe71H99uLqX4s6hefuma23uIc/deN4e0xdVUFVvuq71bVJqu85iOJJ/WYz2+lShLPTj29qtlbHrY6VzgQtQhfZysNO/RSVjX3zhRNDRJJiFz7yfVU9tsyKRFqL4CxW6s8aG4SsAOqkoWvqPcD0b1uEP6jzunu+A76bIFV5zRPbMo3th0nhDv7yEXQuLEFHK/TCTFuyPCMkEDayxhfkimy0AqcnqVCLABCrSyxJbMaOhkeNt8oL31dIeIFlhChGSqkJOdJOQgYbu9zBzT9LTByiW3kYfcAAVtShJARwv+ERicyoOxctp4g70Va3xI8rIX7e3qSlQhRmKaITeK8AEoynCzoH1p0u1aeuy2B1eC+Y1FB5qGKcqmHyRIDxQI+2ckbVGZAqO40ipcCZ7JsdbK0bX0nz2Q/CnSpWAbsWo1RRqENgk6EDvr1OhwFgGr1tC9q2vuW5SgyDL+XdtqSW5vhewz6nBMv8CtWh5CZpbfFYf7Vw2eiS4mhWG5KAESMv9T2hqDvYAmXoHtvXdWxm3QtgBO3L9DQbEfYXrfHTChS5/Sw+YxEM2je0gpv+LRG87XRAe41xc6RMKvOmaAs9PxdPIuboMG5ZqkxxRLODsYQKLUyQz9P5gMQdhVHx7qN2dwL7/7G87FpGcC/mYC9Qw1HmIvwspWzbdTFKeNlOr58dWKPyacpsEChtAp3JrXI7JMYz47aLAlSWBGx68z4xskL87RFPi8+jjvqYWVBW/LXZMQncerst0EhnYtfXuJYjocepY1o3Mh+4Ms/pvlc1mk/9fMoSXqj0EbOpl8K3hvaqe6hqEcHFWmY1r/wIubPRDV75usMGamf7haIyiFt3xKnvfoXXTUaaYk2WD8yZOvP0Wdond7IBOqar+72RS/ys+NaD6jQ/9lghMPBGQNOR+Q8yCg/oVet2X0mHMql84I3DPwZwHVykr1bOSg/OvG0bSbIVf8RtGmb7/dygKWBIZ+Eu3Ov0gWKDgrxTiR//A6U35WL9CX0NocKRJv3wzoX9N3gLWNGwvQ7gq0pKFAMvzoyOzKQHvHtgxlqxguC1QqG1jZ37Xduq6NW+7THt/uJ73GxE7F2YoJJnBWDLib99wfy+rhew6h6gIUUxRpkgGt/LlzW8iot5ZQoT7bnoirJuargVXoiAKCnP0lkdfdGM9mxWHMmD7KWcGmeG+SZCv6v2KCQbZPcfqkJg5N1bPMHSkoBEKsfzw8jSMBBF6oDn9gjSwvB0tLBbwnwqrf6GnbIjUC/YpIPF4oyoF7mlmLVLgSMtkP2lSiYijXGh/dwzTI0hiGWm+2ERIwAqEkJDKf2BtiyKS88b+6xnuEEgv80rjES7OX/wPMqkBM5IcBBImoSG0I9ZKNmAr3g54v1K6T3mP5pphqHXOAKOcXmcqSXEtU+S6ViBj6cQgR+k23Xts/3D51aKIkWqqQWE/0XWs7IqoUEWjAe5spTYpBs5ZQsVmf/nGdCBn63Zy7c1S/q+9zG3mxEAW6CJNNtizWxg954CKF0rz/W9TPvKq7BNDgqA1RbK2yjv8tyiSodbk44yLiO0Yo0cWgRbaI6ly89Hp30/xtDevRyr8oePqaqiia2PiN1RC4ptaM/aKVzFlvPnk1bncauBT3tfPmNYjW4S869+B/4f85O/dKsUcSQqPqdNdfiSmau42+VrWFyqzZt9xIpu06uB1T7sUoyg+NLxebxpCJBULD0EHfgQ82dLHpRWfhUWbi5p/BRMgX3aPcFmdP5quGlgLwhb491kFbgucHADYJtuV+29mRHDrHq3On0nMVReksp82rxS6DZcTJlTualoE7mozi/2I25s4DBizcUMWaFcqLZz/G6RuG3Q0ciy1r+5xkGl6M3HQhWCYlc6WEwi3eXX7piu0UWDH8j2EQ9anbZRMHU6RhtLQFLC9UYWDjQHPMaOB6sr8cRcDurY6DMViIJoe8RjEG07mE3SM9+tfdPMhvHFjJ1YfieuEAWvuYNcryqeIJNO1r34kWZsAWoNpoGPCgV7KnRV+LSS1Soz1HtTcSbjIeOBY+HeVkrJAjR3YUCTvgEp6yn5H7O0x3HC8ECugS9Qd5+71Grsvm0BeGc8Gf7YlNPraHHiifOPGRyrVV1hyZtUjDKTeVDHS+kL1hM+NQq4q9pqEazQh2QSrPDTKVS5pAmoRQ0gIEVdcpRdz5E0aIluNdoZgLAqvn2pMG7k7BvHBMKBSpAmcreKAtxnWKGTC3qlGZEERUsNtFsB0gGMw0CW+Xu8Y7QBnM5BrSuqBsRWfMswjk9BoOVD+VetSKjQoXGJWOOEtEMNXYGwpXT3mcOZ5JBWmelxJTi3rP/gh5mZZUMzDmuG7Ghnul/25jvug6SbUmpl17YRDJE3YNV0O2M8qzYKDjqa7pHSBLNfzROF5GMATNJBSuUR8MX+xTMfERD3ZeIM+MQfUTan6vaFvHzuLCMQt6r+EMio1L31oFTz09zq0D20yBd0B1Lbi5B8Tnm6QrNgsk2axiwCarjNa7GVYx5SdQruuiApEosrRNy1FrcuahcZNw2JlfGF8kUL6zwdoaAebyI0sRB5+bs3jNe+DVXKitWl9X575Y+vmeG835DhVYLIs7kWu9M1vbJadYSqZ1acLhcuOm3Lp/oe3sRESHE8fHvkc4FwK/LZU0cUetsr+SezKSR7yHSyIUX0nEUohBJVR4NtQ11RAWmmAKrPN082xojdwzwDf7qbJiCWuJr2F9QbC2LR6Y43sZ3jN6xO+YGcbHo7MV1Lsy2x2L1FjciZ0U34Ha6dJhdTpYURDnRIJOtCGrH6UAIdVFAaD06YjdGssvt3+f+BiKtnITXjtWRQScZtScFGAz8tX3u8t5qSHu9HX9+8WavWKuZZ2iO7YUZLyt17P+520AE5vdLs0AIH3cln/maTOskhTbMX/6VJQON/utXOEvG51vtQ4ZsB2Nw0wlYqUnCB3Qs3lMopwEM7UVtyaeCq7Tvq+dzTVCzgyL0WyHMQykgQ4j6xHUrnkqVVZvXYlBtE5UVYw8oR22fImLrd+A4Tt0ZxSCfHbIUYNP0+LsqXjA+/OQdB3/KxSSjQ0rdUO+Ctx1yc59z6v2md/QbhFQEUupskPRtTqZ+y46xqOYs1Z9CYQD+dNMFA77S4cYqCUuPkueJkl47XF/8A4ugAkXuHjGnuXyJESeS8KezK1ClfW38f3ntEoegleBlRjGhheyzZwnS77dfZCntg0+wwMxZazLUwPcqnhxhKioXOZlGPSLaYzRNMl6B4Er6prMJmpdoZ6C02tUu6mn+Kk2x63pZj2fkwpx6oCNAx3M/DAESMmxZuGN0MM4T+YylfpqrDG3D/DJNe/q2v6tbLePnxnvuT13uOsuQs47q4pTScucl+WKadKUBuSnhkipNBAn495G4JpOGozKU3HKYXevNPgIB41D4GcxyF9/xiNdL+HnzWeaik/90XohrMRzHYTtXzYYM20q8g/xQ6LewF0ksfZgTo2GEP0cJ1LLWCPIpgmT7HRgY0FzH1a4rdj+5pJ7Up7Eo0dkDwv/c9IaX8CBIzNBfBgv0xiPNvLc9xJDLOp49rh0074ZxnFTPczpxohg1o31oG6Gl/4agvRSMdTUgWtIkPHOnN3GFJquXd80DyTB4TxUlACMVvWNRRwF4RJa1WOwMB1adXhH1msjalr7+wRI8vzc9+KF9tvoB1BQKxQ+B7XmqHJr8TxWZZDTiRbdmjmmdwpDyW+zuSsSD/sWknc95gK0u2Z3Bnzt9wwwcne8djlYkaBV/f19PVlP3saNYjqXF4Jk0zEV5s5pmLoCTybFx3PxtqMLqGxFduo7vVacs8YOgnkv8nrRG5kz7MvD8DbbTamZh8QMkVydM8MG9B/mBjB7i0S0Ut03BG0mtv5NsfjqIb0s3xTMH1K0A+ozi3MtaO/Xdx/iOCapMVxO3RDVq+5fyUoujKPl5tB0GlZyeUBhzSBIj/mELBDPTb2fjQRA3OImxjZxl4ijuJ0NhdpKPDD59JcFEZWyz/0bVBRJFiVM7BZTDm1ZDZ2jtY+N+lkpSzW7AKldvY9n9lq2FCGorSTB3xLJuj1njlHP0ginfRbTR+inrMaWkbq78z9Qc9k8zpDpxkRW5UtIXlGIASNUkz/eMOTo/PFUGwC1f5azVewveq9rKKDGuJGweM1WIgMjhbaBWMHUf+1i427fNafbKXg7iemCA4nekSqKPfEwIVDeLigPLMboFw/wDOMAYeH367/rcbc5Q+8cvUibgjfvhS7O+BAEt/Q4rq/tabtJWlchpLSXhWspTgmKpaXOBjX7CidU6q3hpzL4B5d+p/gAFsV70TDWwGTuh6ilhbPMUdQ5avlqx1jr+eqqtseND8TpVXwphGj0WU0R6MDdgBo4rE1FQ18KkXQtPrcq6D/812LPIZY5jm+vzSWz7CNfxW2IWGS4x/xOqjzfc4soSLtkk4Ppx/DXSIgQ6UQ3x0PT6gBDEUjh5CmkVzojmmkAtzIF7fFXXdmrCQvQSor7+5usM899KSkAkjRUEIJHJnfo1W6yIPsMkce+BlwPoWwlECYWHNr3/RdSF9DP2mzC/vzkZSrvIB5FRvtybif/rxc+nOrcE0s5grjHi41G0H2CRWqVc0kg20qb5Gy6ZWtQv06NuCsUUcn2fng7+2YPisWxja0IG84IjtCTIMz+KZg4Yd2JZpOUx/Ol+KbfJzxQ/HGizLHsp+GA1xj2b6Rzyc7HCNbr9a1fdt2qsmGEhqo+w4AGaAZ2vs8h0J0nkGHdaGMqAkGP1/S3bZxmoqE/mcr+JFP3F9V6Xp6CJVHk6Q72unqYTcAgx+uOPitWv30p4Khs31G1fuwiQ24Um6hbxXWesNIHQ/MKIEt0VYGuQAFUX364iV/GaEn8Rxe3uPDLiMjgUKt9wBxFDKMXgqBXgC9i4CrsjzNo9CpDv1jpKTWOalFkZJZVQaKOifJ166ol1+eSa/LVpPfu8aTwKCyKtqmzrLkNJsdyAD+xgRNHSZ7UcCRxvju9RxYw4xXjrkvqaZi1iJUUdzGEtS5BVZcvizDV2C+iAod9Zr1bri0Z5KAc5vVQH8T7v7hm+ptrY2jdb7mxo/ahNvgT5pIwtiOEtrOQ+/X+9k4vEg6rQ6oSMeoAmD8MCy7RWPNBUaWS3sZtcjFmbpNUndqxamFjIlGUhUmzOCBAr+2K83dEFzzck0EsmOdSMRBU1sTFWyjvecmaVQW1Zd27P5q4tLuGJPlazvs4+9HobghJ20kXQvJgRNCbuuIl6cdl0CZ23ob0UBspTr6lqsNh6A6hxwzYwM0kjLcX2eVMAoMliR+na0qcsf3XQlp0xy7i882MLpnsL/7K6oi/CfB5VUs1eHHj6fSOasyC9TjZUFZfzUvYuZuDRgAcuOn9vvgRCGy7KbxbUHmHBGyiFi3FIeviyD7haEivNf4Lwbn7jHXoZfCxE+f7FGGoDUkrMXyKSHRuq/BMvvd/mXL83N5rB8IQZycaFa+D5CfQcuRVQhfUWtTrp888cO9U1Zy8FlhGIbm/o73fQmKeGcvqOGOcyaa0KeUMSYMxZrpjBQl4hFRd6LzEeC6+RnDIHTWEha8+y8Fftf8jQAwZXs/Wa8hJlVKBu4521ZDe8j6Lyq7HnddhGfob94b/HTfI/dN+pI1rafpYJ8ROlSZPBvkdsNGXOmg7KYNLa/NmFVhTapE5BqL7Nl4VjMB8a0SvLg8mmSBF9a/H+L9TeHcdPoqJKbk0Va9GqKHDXwpup1SP5J9gDjIElxbTo96uu4pPnHpG8Go2UNS6CM6NeW33CZeEgC0uTrwTbILVBjOt3FOlJCOL6zBO+jHk0ArS0ZT6qZkvMWhnX+9fGZNwCVmQNs80BCRufvow2nQPtA8qjnAMG47aQ1w9rpJpnHgiCz55W3k75aftnESPkjYNhBwqgtAKFGSv9NvTvNqNKqGyCgJMbIQEzR7EhUO/ai59jUGPaKxcHYBKhnqj4iV6XUemdiyaABai5rMJQBLVcadFfGYC+1ZjdGtVNPB2eKTWuwqFTOYFzt9/ZgTsckq3ttD1cSW6sxshKXBmnkbE8KqnHoChULdV04k2E/OnoW7NBC63i1NWLl/WZTGEu+aIFIs6oGdl2TItQjBLmgbC2nAOBRtVKv0XaZrP9WqQO60ncxw2QqeCZHwLD+aAK7aoWHvSGGFbcS4tarP3T1kNI983TiBo6p90Cl2jc2Namvx+ucGMJ5i3Yzuw17MonqQ6bbnRb5t3etElavAH2i+O2N0lzN4FJGiVnF4vmn0yqUHi0g8KKqeOm7gpfFFj8Kb0u7xGQjgP0gxg2pLnXLUrFr5/lKJ50T4zhF28j9OVbx8qpSH0C1OWOHhXhi8UyfCtS/j/g6FE4LMeq7Q9IqWExKnqLoukoI2uDOEUemP0KBd/kzhvXp+2+64tFBZq3aNMHEerxUYrod2c4groMqQK74ef9u3HdcKz5v0CI7mSbkJnJNJZzbc4gc2dppI37SDjw1Xp51prZ6x37x2BJmAt+eDA0cgaKKaNWtV2ZJ1R0CjHOp3Bsd8v7ApTvPEgUHwYYnnX51dKHFz9YiPdUN7S5me2hT8PwABtuUQI+AI2ETfFjN5w0SBTm3epFoPvLiseZXQxveicgthQjO4k+vO/nTteNSoDQGdKpkUjJXI2gAVwJ26GKKWg5BxVwul1vSrQco1RREJCiWnxTaAv3gYeMJeRhXx5BQjx6aSWLSqYsfWDfHDMSHzmuzKcXt/8nd+Tsikxb8eaQzZLtg357be3tlByMcG1/bRAcggr2NYybTPfGaHZX4+bMS73oppZjORKD48w17xZAQ/puWCzXU/9FOKHyQ0+X5FOlXPdfGfSU5vQPt6yyleMlPLf7bLDiKV27eLu8UvWmTHNBcC+0p0F0i3hGtWcIwDUBfqh8zcOmaz+aDSf5YIHTeok8lmySEB5nTUzJiJ+Lll2N9mwayGM51FnXifqenKjTvhqYEZBqK8YDr8kj//n8dMBUmn8t7Peujn66emWZTlemCbPQEGhPiXY3+mKHMV95Qm6lpl1Smk7q4LDapVFnxIjQx+76PHFer1o8lE+Qq/rrpD8RPg2fBzK3TaHR42uk1HXkQ8oOcRCF/tjqFSfJh4sRf8A1wcXlBXiIm7D34O7TxOwJa4neSKgJh285gE/tSV603hvfKhm21MryDfcYm1EkuJFfa4SxDBcdP0lAw+GfL9EmWvkePU0bkDq+AoBjoRKou3SzybIK+VjWEcY5YbLjSUp/TWBeZvSf6JIe3/sd3Rn7dSSmTleR7Iv1DL83uL+Lfc4T5v+PmN5zTFh4rm/MoEQIorwRtmXBSyYEOkAD1fo85zcfi+LUAGOHaffzdXbXSMXvSfq4f4vy1XubLEN8dpH/FwVeg0ClRpuQ+AK25KLZF6SxxEq3aSmKLVbELQTyIPuSRqW784x44uDxtuKnD23NGOvouUT0OAYPnb8zEdgbBVW5YZ9c9cnxWVY+qI+V+NIcPm9o8bi35mHN+Vo+uqL+R5xhGuF3V54dGl2GYDJpJBxzX3EmfLy+e+F+gEuwp4bm5XLWOTYCpNgVIHNBBRRQ28Lukitn7J6ZtLHAXBA9qmBrytAuxPF3QOLgVevQBEfh8dP97TOeiseTa9mcmcWW4u27635PCbE1uu2HIJ0GI255PoFYv1HhFAoh5M5IXPwLqhfWD1/EgAjlJ+52oI5yrYqr4OgPl0mTA4j4F8bXLp9YdmQNgDfszsvUYBNsyHqeO7LUc8FmCoAM+nzwKePMrObQBqOayngXmobAKICwNMUIGVAtMQ1apTCzTEYSC/UeGOOw8GsWjwBnlINxwAHvlc7WCno7nIIEMf/XRnOSfDnaVrxfH1i8ZY5Jcfm5VVfZKMLmCLqRihqVRoIYzP3PoN37SoluZHWYynqcylAatYl7EBdTB/DtO4zRw6TOdw+bF4BNfj21J6v777faMtxvP1YFpormCb51LGhCjwRNDmBTzfRZUK5BHEp8epLrilgq+aYVDFj0bWsI0qPhmYEhQoHyGfW5TwyeadLXDfr+C7//rD4sySZ2yfCOVlijwk1IO1Wou20Atx6hOmHgxL+fKi3whCmhe6WJb1+xO/0GGWTghRuPCg+t+l8jN223dWKSmp/siP8R6JKj2LbCQc+36k7jZgiIrxBu1AN4jlx/I9OUCvAA+2lanyCsNWNHVDqxS5DJgSyM/FoKz4wf9kROLAjsVv6GwiPR49xbyc9+hdINORxohLUCx4vY0egXgk0CdFLE0KePtw9JpSiyxpgoDmvygAaCPqbptrrfxNQINPGKCia4aZN2tGLr9O/VGI9kjyBR9j63zFwoPm23HrSjWMCtrHVy4CTnAMouy+ABoPkVVl4UQujjscJqUgeqgT7klfzT9RVQxYGI/ZHzPi0ibxugs4WhBJnc/hPk9Ehc1mWqiYIOnECCuU8+qkwOj+roeNvFcstLcPCxdTM9w+afw7p5NREkYhSJU5Fzk2bomWcUT7Tq1wvQIxQfh4o9KbZA6PFNjKcaoMJDpEDsvWli0jTBAENWGuOmuH32KSCERtV984oiTCkUEYLqy6pBc3hn1Kou4//dtmY52LKU4/HaOUkD5mjyoFIpfNqyfZu70Ohzmt3SkQlUhbpNgL5u44L9mhlsfc7o+OqF836W1O5x+a7mWEEbNvxUQObkaYgiA8PjE0sFZlba9D8vyWMcJ1djhGmGhwWpP0vVDYLHR+Afi5aHuO2Ed7o857/GQETw6nTXuIaz81KQ+cERkONFi3qcjxJrrfqnx4dyQhF3OF9qWjUxVyup6/0+WSoY+314AGrbJ+h1W+CLP4WpFUQVrzUV0GuzwUsNmpL7d+zoZm5uOatFb4Lt36mbfx9NjaCnKFCACsPMkyQW+gVLX44t5SMpm3xa2koIfYbmMDOPO7m8J7JuH55nUDNY9Tfrp5zNQhFx0hXeTtAkd3BcHJ2u2dWPkt+m4K24rv+dJ3FVlPo8ZCvaBBAqFb60EvbHaZvVIIcXBCzzUN8llf7X7wL/lBKGWtrJt23sYYp6IntcOInUN7N96g+XHOSJOtmmCOHT36SuQgqKEIu3xgNWUIiyAkpYP7pB0ot15B8g540LH5BhxQwsy061e2NaUh3uyfsQHktM2ZZ7O8KxJTO9k6IdeywCvtW4OeO9a8vg+3BU5t+t002A8EMgzOgNFvvq5OBRthbZlopnYKyWYOuoKgcGLm06TQrBEJgL7Nx7JqN4327Ad3HNiv1lHEP77436V7BpiwyCZcO/GUD+1YV+q2oU88aKg62Eq8u1FeYIDB2/+Uabfp37ZtSwrISFiLRvZiv8XJYbuW2mjyUFSjhmFY+9+R8Uv6GUpouTWwybWaoUcTMEaM5ZweIXkunT9+3VREE0cQRqFQiZoI5cDiwcGCvcQTDfKLXYbjnbuh7eNUPJAdi4TtyOfkOPNHjwtuwYND17UgX17M/tDEnBpyCH9R/3MBxDQE0/ehyOBPLT0yLZ4W4VGAw87lNdZOiEiXyRPpkNNjAGIlof3eYe7zb409+/yACy4ZtLHrLZu9LhTqljY8Y5rWwlJp1qd7yeP9uWM89vFJr1yn8Da3am5PQINozT7vlYtKuS+tJVK/4RL29hN4f8rHLXY3r2e3Hufn3qP9Y2g1u4rZThVttv0QxX2dH6Y/RkjG4BHYZX2qhYd6DV9UBCbdGiLkoHWdC88+mQJz02/f6wDWsh0XoOkL6fgB6Ci9+3ZEutUZNXz3el2ghKCQNZ0rarIzbWFS4trOkWrQrPpBwkC+I3AF5FZt5oEh5gLroUtY4LMOSYWzMc39TojCEO/+LslkzAqQcbUOW+BhYEjPemZVwwZBKl9xReOx4QOD1IqO3e6F0vkEJ/Y1JavYaqLLZy7NmVGY2GTzRZB3tNiTwwyjRJQV6y5KVD+kQSq589KpDnQ1HY89wRD8sZYSDsqqMUHE3ZmM2RFgHtsyhBuIuw0P4FqOL1e9nhkUK+sihBU/ZIRKGwNXs8ovdhPPNs0PmJ3Q19JqfY50K2yW1GpoH0MNuZ4NXfRglizJGYq2iKE0WV+AYYgz1ny15hTZlr4Fh24nxAcEk1ffihQrya56/q32cdoG6v7bTaCwCYgpH2ScU85IinoHE2km4SZBL1pcqu4EuxUEWtvq2FaMSjEiS3G057M847WDuj42abbRNYpSZz53AYBvET7eGc1L4hSw1lsp0B3Bw9i/2zJc1rQlEutNPUG8OdhELbeJNGHqrmNVBH56tkvjy84fQgFB+8qHEuM0kV8ZAhaa4x3O/oUKOJ20nZmMWUndDNqCfpDK7btjfPOnWQo7W4a9hdjUj+JiLD5cJNJ6+K+6MOdrkP3nqV9CkN8REH3gY6G0r+9M/JxRCOceJRXwuaZd/O83egO0Hlq3o/C+ASU8+PekpyC3r6dLWuf4Uf4PnDkKhqmQY98wiRmgr3O4gZqtQacqXljpKpU130+Hfkua5Js0BwijCcSGnAe4sB5S+bAclj7qfecMJ/+bJQH2vmmv6H1+l7l/mVIdgCS+jPqRgVZjQw5sjhX8XE5rF0oX+edyz+lJ8nBcb5S9gGZ5ZBSLjhn3dLpwmILi5CqkkumFWKmieQrsDaKP/U8V3CfOD0vl5YnNHKMg9MjbTBWnLsD32OQaWruOiwUAcG0xKBy0LGv9oFTNaPQWUQip5hbm2X1lkPBgDYsW4ey36ll88nrxoeSS66lNErCwkx5ykzB5zH0UdiDpbZFKLxfEYFFZ78Tcgvv6UNdp9693Ds4mHRL11ucNwqM+iWmWTEnV8ZnBgt25X/cdskgCF9Jy1KH5iKeISJhpRIyObQGCFJOJ3p0ImxltTrloXMVH3vybdEqCCOVVW4UWU7/1qrtU4cVvYkpqPXQ/QuVEYBtHVhmuRkBL18UZ884Q+DLpZgWF3mM6exL/kLvqQF0c2PYMv6p+kaLeN60rbT0DTdUr9iMo4RwlhN6GSBkoT7AlZGuzWl6utto+PxCxSyd8m7L0Q19n8LP2Ks8uf2GfjWESagjBBqmQhp4rQxg95K6jkG7b7aU8OAU8KM5VrmDbtT6bNyuBhJ17JMF7n45vEB++8IevNCHkjnSYaFDtRXqgesV9svqOnF88CDweB6ytDlhKuo8MljU4hPI902ax8NLhkoFD9uGtKvzY9YMmNymmquszOwOo1pcW+80my2wkLZuJRWBCIFCrgkhxeCshjQKnPvOhN4Um94nTn/QxKCHH8dy6LnxalMSXg+N9DsHdXYF0pTxUJufRr5yXjGPlaYqZRSLLgNwYMS1RRX9UQ7YQmC4XAtmP3+HXnLf9fLSGhjVvaELa/Gr8ZhzY9zjV3Ke26FKfr1XG+t2PPvckjWFaPG5pfXOpV0KKI9suAwPNphk4CGfMqL5t/ZRGjLxBh2CByeP5AxjlZZG4yP8pdiAaeQJzBGgdNJU6DZlIE31XPj9t9ELcujiO31Xk9R678ps74YY4c7uaGgl5YhTFthSQZWONbSd1hPUmfLCKvhGQTWQUKUx5Opr7onOrvumwFwC+CPxE4pKa7zGofwABYm7hbijE3bFV9WIihi8njN2+sNYVwsD1TSsJjgvn2+jtk0vp8LFo8dJ5R8z6MfHv0miNY6cEQWM9LFfLmfpmDxMXEMMZh70ZEv1RGVoUU+A7MdxjTnROBae/5PhdBWb+kS8vakgxQ6Bc+kri7TO663t7yTIf6b8p4FLSerHRTj/f0XuyAnfJVbq6faF5WUN5U+zvC8CfEjsFblYTFhIkSxfU8dHCvc4dMLWs+MWqbQX4gSuYd6z71FP8hggBZpR+D507fztdFRQZmrPp6hcSSHPIwOpJzCTQb/XTBUTvCOMsRboojI8wnq+Q7x1+mAVy2n66CPgwnBFB2vomTOWTLTIqMSkxAJZDxvGaoLWCu0w6xZFUj7WIBkrlz4QbrMFwZCxQGB66D/wEJ3AlrhylD9e9+KAtClIPTBvYzGZjjpdj+suhWj8A+GJKZMmoGZZDyND13c6AVHHPyqifY2b+VzO6KdtrRpj6k4o4YN22qj3DF6yP7Se+aVc05qRF1prercMmD+XtgoXMWftMtCCXTIIvehjjc2p2MLWjxHXm/Cjvoh0YEQQyoANEUjo0wuR17G5RtPVa/dmyQ5qfwoMMS5NhVg2eTu0GvxAEZ8DHwmRzGDsn3iLwwADe21GSpdZ0BCwBQVameXqOPCJ9qb/9fv2oB8llEG3SS/pYAgRW/VW2Dp+lboepArQwKf9Ppbh/r3bbIP3d9IC25pOpL/tBX49bNwz1ijBkvnQvuOTNQaOS/64dJSCy6nwitP6p9Nt+Wx4i11KF3wNQ4rfOlKX3MNJHqQKFkfrceR1anKAUSY0BiG0c03nVWcwO571n2ZXW+EoBI49ItzWtMx4xYBxTGSDUzK3l1T0G2o8DhDHyA7GNbO0OI+SAtcWDj9A13scZkhKrUZPuLZGi+t8+HbpklLaUGJ26PBsCr1+KBkNRdLhg9OP1COO96Zz07dpTnYLZcT+EeDBgY3VJm57F7itlIBkWtpBb+dF0G9EsddvgdUf+oMcHKuWJ8akjOw9O208fIU6v4FHEHZ9ps6d7SeXFHHiVcqyf0KO4rRKIfE4/r25jkSFOZoXC5lVFK7pofuvtpNO+UTDNjod+aLxsbOpyAkmP/fqbKKeOavZOPXx+PEeNtFPBhdkI4tmn2fRrMgIMQQ4VwmQaCBgTcmIa0xm+2jM1sKj74E6JSg7ZdxUakGFoeQQiPALedXHAGzyQYhfZRHzpj4qHd0f5lRkfhIBQvHKtZxIN2gSuk52Z17Z0o+Gnzvn7ROcpveakdhvkUN+doBsqrMVqQh0Pom1DjAeCMXUTvR1bfDMCU1f/ep21h/a/IknAAbvNRB7f1ijOemak+MWG5N1qP9GaorgsrS0OdKVAQTqrjNW4cpRDfLbwoGAeHobTaz3JrgrP+q7SdZnzzIDzEADRhEwAHq1uxOTQk8Ec6b29LJbqwJhmr7NlZaKJmqGERvmuj8aHhmqzsyix0n2Oyn6A3K9zRR6JqSqkxnPDRGYNsyELB3k3lRYluCU9vcStxaBUoP69Ngy7TXNeAoOuzt8PNy5I+i9xOxq5E/XhB9VPPs5bLTL6ld5jppaPqrJeJEn7LgsoN4zAnvRwruo32oVFJOqmuZmMvGrWfB1ngNZ5DtS1sG9b/GSmLCyL1HkNqbSYhddUlGhSdIjnOt3gupn01quxUEE5dXXa+WWrLUB+JikijPZe8f6IQDo6UNs7bF8qqYIGbyfEMo4XOb+8n57xNZ0Jdl9kczj+atQnlOVlT3DPczs0XmteOPm6P++9eCM4ffixzmdP4fiJkKHZEEDb5FXuBTYaPbMrTNPwkp3C2RI8kVrgWp8+UgYAMm3HdTm3+GCn7WoAul4fcqqm4q4Id9/wI6HUu2lsdU4pr26PoZM04GI0k3sP6p2Le7PYo9CWReyyw7OC+MxcLOgBoUKO/9stMVyiks87xdn8zzA/NHxQrA1/8jm9sBGGgltY22PAAwA+dDwE/Yy+pgj0RwNwvRHt4Os+T3/XEO5agQNT8qSEx2pIR/6ohHJ5Z5Fnze9m5tzdOOXzURBDgSRQa3qAUqLA94wvmPhxtrFERxQDoAtZ52zXgRzhG6lJl8VNpt5xQb9y/tQsS0BO30xs5FKP/BnXX7WeVv9efM4HSzDa6twzKbAjM7kmGqGHr5ZyWR1cTk4J8I0dhqEFGSojcyUjwmBoFxxoPGeuYeKQx5MdBSpLmikw/4JRhOoFFttw65HadLsekpFuP8+wEWWHpkeGSiwy0sESsM9RqJChemK/hg6EhK5jii/fTkwxEQc6m7URcL5AdtVw9THJElki7VaHCI8NBA85IvFE80zybI/0o1JxZc2RvYE4C6ihk5CWE6uEFljxnBJ+aia05EUsqKMZRuvZzHj8V8C5IiYvCQzg1cKxYeGHs43QlJNYILlyOWS/kdv1IBiQedcxGTFdbj3+0bzXq6qwvWrWjY4F6qQCMSwNRo6vqbJsQSrH6dbldyU1xwsVSFEwskTyo7FJLIN3tHTytTfvrlckri220gZpl+PzFPafLs9NQ5qkiWqYrpChNSaIMBYcJRsSJlOdEafQ8Q2y47kXSwvMgREzBqmH+3QJAdcMXyV6JJdWdagFsjA4aAIoMT7h7mK5QOzo3JGwPMQ2kVd7Ce27HE/9zAmAk4w9OoTunyO5mriqsSEwv67rFham6/O4C6CuVJ79xn9hF9l3DXD6tSIAoywC8IZyjY03aszUwGdzUMHkrEUF2qnPhhw2usVn2EDlCdTimv/yznQk8tuGzzmNkmrtBQf5BNUbjKxoK8/ezdIlk4D6MnTF/0zd5LpY1zE1EP7xV1RtRMgyN9lcn8uJKXAehTePtP1CeYQ7Ki8BfPmR3DbLfaISF7D91/22Qb6HwVo42EV5N4IHrcKcQWgSnRSCs2lQyV7wxu9k/WMKntjpgJRHZZFpDpqBow1jhJ6chicTfvbo1CrC8OwH+ddFJgcADZ+fc8TkSSkCTB65DHusGNOCElcehSXuPtNubqepG5B6i9DW0tsyL6gvkXBH0ynAj+nlvxaVTpgMfJRTiN+pSy2ipi6fPUSirbR5M9GNfymbRlQybIpmyWi5B/79HgJnRxUhqSHrGBR+puvhfJl0nCBrjWwE/shO8+AzRauI00e+RNsDk+mNNCc1KVoABBsJfzmdRw/zNM1K7wNIzJTGL5bJLL6Nc8YIftSrqe9mXWSBQ/oI715g+xuUyZ9WpsMQ7wIAwhMTLs0qQhSQxjFPdZFRlpd2sN7F735+a5sqmLokUkJJXBK0lJfYtWnI/uVnGNOCKpLc+hbK625cJVLzpih5p1tgm88O95QVvKLlBrMNHWFWIr8tZyTeBWziyV+QwAHb//XpNyXoA8+QR2qMIWVJSFOkwgUdVKEukG7LUkSmhk+lPWD5IIPG196DqyxNqCEGsEcarSQrcb65O/z7HuBcRmNWZFCHj457wvhAVavObu6JJfoAGcEOzSD8JT7yQKZ8XmjzvN/s982Eu185eXdA5rsI96zC/KQ5nHdyLGmRpuCJKX68VBUftOljXtOtOean0cfNW6iRcf5wjV6SSDiiR57tVUp8hVMWk9zpzfaptQP1mapbtg5CO0nmteIokAbAUtPG3df6JeZeIwloUt7MrzoyemU/YvnusGYV9yO0RsIW0cuBtu8bUSNaIc7PaeiKjWGHkQte6PuWuCiUhtlSkRa5G8VNMLEyY9xN19wkopohGM4mdiGiDmc8tMNb19SM02g3Z/QwubEgzMSl4lBhZGSYfXOseIqnjDs6ypAqSB9ZoGOn8GviLk725gHZmzKXWKtCINKzCzsTN0qAF8vaA3Pb9CoPsPeajmytT32MJIyDT0ONICT0qPTyo8zTJd0y74tv9R9nWu+Hh/A1uKY431B3BRwwTrxJ5Ny+TwpOV1JwqCCgJCvqOxzoP8tLpvgkJr5+Aeu8WXr7XE/UdNprJjDQJ/7s+JS7/YeR7esN+7ULD+QfJliuXpKmTJWJpaMXkaMeEGepi6S1Bdf/GKT3d5bGD6tgBGi/e12OioDagdGhtL0B5cPQgw6BvRGGcrryWX71NQp1OaSXanJQVLWT/l6AQp/58uJzOGh6Jt6KTAvLXMlflcDwC4CR7Pu27YjtTpqUpQuyfqZvVhBaFZnilJtp+eNyE+cZC6x+kIGZ8HXLJipzIsDV52SwUtT36KwO1mAJXd/ErJrcs/FVK4UW3zzMpvxoUi2M4C8JIYujne4st3fK93OjeET9ptcr0xeLLla2HUOUi987KgYheNtpvegsFGmFBlV+oNOpCZvLyiNObbwTj7xDj2N5E1laNhCN6PAjEEMWiobu796thQwx7kj32LMIc/OXffYzvRflFcYHirPb4LQ3OnvPjkG4ADWXOF02ZxYYoMlmoITE3eL26S8Rx1IrwnAfwF4t/KfMcxahPV9BUrvVp416eR4I/k1xBg3eXvBtakVxIB60XHsX0GhWQVFNFnehRgjZy2J7j9DcSnJuMdxreuLSvcoVL/0hZxbVMoToN1SMxSfdoX/TiUT9zzScEp9kkonu9d/AWNWy/bP6R0V/LjfyXTo9L1Gjjv68qPpBxwN1jIb/QqzIdXsQOY2YIG2dWgvAAm1/T4rW+v3TxaFqKkCjmJbuPKqqQR5jZyDGEaw/2ORdleJNcj6jfD0X5KBOryUgMYDft19W+Xye7XNX0u5kMfdh2bsbAvBcdQV0vHNYqoGzwPWwBVIYHEfAMIp4gqI9HW9+qtBvOInnbgkIIYazmS+IyvYZEwtzUOU7BKB5LVxInZ6+5yg2jvLoheZE5Ge8qjygWIfb594I5+oqVW8P4nIpUwJD52tYd/53cVotc+lu9uFsXRtekfBeKT+NM9SJGuytHkUdgMYOhi9v6s9kg08ZmOzC2RW+mJ9+4uCN2auyf+ldj9wjSZjBtLipIGME3GLsMlIWf4DPsojGSJ/9NmZJRRfr/zblF5WYdnyeF818cwCERjF6CdFcZxI4vk43TwbtrGwpGzUBMGnn7xzMUTjI2nuHTstD/RSyzl9fj+1d0kZfeHiWXh0Fq6zsqBlV5g78SiJy3O9XqfwR62BXGbClkTd8PzJxU7VglKxMJmXDnjy6t4nIjkq/UDa8nDV5lzPv3+KRGRb3TXWYsV8sr51GECJ69L88NxTBOaj3D6vroSilyb9ujkCFsKVX3uOnaDjp1xcwghzTVWDIu2PvaL4yNG/9a/x4pMK7P0QQtnrg3XE+Dd6RaFyh+CS25J5XjndrfmQWs2Vez9/WMx6mJMfcDCGQQN2KkVLjbubL82SSGysNI376p/vxDFwomjzHmhwOUISE/eVMFa6SsuE26Z7JGQbMsrGbjG3H4jS0egBJHJH9CHFwu8UXFkvYaFrEjrrP/Ciauo9eWmnQvx1o6SOaa5Zh9liZLJRW8rebAo0O+o4ia2LqNeDEIKb7xi8ofXVoCKWItolsiPMx1bWwvn00GRDVqSEcFvgrBEbbT1k/BaNRC10kgTXlEmQwkSbm7+5Seq+6KIuXfAnB8nQ/UNtysvXA1Z4bbUS0H1hGFMBtDO+bWUihhNeeM9lx8hNylkX/DrwaN/BDbCwwaVCc7kMI4tNWTNOPFMf0IdkLvf0KnCwxKv/jRMHosOBfRp5ShSaksDlyu/UWnOkURWgrTIJ74beoPNkfMg2iQO9EnpVbrSSbUHbLnxGe3jnlgHplvqwsGFXa5JEC/01k+VO5sjf+Gg/rqdHcxroVGk/WIm5afPCVxc95aeI+JQG4a10lMK0f1D+mGTPb/D6EfgFHogHi22UdZ6Eyn3yl7bJQ3m7SkkW3diSju8I4fMeGKMg9zEWE8+t+iqzQ61sIjxW7wtsOxdo0w/8As7MqVhBeQoZhTC1JIztxRjJcq3E+H/yF9xeZ3hYawsD8mQgWPArcje4dicsT+yCXJoIE33IY9Cb2IOEhldTGBNSzhp+wuQNmyeL+LlJDl7XOZV0cB9besn4MxXZLq5GWUM7pObnXdhFS1wFQqkLvpptl466mL7+ZlWh70dacNezSJ/ooKYAiwjvZmLeXHWgNM0lAi0EjqTVhRItFXzCVMugwTAYiBW9Ud/S/ZiNAvBRSR+g0Us+nLGEXBzyM0kPDqbC4Rn/ghtMJGBTcRfoQJ/7inpZ+XXQKdAWQMNdzDJ7kDcRm0YI8ZvrXWkkTEDswyzNUtf8oc4MZmBKav56VL4iU5bgQKY6AFo8+uNZeeO0DnqTTSCjsEEt4QX54N94MNZVP1xbFLdvl3tl5fSdIjFYu3sfQAHDf7CYIs4FWma30oOWIAskFJZuQCbpeoCJPrqGaLZ8ChJbC07xq347JwWwMXjX28CH2/tYtuDWFxdJ1oWGWQvesJRhOShwfTc5ePZpcktNih4RuCCNHRYpWGHKPkfLHEFovUG8wRkX3z616JYd3AVuvrt5dViWc/1hOrWkZj2is2hOwp50EZ9WUkaRIPypWq2cLT8qrtXyGPiTL2KjDVyCD/JMTa1ZjGT4iyo9PtNexjd6P0ay99L9BdlcRhv5QfjkBjDQ1AN7DdfG+gabW4mgTiulDdVhDqMPuMnhmXXyjmv0gS3bx8JR846t6Bdh91UMCXt0VW+DfQkeTA1IehiIn0PC7GBJyZQe/mtY9sKgATXwWRyiiq1G5mNfWx98SuR7wMUuGH0oOom35Ung8Eh3/Fx7cCSkr8pU5VRTdkgivp9+ZRNd15kezYVasHDQE3iowG9iP8MI8lEhJfelvYNVCpxigrB97a9p/+cdrx7KAhuK8iLi5kshMI7MCg97eZ9GNSnBqUKKaK0JhoYipfmes1i1czc51bpYH4ImmyPb7WWdmPzVS0/PBKQEn8vM4KcDbjb1EMBMRYHRIlvg9J9oXXGzPF022dp5/6aQWbl8siSrXdgJZfLk0CwSsMoi3QVPiKxgqi0ZEHU3JQxoaz5nLfQhP9VlS5SBQCs3r83EaBCxh3eGwqaSHNEY/0yXVv24UvVf34CVqMviHiLQ1LU1BgqmEvSFrMGzhz+S+kuz4vgnZmvHWvh1zDidqZVqQkdfEcyrpaAKI/eMtV8v1Ho1gCKoFdsdCPgPGhVxOVjOlTaJG0HQl7k/vRUvCWqvwmAoVZa2ErGuQcNHmCLumOW1q3bPIzBRKgq1905gKU/eiAkqOYCgpBNUezNyPBZoE8zHq6KPGl0WHkPvS/3k+4W8DciyghQWbHPBpLO3i5ahrwJTJvHtKtVF9PcXODJK6rA1CRrnkp8omhl3eA9AXqFKINJbDp1EYk2jDcq1H6p39VFPNlKZrqrDg2/JKK1X4lVOo+mAmKea/jZ9rYFqLRVgdhSnDgZK421M1K+zjuJwRYKytPFj01wejotxuU31t7QBZ9Twz4HjGXbukxuwc5syEECHXEszkbyycH7yEI1NIwmmSeHRa3W4XGCsAbdWVWRmrit4C9cW/x5WTgHhqVV/vi3nfMVsMpF2M1TqrQGFMv21Vhiya6l5Yd7b1F5WR5+DLWSAO2a4b+NcMggI4VC9HFut8xMuhxfH8GwfiNDTVdkHgMLKy7NTWUOv1/cgzF0YxxwVUJKiLbqI9cEA/rrCkmXVCiJ1loI2vRQy5xFaIRy8rJwWbC/5NiMNBgbrasd/nVYpwSSq9hPbF7js9AmSjDmGRNeK+LgnKSoTxzlFLSUgPCDuZ0R/UDiJh3/wpk/CMUSorVE5egt6/Wi7rO8yRIo4Hhfhn+ji24pW9MFozTt5S7Lfu8RlYsDKOPXH/lTd/R+eIH2OGfxlTmAN1a4yY7RebTmNXPetUY0ByPY1yKHSYK7bNpPh6NY2nZat8o5zLOkTLfgB7VG57G7o/M/5WYq9mJaQqI8D1r+nPpDZL+JfbZGkpjjNMFEG8bu2DWfTm3ilM7q3/8ccCZskfG27DIe+IYy/Qqkr8wNVWMSwT8qA2KupKCxbcUEW4mkXe7vq4kKbfxvtuK7XzZdWJN4RdyP6jnuvWwk3IDy1a2ajFnP7rEPIZoDnrhVd14LtaNrKwn7KxGZmsC44/dYWsA4jobAkv68xqZRkQ2LnmlSNJ5YHyVDKV/z1y20B1s5/cE1oJSYMeUyskgykqIJ/fbWspCpEDR6Zop2BFcjOBij/dQ2Kw61CQyWcF9Vzqdjc/8Gt7LGYPc/BdQdlDRKZ21sqe2YPe4LJDvgeqsKfs/vb+LnHfGnVx5qNJvaW99GuSwZGrcIk9djZ6sq0daO9PlFGORiqr3PAW7FAIlpplwXwZNfEscZe6C6la6HzuXyF2mbz6UANIb5+4vri8ehakKLWg3nfCPCdUw02ihfql/HyKZZ5eHdzk7j1qA1nJULIzPkkDqzin53nWkJSvHdHc+iG53ngG3mCvbp0dtHyIXxWASLcxPITCuJy4cNCKbk1Bgro4MBJxmka1k/V5YRxJtWo6PtkNp9ylbb9zQQC8MQv2XYllJlLuXvmM/HjGGUHQffEPqCy3ee9M3JY4KyH6SqouCGnD5WIvvqApkJ7EwfDuOe75prO114Ysc7QHmfjDgTaE/3XxyFkWC8NRKd/s40GxgblSUcXfHbQnuOzxK1VzVIdmWuvR37gUFll+IchC+3J+PKjsumuuHyWOjI1tLXeCXOBqkO1tlkB5BzjzxpdZhMKgNg3Nohtm61DvXu0ynmMG4Gs0DpmwF+zTKv7PdiOsGhHSfnDZA2eTQvWzCUWK51SWeTdIDkefklEZSJXgL5tQb6axbQz0Q1N3c6fDoVCpdnjplfZ1KZcO/p71ByzhYj7MXmSOdFx8JQlUEeO8VsMloykULUSoNHVvqxKuxZVVvdGPz59w4YCmYSTcPUO9kjxf82BWx95MmjHT8BEzLzqe2SFR5YhzbZZSPV0zcmIsWI9tQzF30JS4s9BIZ40+U2lQtWVDX2TiA8QZ8rpzXbzZ/qZxgDAWsgB8oxmWlNXVlzSHqvJs/GdWkPhemyF/xDbPJZiV0fg8YmtVz1kBx5zKdkXU/rb5/bdIa3oHQAMem5M4QIcKgSl3rspAC3hNjuKMgbapPH6L5m8wy3qD2dKPpqTEXriVDG8SjbzyudPf2eDH+vhkQDCLY7yUV5/3z392KFLfKs80U4uakK+WXCY9GksUbgZlZ4NDiW8oz0Y76vkNQqPRD4It5+NLN+XrIjPTS39HnnbA7g9XKu3XcpUNtEgwO168O4mArJoUNuBiA2Pc6JPd/lmvGjkD9m7Yr+qJhQCdyoCra5M7s0N4pmPKfPQYpVYo4W+27WAY0e1Qw6BpmIwN8jP+wHClBJPYU7IWWQ+EXr17VaoVT5rMR+y8BuFzW1qjvExqidm2MdANUzDXPWqqRNNW5jAwS/Gw4J0zXNJn/xDlIjNxF8R1x6EU89XvvwQu9ThzGz1cZGNZrpNshfoijOCptn15RcomP7cjXBWU3zmthKjzaqBeOQ3CZcHP6Qdtg0wr/RgxMjS5coVvySq0syumoh+IWPKq24wzgeLJWBeuS9TePxDd4e3cvr/AUMrgIkOUaemTLvqQPph/jUK/oWym7YSwq+wI0kBpAIlxbHptBwzZgdtYssNV4wtwSSp+IfEFsmqumIjp23QmI/7cF92UB46B2tKO5uixSW5EF4ozvObBZk1WxX1nxGVNn8dlIYwiccgx/wetWNTWx4PuhsLV41Y0obx1fegS7ZDXAjb4RlePKuh+Vh+/HMz8UohRrnK446RQHbZEI44edCFLzG7fE7Hw2ZMNmt0HXtK6miSnJ0ulLlx9d4n3ujjGVXNVAS43sfMyBeDRqAAciLTlFB1Zq5IHr4fuuGNgh6VUH/0nWE166Z+72HATioCh0VqJHSemCYICmEh47vcw56p0hEDZWkvfjk9z+eoD3W30q5DoY4f3+01ePJ0861GdBv8Yf4uqom1HovJehO7Gtd6XjIr4p/fshlfKngl3CHeygmKHXQQipHl5cFUywGG+E4uwSV03r/sIt0tFcMVvrCI8i25vTfEZxwyac5eB1JmM9ylXtX7ZMaLgwmhDuSzH6Ob/gblLcT77By2UO5FTH8Z2JgiGU+ZANbZGXm/KRpDY4/61DwoIAfkcWB4dbEcnh87jsueOz+tyHS9w/LWyBhPMMvKD46clmUG1NbinKs/IMWTue4TGuK6MuKBMERpy6VW6it2jPFX26nXhrYv4iBLvK02mJBAxhNzX2MnzP3hl23eO3NVNzdho+LoPL3EqMVGnaBql6kV4oH7V2tJULVvLf8a5P3UcdkvQQyHwhlMkBs3FwaEj82D2+86lwL6g6j3fVhUF9hKz7tE4ntWf1G6x27ezEef1acbLnTEbH96+vZtz3EVcLG/p21H9wEhdEN54K1cQ7YzaYuMbWCpn69hqQHWf6+Hw9NoAY8PKWhbyLYo"/>
  <p:tag name="MEKKOXMLTAGS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RIGHT" val="True"/>
  <p:tag name="BTFPLAYOUTENABLED" val="1"/>
  <p:tag name="BTFPUNCROPPEDHEIGHT" val="472.3416"/>
  <p:tag name="BTFPUNCROPPEDWIDTH" val="585.2665"/>
  <p:tag name="BTFPHEIGHT" val="115.668"/>
  <p:tag name="BTFPWIDTH" val="254.4964"/>
  <p:tag name="BTFPLAYOUTANCHORELEFT" val="False"/>
  <p:tag name="BTFPLAYOUTANCHORETOP" val="False"/>
  <p:tag name="BTFPLAYOUTANCHOREBOTTOM" val="True"/>
  <p:tag name="BTFPCENTERX" val="64.32433"/>
  <p:tag name="BTFPCENTERY" val="36.66667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1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aYhHdubK/b9WYMbiqTQFZNRdTaHJ1Coz+gznC5J29/l+uni9WCTqRMIgVGBy5FSCqTCP+Vdrf4pg20L7fH6DBLCUQPEirnQtbpBHNoYBczTAjyI+Q8sdgREG8v3HKj7eJNBIgJSMWMn0emcwEVHj1u6frAMlnit+99IngQn8QIep/Qhr8jUi1LO+/o87oAKNdTM6HxTKJKukgEon8U9FN9MjiMGwBafZuJU+WqCFQVdev7ARK70uXYwiD9qBOT2xEJ53xs00Tf/E5haV1DY5Jejc+G8rXeT0UMHAoqTZdF5PTimqNMQ/u4r2K2rZiVAy65rGTsAipTXkzOj+LqzfpFyxzuHfdAgpd5blrULJEbbEUkHY/aRNzy0ScR4x1wCGSPkmeweMB9Dm/3/8Mrt10/iwHxYqplUSlOppGPAwHdE23vTrvXeffHIihxpXMuja76Q7971g6fN9n4a601FDUfChrAkCE7eYTZ7pxP5bZFZhhgFbUTbJzeewKetqJ9rqA+m379t6Luno2aYHNs51Tl/zc98wI1a/sB3yAPgYQq1jG1LjOkFBR9Ss2fw9Yc44HDXV1MCsfl2GrawLKcatVzQMAsoBkA5ZTKU6OwDNh4eb0lA7+NCWK/qIMp+Vgb0QODxN1mnAyVL/O6XHGg5mbLFEtEuxx92HWv20p/U4XubTZFZHfhB/hU8AxD+V0/Vn1ASg9PRy4A3grSG6SNrVyZc6etBg4gHZfUu7hoWoBLXGAh9d2mTMByJcWGz5wcNCz2dP6sjtNR+bg0zkCba66D+vCprydLDJ5GVfpR2lMBUofUfNf7xXyfmBn+DE+FNDRyJH5KRm6pg/rTgylh7xZ4u18LzCDIOkF86I2Gnq2/X850iiARU03EFxMGPgZ0bmCjBUS1g86ajwIKTvww7B5ZklWm9ZoXfvkfSshLfAIKmuH0RLVYHQi3y+hNB5hXLRMEk6hxHCfbnrx/hTW7oB7lhDRkniJHJRwAGd44izZ0sjZ+4+xcuNKR6Cf7l6lTsi3XsXrc4rdXkYXN4Os4oNkOTkMSoFDAnqn9X8EDv1bvlJzYJBr3PtMDOsA7ZpfLJkOFgs7SWUhPWXTbbAMEqCOQFk9GPNQicHA49gyuTIq+wwzS6OcIb6jgjELfRgW4r+FwNQy6jbexuAe8gZE1MYdPotQjuNZXMF4LkHVMLFZ4nENNK4pHb0gkv5W4m1IyfRNsfH1tggoob2Nf0auiLhoiwPMbZc+mPi7riXmFMTMLOavHC7vOS6eFYvRbyMXHWCQPymsJAjjvpbFmagw8GCCjCXS9MVxwUaxdI61miZoOA2SdjDKk5dhaD2jivepXV+CCRaErgrpGkEwBaQDUW9HVsaHOWGwKbfmCMTYniOYOWxO3h8fpETvE816sjWgDvA0g0tUxz5yIfZRRZVXzFXXwCX0W1Ra083ueNJ5R5yFiqzZKR+FFLA5noYk2XIA2+BboTcey1LQilefVP9Y28y+OF7aRLxOGpIP4W9PAbUDtNbkJSDbH2TPNpYbRVtHu0YTUfDJRTWv27BcZCxs+XE/hnLdQZa0/pp9jK6NRaaGZUWKB011iPgxqLTShZKKQr3NckfarpC3JtEbdVSckU7xyiTScywMfCsU6lhxh2Cn2jEsK6dnlf6Rgypwm+bwa3VL72vVcmFj8nAogMJ829FnDBNLfMR4Qp6mpQrB3n30NNJcGKzrmoMMUVOOED5EBzftxuKrN/Ut/++P0pXU4VU9I+Bb0+quRMbEumXFdHHoIDVq6EEO2N6DR8gAB+vj7iKhuHCcCOxj21f5cncAqAh3T0WqEdgNrQS0+qm01JOKIIPCJJs6J86dRQvSD7pgfAH2Ps1ioe8/gFsDKrJbSPgeEbHdlcTHPygQZ4DpwxI1LDrE+ddpiPV73xg/0ldek8DKgtU/M02GQ7cUDt+JkOX0UIG3hcRySC/fSx0z9MqWUAjHswKC7nMJViwEURAoqe9zPewWNkiMnEAa3wILXfzDrkuBPrABamr9MBjBnfo3/i+k0ygdqL+b1WlGvXFB+0IO6B11FhuCoMCoQkROoLdRlB1A2pZ8EbSmskYgPmTLektf8hH52r9I1QeFZGgGvGc8NnSHbkdn1tro2Bvzy3feO+T8uyH2Zir/AgEdxb0VAwVt4/bb4kBvI4veEPavJsH7DLC1gSiwtgxHuIfFmRrLuRZk2G+qaa+hhTB7hvtrzfaGyDQSUUYI0EUWQrrVFATJ2N/TUpUD69oHOM5f10JdGuQsd3RdjQpW1d03DBnqzVsvhSY+mupnkBG2MEi4sNjPz2lKNk8fLgt+A6zafW+xEN+rT20nyh6Vzzbp0MH26ToNL1UZF9b08cYHvG9m5wLJGDxqf0HBa6qaN3Sgx5VTVeiNVbViVwDmzyp3IFHDGDcMVv+nXIeBlEzndRLXt+rRtbJ4PIt1WRRyfNlr0iGu48eaqdfpH1e00PS4dEJgvfHzwZ5ULK1IZp08jfKkXm7APIIwrMLaaiQt2ePIS77OARh3duEmgiq1iKlkLDkGwSU5kycKics4bVZqqGXhcwLSyOevCOyGqDmJr3ThleK0Szn1YS0B5pzhDhyfZRh9WViDOxoGAaTx9XHLMO0oedO5yTFUPDbwuUaa4UIz4f1zoI2FjVvUlYGtsKkXHxP3KjNS1Ep25/nQaAI/jlzWSHrczZp9bPEj0DNEquxzCVs5NMYKJXDurHks6CQ0VfQL6MzNvtXUslF6D0s1WnvzN0uH+gaZSF1BMiLG+SlNmnvFFd8NHEm9IoBMCn6B6aK9dsstIJTDF13C+bGs8konBm3Wypw1ysmvUjxqSZTBwjlUJToGv1kwEbcoCSC9NpLvbp00Amru4KEY43bVPgyvFCy1bMY0wFMv7WIpz3nACfOEw3qxV1AqKy3Ir0u3Ty6/2McC/QZqhCCktuLpUX6YLLZmFppcwPHovcQkVvJ4yQZyM/rL/rmiRkzYjREoqqe8u4b6ObQFyCK85lNOoE0B5gXPCzZKLoGgfLbpp8tWQF4WQreDYd9CHs7TYZ4Wdl4upCr6yXiTxDDW/ubOilqI8mcZITRkmjq6lvTsqxWdaJJtW0cRZ4WacwWa+REOmE4Dbj94tRCAp72bud5mOsCXJ8rTBFryPP7pQ1rgzcEfXuntvMm47hD9GV9qmrvkQbiK7yKctg2s3VWKPEHlFQz5BWrWowu52P5Z2pMQTmYG0mteXbB0HOMsyYGV7S6yqjLztcuN1/OXSqJLSC+O95TCPfS8h9jbwqbhYpWrgHOsuh6+NJamIZ768u5IiUIbIc/4ED/q84lodTHB4HQUwvJwE172L4nyMrHCVVsJeLDzSv/XDd65njbpXYfBPh8Tvi5yWrvXi25r0hvivjQ6x2ukI778e5ck73VN+NSob0Zuw7ZvzYsht0cMBbGP/+FF4JoYQi0iuDp9qMaghRhA5ft9mzDT3o3YFHPQ0/r3pSv6XoWmFW+mm97BtnWwwxBOQLBdAIWQXqI590leTxDb/5DLkV60BQu9huLOZMW1nv5Inz+gBk4RKnb/cAWivAId8JAy/lxaKarSdOdpPsmWsxY/pQljK/aS9W0mCwdBe3vDLePZ+WPBphI1/vxk1FyVzSZe5TCzryb/rV5X3qxUaCRE7j5mhex1Lkf+tnioKteku8cA2R9t4sYovB6YOYoIXTLHgnMwwiArQ0IBf9KUCz4x6aNWqKYeRRcJrnwaYfvu8JS7/tscpQbdeqiwtKuUntnBgycSg6OZTPvNTvuRObyZG2dYGLmQFswp3cGEQLymjfUSHD8uaghHXLMD7tX0nALpwlYpCiX183qJ2cQ0ouh7g62oGDWVFOJbceWeSeDZrQsUw+Y0RI5TNO+1+TrzkOrKZQOSLC08RRUKyaSFmMbQ9iH1MlMnV9t/sCqi9kDpoucmg8Y9ycGYFhVC5HDPtj/L2aV0WsAg2T+ImgWkLXYlrO3e8fgXNTMdzRT8y2f3SgbwXOnQpOQ/6irEh99nLMN/zsvAXZBxJWTsSjBbj4kHt32ZfBZMtzJSl/DBE1+vILgl4PRURcUpUymwmrd/WjQ1L5aWznj0G5grlmC1GrCfeclkF8Y9IpVq2FWL9GDRYECuwEuttp3UCFm9Aw5KfJRwZn362Qa1fr+x8eJLPmd2SKNcSVAwu1ZLsE+uDGldIrL3NY8te22UdYZvKe1YSQL10NxIvNOftB30VGhJXyCjEEmLC7IHFPS40Hw9dQp1T1K7Sl2ho5M6CwhH4R+CPwtORBceSoVm9OQRq6qBg9f3ir2ZyENr5vmlFseczhrw74BCGQ/4qS6MUeotdKgq4r0Blv30DysY8mowXwjWk9IRlKNy4WhL1MK+aAaIV/2lI1a4dAuEj4zqxyQe553z9RYmAJIq7ykHEspzvpYtSrQkg3OI30HocuHILOqezcFZBZtKjb1hp7+93N4ELy9jCHnpGMl9ar7G/3bEpPQ8UvDfIoxN4sGTxPaeZXydCr49FR1ZLIpDgp6CvenYY08bu/GEyIc9UYjJ/CTkaBn60WBUWzOHYWmn23LYttbriS9P04lLgfDj6nqCnHVnI9aCvvIET/DL7hnlqBsPYhEXeVQnb1MVFulVgaujeeI4xe3i1YpXqLl3TLLMw3nKXy8xJ6Fmh9HRgHFmK8g+KCjITd8BFLmVnavbi8Vq1d/kZlwKlJdFhpSDvzogZitY2H+cw2lLefQcsc8y2mF0eX7bJnoES/m+5y7w84Z64UPikWsB1MsUAgg7wwS+c5hANp9QJDdkR2WYFYuG0eEPvziLbNBV/+T89ZKEYmPwKHeG1WQUMxJFBjBrJn8DKsH8stZ1b8gs4dpMFAObFS4u5t1gkcN5wpB65TfGCLWNQmU4DhtphdyrW66RbbDpDZpcVFJX5hC/QDT2UbpZhNSMoflECsP4ZG3qObc9exN2oCoYqEpiiVqkkOulEoKVEJygqSlKCZ/u3343MOyn1BLM6/zhCa7NHVuj/N4ppLhax1a8pCwecnkWO7TPYKaAH92m4X26DLwEn2t0EHLJY6kd0WEjzdyOsnJrRUY6ouK0GyYeXtFKBWKNpbu9AofnEdl72ip+3vRj9m4gDIiANn4edr+eYbdLdH0JfXB05qy2EzXJfzCTRTtn0JfQIu7i2knEg7GxscAV6EE9cqcbwyvY9nMyPatg0sp866doKMXV/eKnQbm08vrlF4XKCCJoTUZN0opG9OlpPHzIEf5JqZrBglemP0ZPQ3xyyGHeaV3SjysFR2To2UF21O+GZ5zpEq6TNsyF1rnInh15l4wpjdx1aa0PpfgAneDc+Ch4G7m4Kx+xk/HJu/73pZPK9YwXIo28ghUbhTnnDSxhPZh2qTZfeOEJQYZgztFXnGeG37GjNT/IJD8p+Rzil62sRaSNQcT8gqn7GYO0i2Q1VP3dF7DS42GrweCOigFCRIlDtTh0+BqUgAs/avjbUQggsPnTqJnfaYrSZkqo8O4Aqno9eWBIsSfTY9dte1oJA5VrMO41dXSUvy8LIHnLaMwoBYwnbh6OhEWiJgaAlqwQR7RUGKiHM5p8fxC7okvQCgukBGw+qemOhiUUtZE4dhfQ6ogy/cF0gMyoyUZjnqC6Rm8/A1gJp0Mvj6Ge103roli2LN6/ux5kKFyxbXoj4JOHr06xQSlm4M1QUpVBlsDHZPCRkctS6QL/RHqZGLeEBh6LIVIN4duB3ehFKuiD49yAgVuL2gNJIAldo4V4uZtCgEnIti/z42HtNRrslcju0ze8qs1KT67UhFNZJbMRdYp8jyR8DzuTRuol83T235psoXOXBAvftIEMBbHVidDrAt43vxM/4iYh+rRTXYxWpNsL3zCyveY3Lgvc8L1IdxvqaQEtklFtAtaJPqHAFFN4sEQy+pv9katBkRPibnd81/GzoqG0zRXUryvNcLFz1akfA+4VggXwtjCRGaHBdyF9vxHQE+hYhhWQrkFk860tSY/V3bwVFR62BDjI3J9a8WSI8OlmjzghcXiJxlvLwiEWnvJQNrkmB23dnfW9eJiXM+ZqZBYbk9Me06TSVwk+kXFTL4HwAr7Q4Y85O3tCXmnwaPBNuO7mx4ERu7xGZCNg2MBY9urPd3wE9teWKEiWLSiXfU0iuI/PcB4KepR6zKlZKQvEKjWYCbt7i5QBc7zUDC0KcCuoSCkN6y4ARKUaR8lzYs+fZUS6MIwd63yPWmyBD4nYzVl3os/j76qwlhZV8eKY4sXwUvVFV+LbXpSlb1t3Vg4CnjYywHzxFMvMJs1to++LIi7a3AiQkNuzxgjoF79Yojss0tG7ATphfGpSWSNZfFiM/W5WCBnSRnzDhZgU4t6vYXbKhytazxxOFJMwhfzJ+Ii/a7yFeqqaQFlXEFwX8E2mGxOm6pLfEgpbcAIu/k+mLtWilXdJkBX6STvntEMW3iVy/isei9RO7p5eObCIpBj4b0ztAT6b2jnDLQtguK3O8E1jz1AVSOuTPJgZcF5fomOTS/Q/h1sk8a3oB/wosyh14tMSbBvz4JWFS7P/nYCt1zAOdxIltEuf8oRUnwtCIzaDGgFmPEz/dRzi9ZUk2l12X3NhaVaUy+jmWyTcEIhDpTuzeydXfcvvpY0t2ztIWRpcJqy6dAgY0SeAWkQBRDfT1lRgQ0PTUrP+qHoJyXfIbF3jorYfPMeq08eY8t/5KOb8Ba8CjPE4ePtdLpaXPtmd/6UBkq+DnY9jTP8xr+8CIvyjaMDmE8wVbrBsD5vFI8qSdXWn2VrCn4H/cmA7NyzzzHPquznqVAePHt7FUD/ep8yMbS4KkOSePpux6hkwuuxztuTTw6f8clY7lS7L0V8GYS5Y95DsdK+JdMIxphVamj43CSwn5vL4pQSB/+BJ7QSGJ/Ku3SLUvztW8MHrYpavNslDFBkxW1jnySVqc7S3j4YOHF/n5tsHzwqZ8MZ/tnbOYEAr1/EzFPTmwuGo5Nl6Z6bc438N7y4M3x0p2GvhL8AzkU8hftuHuyXvHlepQ+gatFgQgq5HtxWMuoeP3fHsQJGeOcmbAi8bH1C2shqFjm/M+L3VgKbmVNLwDHb9aPJinoXJhWah8Qm2eOKvbr+c3HL/mWvw60ndch19HeSguB59W6AMqJrr4K568mTiytqvS9kZUEtpGSXvUWsns72Rqb1VJCqG1tdYhXzzk5UQ082+0JtjMj96vJI20kccSK/0aqaiR4dpqsnI+G9+TyCEn0xCWfh5hFaDmO5Rx8f36s7NVcKYVUJhibdfE+fIO0B2xrcCNhL2vFr0D+an8DEWqPCo4T0KcKS57QPzh+S9jsjrgzqBDm+F9K4L2XYkUpYoxc0BRmsCZU3X9Z85NgXQ9uhbDyl0N2/vWBGyliP/t5cgvB+qPc+myy41ZFM0kTWdlHJbYMmGi2StTvTf1mYosXSF6SoiwfUoBhRaqmb/lRTz6b4zdDnVkEuLImPY5Z1Z+Q5PZLmiwN2VPj2zeB56MoYDP1SBIaeuQRY/Xt9YJhtuYhWST5hrFyvPkGG985wTiSx2Tzxem98xCGJbpXWL4FurIUMAyBkdeTIMoaQjaH4pL1LRnMCeERdZh/Yg+zSeTRqD+qHur/XGgNpAH1Hj+53oGQX1KQgAT4cc4a2GMIQFrenM0w67lx8SrdvLOPULjB96XULrt+g12xJr91SAkiMZDnnZ/MsZWjUt07SyxUff7y3othDw64rHpwKIy1Gr0kC7oKmG7+hGr5syhkHol+39zduX4UTaOapq65UYLmTSplxYBgWtj7GlHUYnJH2/GYMP0uVfTr3mFWid7WH9RZelEk5imfvW30nkQg6lmSOcs0IPMO+DGkGoNw/4j9Zg+ZaWe0d/rru9+kp5LxF2SDoO5BpzI5PHHmFKDz9Y5upSjAcjlsj5gAx7FLXMXJuLBF2qNhd7FIdSoeqNXrMIh9wXxnMvzkLh2vtrebNQI9UNkaFGnPd0czBef8yaZaOsKwRo+gTakK5SdU+hPPBpzTqX2WO8cEdsQVaA9Ut2VIsaWDXhFpVRlJxJtF5UERLcTrPaT/yAmN53T/BWp0mALh+ItPaFKApdn52Jkj4FXOMZzDywDI6HTAP0K/0S95ukpeaEMsYU/bKWlhAYpaV5k7Irq3AeXMDtIdf7UQyt912JNvcLAV3CrjPj6b0itphdFcklnBrpjfdAWN6Lf3NMlaaAbzQhe5NAqUheW13hCXGS0ZdttQerF2PPQYqEd7MA0yuxve5UG3DUvPh2VDAN0dz2qw+H1WLUk1AJnp68hAEzheUD4Z2WCcj+mb5QS6WrAAJRK5WZChMrLOOT2b5B1Cw7FG1coGcfwvwM9CCIr6DmMGKMm+wwWGBfl1unYN4FVhLq+4FoN0BLpykhy+dDoRYKlgtu+grlUcWPhiK1W7eKULtEvC1s39wv/Fb3gd+xXrC1ji6V+A44hHs0a9KcCJK6SmX6+nMLHhRZr8Wg71HYT7MLw/mr5ikyc2e3aF6sXGqfOkAlLwvZKnWYTj1PGeIvWFCrPrpFDvkWGQ5yzW30hCXB9jkVvIp2zo2JUPrCGVfR3Vqh6cBIBe5x8OxP60BWgQ2QXhPFMklPzHNqEgiJ7ZQh8PsnEtITOp6+FS3AvlfcaKqS+afw7YkNwpZDinssdLs4uEeDselKqh/FNNtV2rR6HZ5BkBIdWbyOzkPfFxUIcEAGr5E1Wd+TTstVB/lL1vWKwm9TKbPP1WgSfEbGaEXABFClf1WKYZFh5plkcBNL3wAJfViCitmBWEqRLUCZTwE+HZWJ8XnwfljP6UHZNOiurB+Hg5JIt10f7Qzv7WDqUKdn++Cg/KpJz90ow9JT2zK0NCqA/L/jB5Cc8p34cficKgzTO/qWhmIkD6/LzXWxmTqo5u3fgqgnLIreBUzb2bR5lsWwdHUAuct0X/kWy5iBdPvAPltOHXAbGLKCLJARWTiGQqsWy1q23yg4u4l905i8KBxmPeUXnZp6weTkXwgLxOHExLI9VjRCsWSjl4Gom7FM3p2uYpFri3HyLlzlKS5nP/uNgUqvNsangs1HdET8qoGFNw/LKPH5uzbaGgy09QanYfvgR3jTZhiivoCMugZI2bsqEjKaqAuc3aa6wWgG6dtJIZjneatK2aTTsxsfOUIrJjiR5YwEz8QSYglQJwistom9iHBoNxypgZqa5fgU18An4lWPe2KlVnMlQHdfxa5UKtmSGwuEmFsrVxGCbGqOzFizLVpGYfB2xFqij7riYrc+ilgRkW/IHSpiKirVEBs0Hvlrp+0JIEh26XOoTJaGJX9zDuG4xSeoC5E0IMF+hIb+StRKRr55jEovhO4EUCj59h13/IGjCuXEQPseP81iMXotSLAhO9GzMFyLCeu8z+u+3bvcBXKT9MwNW36px0NkXXJVyP+0uE8ZRhecztV24PQNB1OXy2BuQjtskGRePl0Aw/FSzuVyUYQdd2ytnIwr4aJOyEwk0XBC4q5DiW9E/LKsmjLMDKTwb1eUnswF4k9TncCuUNQDKlZWR0hDanTHSGHxL8xhqleZ2I6IgZfWKTj2rWd4IYWaNVut7hG+R6DVYSvFyEweXSTY9wMydepgJ9EeHn6Xq7L5OyO5fgHoxPXI9TIG8GSSezYhZkffWD1jS0BuwS2tQAc8co3xq1b/fi5D14FbY2+rWyRBQD3tSD50JEfISCeyAynEMq6RBzT+4BVznNeDovkEtordZ9j7MQ48jftfj3XU3MaKBicPKymLbGBVQ252QH4BRJ6YqvBpRwTfiMPlT1S7R7J242LTIVQMgq7s/GLG86MLlw6CcKXJXcB1onLnZbyNmR1IfuTi2T9sPApeLkg1tzDdGnQ1IrSI7u0sc/nfJPrCNKyWucEbXJpgUJNeRYuVr0BokNOjjGYPQttrHAazOJ6qCPLvHhZTnuP3H7vS1PeJ3qlZn8gOwId6utrLmYIQQLeL1VoAgFsXttU27oGRTnQ08xoZ17bAyTFl4y9b77b2HgeShopXxc34oy3yf9tYX7B7tqKWE+mx4zGyIhRzpyfe9NRIfZ92X3rsKwIylU7i7Vk7472Lf3+FO+xdCIQc0vrfQacOB5ZAe4Auy/YMHBY+/UEqXoztH3UFEXQd4anHmVj4XmhZlfV4XAMLPy8VRWdu6+w7rrKk0p5tcKKPX4l97Yuw/1tWDTccn2RZ0rp+S0FM2JWmV6YettdMS8SKlEcEIFZQ6lLU5YkwG6EjqgxuooRhqW/lF8lf4WLjpyeqQ6jiZ3yW6a8eSVe5m0oqyeG6eob+gVNlGWWsonRh4T5+n42hGUzw8Dt+RTtizlggfg0awZAeKgk5FjtOQaJZIZQ0TAdpo2NXMYfFhEmbHMxTgfLGsEAecU7lJWukZdwVmZdxpG69bmjdkBUhyVKyVMvcJbOnp9h2NW337X7aFYBm1ncTRXtu2UEWk9Ly6OLrrSmQMpALRvx8iVxydKCFihBPG1R1r6CB5ONS+uLim1ltYLK9u8Vay+Fyer6A7Bqb/aHCBPdf44AF9zBaLjlzAOTX3+TSiuxoEjfolTiRGqJePABGJVQvV+ZEH/WZna2ZYKYl3x3dc3Tsmluy2tzgIrvjHjSNvQm+WK3/hU/D9/Uan0ZqB2L5t7xYKzQqqaYRpOf4lgTaBdSojTAqq0qgoN4RK80F+N9q3y18Ht3jYkzeh//g8fLIiqTIXubDuDJpqjMR5FDvQx/9g/9UD3vH9dmnntNldlOCU4QvWWeW7+SJZa7OqWwXJ96BYQ6peveuqtK+my50J6MrsL3t04jlJ21Do8m3fuJDsa/4nsiAnSpTEGZBQUNyJx9WwXcKqeLldD0fJuADnhQgP24XIK4o1xoSOJbx0d/wLu4brIALXrZTR4gilnyrXlx/EkV7JmcfRbqf/rScvx1/+xuobgZdOO7oT0czfpj68rixrhYEsGOiOY07U8PaPml8ghWtlrVUnZfnq7QPpRjfwdHXdCBqOVVyPSLq/SQefDtxWOgdzm8aInaSeeE79Fm/3vmZfo1dRSQaYy99RCm9gLStdsY16zKgpQeTTFeMz4raDsYt/PdtfgTnBnKbcLqlK/EROlxnyRIgqKHtpGJ6gLhH1IQuGw6WwOhQ0u4Q5l4Kd5ok46q9N/SVJX2hBT+/XGw2xXyQFwsrwdHZzNH4JqLaU8G/MNWq7hp+0NuA0+qyqz3P7d9uXoaxfFdx3CPM5L9r08BpUXc7oZ1bvvDj05P4J3SLR7+0A4ioUlFB7WTNAfbGZMYMtc5imylTvhhZFLA4/7fUMaMkiLgdIbVVUgptpU7RqCFdJ95qOaTrLppi6LIgIsOkt1GMoOaAy2YC5Dlek5Gi+WjZGfvI15nR3qjV6rnOVGeN0EAfmsA2aPqnZs7IWEdw6EnPzDR5i4ExNzjATgkVzEh1h98eY41fKqVyTbgpfIVq/r2W5LoDUMkeMl5qxb3MBPcUjzxD3wloLQpVvPGZZeX6zQ5pP6b35X6XULB3oHLyVyhAfWOuoEKYQv0T+WNtX1htWI5zexPN/5Bngc9fX6CdLkMCx2GqfVhrcvPYfOL6ZKdagIK2oEZRYf7ybRp+G6LsQaQBbp6ssJ2YyGVTl5p29k1+RsfRepjT91YkEYwLySF3EB9XrL84TltnFKIkExM9ApC1GzFia7xXknWXusM2M7xffkzKnT+KW5dAWEcIYbykWyHiFaDhuM/dqyNGLMTW6/YUSr7XVYS78FlOEPWYz3X3YqUBHr8lvH6GjF2EyU2DzLPh4rRibxGXwO0hYDc3dCSp1d+r/ek05QLVWLDs0mB3oDF1qaPZA2lLrD635OpLQayq0DweSJezBHkWNsR0Xxo0hVpdWrIQtFyqB79tYLXOZsCSpDXJqAx0TNEez7BiHrOJzHj2uxOUNQGqGh1o8ZrbYgEAN7woPOQsOx02S6G1/ZPFULxJ8wn7g1aDEPWctCsgfXZrtT5aNT3sxa5/28bAMdycmJp4Pzg/TbQnyWUseNPZS2zw6sLAkG37jXLHDNtcKJB759tIotknHA663zPS1L1XFWAH/k5b2NDwhwNozb1prYyCma9r/qhGU57vWdEc/GiALNDtvQCxoGW9ef88MGSt91YZrNqVNh8Gtf7HsdB34t32kLU6l7225xNWwWME8P8lhPr1qPJ5RfaDLlcqHDjED0pafgNgVSURZfxmaiyifV7Ayv4k54mQjAyBUwEOR5OGEutnAfPs7xoYfRmz5ScXU9xFID1whKylyGMLv3yyo4FkMBmv7SS4cR1hCtOjgB+7MUYNxdKOE40E/6VnVdeJh8dZYKr0Rm3NlFGN0PARs+3zPurxgb0Jpu2N6998CpCV+PoAPAW2asMY6jJvBDfQUGP20QpZIubhrRVu4od9+BkXjhGdfsNjQsvoSQaACgPxiv6CbAK3qHeKn43yEYDSb8dOgrfTEsc9jrL04C/vQcFTAvHK56ivEYU0eeyEWzGFODHotszi8zlxb0fm8EBo8rbJlQyl+JzM8lxR+6ou7Pj2t0IOsv/MiI6o4dw3b9XzibEySJzT9cI5/fk+cBA4yzCMVPflqzsxUq/44Fu5rqjpAQ7WuG/T6+IaE6boeC9qQMbf1arfGxSgYkWXdGAy3zrIRZ9YBLfzBNds74UIVZ7Z/2I+1vcWhUM1P+t+K82nk1Qa/JQcUgRAcQYme0Sw6IvVfscqizkPp92xw0D7J6ML4rhJSisGgJLmZJNoHHv7lx5K+/dYT9Z+44trjyvcljdp1FBeKJm72N26mNkYEMBgls5HjY2i/aLukNPyfplvslJT9RRTH2jm2NtjCwvaJFkfbgRxI3w0kXEPJ9Gtvlu2PqVF/87lKoxIvbmJt+7AWPW/c8B+TceIeJ303qGz8XPzrrPtMB9dAp1/TSPvcs5w9H3xCt/VGCYGmOazYweGhXMR1kJ5GRyqsWyA1KVXt+5RQerpkSprO556i/gXcz+p5h/DsxTqN9ibg2DkQGsvK3GLh7HC3WdQLFqodLjZ0U7QvAAl+zeRkt0zutsUJC/GsnmFFqieZAhhrtG5i/UdD2/Fr6TuYeeK/U7fcWsHUQOPLP5MIuaRXgHRqOnaZ1x+uz/yFRsbZUWxhJ6LiMamlYGSAGFUbdUhT3Xlf5M4HndfFvgABtmvDjx82h7l3deIsVPlxKuI3gBNfbmnsvBl7gE3Ipqu+upObIwStuftjUFj1aqN+SDV1P6MvaNET892nFvvjOGpe6MgLX+P48RWLLL1LPKlHWX9JCteWZlJiIpUMy4HyFnbeVPCdhq0/JiGm6AOcje4QaL8rTM/IPe+NfhNe3LjZp9Cvm8Z2Cf1Goi3biCo3ha+WfFUv6ibtG0Y36UdHIkpRnDPLPWIRMXHDEOhUzg4HPF1Nm7WqYkfEs+vFiPUPQCNlC/qxRszFUbh243ImFbekhsnlKRxkUkGmUInv2Jq0Be7kze85oRoIyx8bq6JQuijGR+BrQ6NDYd7gns8K08xwLel5vxMvxoHbVWTzyTnPPnbonZfquAbTqHoAYEdV0FwKW/jOZ65A3dapXqdfXUejXr3qn0JIYw6bHIGndvx7ybeVk9mCs1Z4QkUwYT4rERxBLZn+Ywc7svCi54qCEvY6IKd/nNKIyyd/L6QuXGUuv9pFHim1UjpJNfAEaMhD3+blahIT+oBHC9d0pIwJSlbNKpCGbVNn6/zizeq6Tv4pxCdsIroKHr2pel/VNTuA8EiGfMrfqNgTwGja3B1eqgc3Gm5y9Upj7+zEG4qqmGTlCNVlhrMb4m5fmX17DfOHQh8ThIlt7/kCKaH9HyjptMb7DJ5e3rjy2c9KFYAdST8Nho2oDAMpCWFteqkoj/2zFueVa7YozRvsjuon7PVTZji6inkS9VjosAWVkpTFVkuUs+qbpZeSmByRKeKIH61BgZum9WgWtZ9ECbeeRM+d84hc/a/0riJGSazb438QnhtSyEK1guqXYB4f08ocdBIGuN5YMTBu5Z8Q2C3q0oHOV2g+nQCRMnBifV1G6DcZkJqIboZLtKq2BDMrxEKGDUd+8vynOlc+JjMlS4qgVBnH6QeJbxpI1K481Tykxc/gU5QtqwX58cjfMl500m2vvz2pxgXTB7s/LWWYgW3KdX/JBfwdHKkoIPtBmmwdvep5ZmebIS6oXwf8zPgBZ57ZSyeTsfDhfj/lHmeKIHFvDfW2FHzh8KAeZ9RdplM/sRcPFOV/NQkESoxwj9/i+Oe6KiTw8Ig3V7F7r8M0+JnuW0gZtLKmgP8o+HZ3nYwOn5syG8q9AruN2dZoRB0mW4snQkMd8NC3d6gjrpAl5XY7UKDigZRcleUM4fac1HtpmsLky7YZUShpUSrapzfDv32uVrNRgdILNxh2avCXtuam27hyGBR5eXDU9mAgk8NuA4ldikPE0aa1ErAXZJit/vv0jBc5Y8ZX/sgTD17MasaucLzRtcJsaw0QQzIbcQ/53eN5WeCaTWBA/v7iT6iSRcMsCcDBA7dEjnVFbksja9mGjld5Yg04gf2GLXOW4ejXYK0V6+vJJCx9NlrrzT+nZ2pAE6GlzDMgr7+G6fdjsWNpj+nv6OpbIv03LFyVJo+IfbfWIFrc88cmYi8SpUhSmHw6VcKiWeRw8nWgH9PUKRfL80osrRt2/6p9QQUdmJ7aU0GR2gNWLzGcZtzgtMhhVirbQ+lUbpA5FuNbRM7+6nbN0/+SY744nAEu95T7jbq0SxcEIK/8gIMLT0ixfB+LWUXPuh/FtPdcNZlMFRAJUi+JoKx5rxbhDBXspbKoiCC2oW4fI606Hx6QUjM6myfLUvwaSKdeE2OsXz4vgqzwOfnhhkmndF2YVe0kEkE4exHv2U+YQDgTr9bbsWva58byZG9CEfTfmkSnu9F1YFzU88cMtukDz1yuRfB8boVpJIzN35u6Ds4wLh2h8fPvw/OtH70m/7LhicbZtxwIwZyeZq60Nei5KgjfGb0xDAd+isn83Yqr+WIZwZYhP3gPEv2rTBiSzP+owM17TjJm2pttEVvGeGJ74//8COl8PS0gRma4Ndep9ry6qWBBHeKoOTI1IAwCe2bwe9DWeg3FV5kAOiGVtRUiehF5sTQRnSwf/wg+scyAEvLmxinawXU4PuUuZV5/0Au6lnf4oAmTUZXUWcgMFQEYdODy3WQa0orzIOtnY2y9gyQvHhbF8zhW256taNZxhIgWAmzg8TqKY5GFYJlDNCGO8eB4P3ESOR/EzefKJfUKHbHNPMXwo8v3TokEfGc/SIMlESYxHmoxcMs4MqwOsshI51X6Q7vVqJmfO6JXkwCQjXxcMMCa9bOx7JzFCfNaz50Ed9sgHqH3pMXPDdl5nRAoSU5Ev4OXFmt6WVhE7rZ+pT3WQtv+OiMPfGwzF2XytGTtSuR1vW0cKUZlOWYO2MSQaZWcAmf3yUIp+IUTYF5Vu1ZVvVIsKLRcPBT/gNrnEcdfvuA8/njO7sT57s+2vjG6/8WKvRZ4qWa25Vfmg7f73DSiYurdqxmir9N20fHdrVaNVnbZA8jcN+S2fDfDVFHWOhq0Jz+DVyON4WfFIJtijAdqQizEugub8VjeIutLzbMO8p326GkcT8flTrhUfenn2K1R7Majv/bKdfcvnyTimLJbTySBcobdMj/TdQz7fKYYNfWEwhgjWnrf1LrU0uDVDL9RJpXI4NmZ+Po/YbAjdeLCL8b7Ymhn9XwuhnG4pQKZOZCSOInLv4c4ULgRj9EOyoQ+Qwod5Zv0fFRIvuS0NofKTDXxdHqBIzzF4TZYKuipyBEYKQ2TJadUhR+FI7D/FlpN6qFmMVNb0zWUxmUAq6m4LD50lZyE3dokbiYwRfIKd05q3wh39RVzX1TArEvTESov8l+QyebhqIOf25KZRVDDSMCw0bgNIkUR5Czp9tZINQO3hnDWA3VGEgk4hmfzAANNfM+Aia8zzfIXMF93I3D4rb6jFqeHLquwfyTW7es5CdkHuLbytN7GvfmEkUrLrxcby9HnUbLGMl1KnjYTD+HgOZAhRYrV3+AmlIjCKrbGN0iGiIfzVc9ttsMo02v6M/lsZ/wGvEVWf1JMJmEIDpKNVPo9VkVdfGi6pNIxNtK7FhiBgrZZX8TFHxMjiQczWJ2drxLcimRCB5lKyhbCnahl3x2+ejFNuxjmzSkvH3ziruCBgZzu4O7SRZ6WlWUw8AAQvzqwsCMPI1zHDiH9wWLy3YgoKhkjvIHbXgGLjgCAjpE4TQCHZKseNwbXOizcKudPsRumEnYIECj4YXxsupAnhPpEu1IqQ11J3joLZHSAm/vjImhzWcGpq2lAKBlXztKO6BhGvlLFsrWbNWuVACDNIOQbB1BoPqemKptGMK9wZEHmBRy2W9/yV/VAnwa6QV2iUCOx14+NFjK7m5yytr5PK4mnSDbplXdXlK7TmF7KG7fbsYABdFFsSPIXZPcsgdXMU4MpVIGdBkbhW8TKJgXQIQb/yw7IPTR0mAtuwEXhrm3wotfzaKZRFBgFphZu/CW3giDjIveODCavG6ghJpWubv85FfoDtTYdLUrfl7MFCguTB+5BMUPyVA3i9GFCwTIkV1e4a4INruL0OM2I74gSgRw4lG3ALDQsWb8EyzkSQXllHcnFfJ+ppPqsuCk3+CzfMtzXYeoM5FgjjAAO2HXf+Xuh+bCkNr5AtcoiP2ojakImyi0ZkYXT7y9IIhtUKLfC5PhNP0fav7S8HvbNEHPh3tmS4orLcU5Mr/HkBZTkhb7yIkfcI5grAaGDH3l75xhrKFh70Op2M9etDcV388/kE+sit6T56wjL2nR+r2x8CfJRHVNqx4DMUSWt8mJ6x8R+9RYk2mbhtKcf2nTcJZsCgmkYSV6EJ/JlklBtJ1/d8KcL9t2yMgOYNG+PY92Jge3kXPsPhCam8HI9bRGUIOceZ2uqGaU6O/2pHsGj+Eo17+7ih0EwsMA1cGNRyISwccNgWFbAW/iQ3opbs+eneG/tMzRMaGdQMmlsNry8V03tZNsEw26Q5A22SydcfQSHcI7zdu3gR6swTq39TyVWnF9ADk6cQhW7Vo6tYpA4a9lonAiD5Y7sk8W+Qx+VODk+Ot/Iiot45oXbU7qs3ASZP4+kzis/QW3oA2HVJroczmrAXeR0B1V1xGEb5FjVuhTbEOjf1O6Xv9zH7BmMqZ7tUsa997Ozy0lPzYb8eE8er5NOaerPTMjbW6G2kuygYtudooVMe0JT0W6ZjkMqSGLBI2q+d6Y81/3cC6gnzPWz9l4V6W8DJzqklljFsg1GNtLWBOqic1hOexvaZtgGG3wC8thmyPt444RPjwkLnzUWziwTrKD79HMP2BzsFe2CGTsa1TgPYWprWxW2Uc1eNJCe1e5WZJaBjtzFZGdP5nYdubAG7/9a06Q4P9n6fWmDILiGNNPQLo+BiJI2GCXvZJKGlCb9jcKor0ZjO9SHQ5dyM8Jmiv1gvs8fStmRcuORODczZ+b6Khimn1FxmhjRI3wWPC1QDXGcMHGv1mgJhEEXiJ5ERF/UXcpu8Bur4Hs3017Ke0J98kIdbrOJSfFAZIKDClNBWy5t4wXUpyy8rhwDyT6v4M/am8S66W32ISsDZD2uNKsmNkJz4jJyWQYdXPcQJLh09bJpI08puT8R3roU54RTRACNtBqKZ2rjGdT72pLVKTGNu+U5RgCjJWZLmsuuiO1jbWtfm4utPaSOwnqf2aL+u1GabMGZcOyOMw2GheFwuKmtzLq74MQCnl7unxC7LBr9KKSmWKLkTRhZRMVjbTaHIuVZt/SrKS40yMb3PnVwtUaQEdRQFAGBX5c3RvAWtF2LHwGe9mNYYPVCy0bsXP10kRrPZfRrR3ztTV4ld2zvGWE6oOO66zPQn1Ig29pZKcPEf3q0jQsx2RhJmea6Mvqjkr2V7qhnnZC1jNk0gU/05wwZfBgcPge0pheA8xGKk64eXCYICwTPlo/0YHa3JcmrWbhooY175hIeZCQvdNYlCla0LqVvbiVMw2eeFtvezNA78r9hfJ+Lyp1YNThmbbnJcmvTIMp3r2C56RXVq3WzxbaFDmJnjVcr04Se/BqWAjXLn8487yajJyKqLYyQheiPSux5GmIgn97GwR1uz9JrkDwWUSBkNZVUU5CsWcH4BjDdvW/EDfOh0GiIasZKjK6nJOnuKRBTbhkxZBKPfK4R5CXl/FtQrp2Hq2kAW4q40HHEsvmrzarjG8rj2HBvtJnbKqSFLQppD0Wpb8el8OqS5fy46tC78JogzaLqieTgbVFTgPS2VussLRJMb0wiMm6WT1dpn678/VG5Z1ddKkA7CSMvwuude5ue8EPFBBEaWkixk1+OKVH79Nz90ctIYq9Xi9yFprvo4bZW+ZPr0sX0wdeTtR+f9WAYHqflb6+ZUVoTD5SkdcPKOBfqdOmcyCieUosEQxlrmbl6KA/4X/d/7//jYIQtivxO/lBREWzNEpIGlFjzjY8df7FeBxTcxfJ6PfMnd+sRX/nYHn9ZPccOpcwH0hWiR6KDa0Ray8luj1Wkj41GzGXdbIX3hdLCeGV3RFoKOA43yiHKPN6bavqts6afA5SIq9MWiDeoagmViNBP0WV2zmmwfWT4c1mb+HW4PuYrb+GqlfN5fOdFRREa+ojXXkSRpx5nTz8H/Gf9xAjeDmtqv8gfFKne7w5WHmF+QCf0o/aUJHaQkUXBNFqd5hadH5g4i5OWxIwhRSRtdnpqioKhYHovkuoimr/ZebEnd1P9yKB+ZM+qh2xo/eSQ4iGN5h7mbwtN605PLQmjGBCYmt81zKbOwDLCjN1R3cRzLaY+K1B6d749L0pIKrLr48efkIs99qUk9WdVYcH2zQxuHEi4c3WIeW+zfjCwgZrIg0KoIyijWwy7/vkmawymSHlMEA2Z1GvGmzQFTNivCzC65uK1FcF23NhPvzPkFAKxdV9eYZSSdpwznr6/z3OI6+SuwfzRbOXjJvc7h5wD6A3TOsxkjbRAzNi6G8JX8e5zfXacF0eCQhXIQ+uPi+Ji/TzWilo8SLec0+oAChvRcWXFdpleXAmSNQzGpE097pd/tQuhLsBL/jboLz0/WBOIWK3r7dg7P0KdjGVjIZMZJhGthZvaCEART9KcQq746aZH7Y7O4UlCUKxwFbliKxuZKpQbVcY/ZTpSJ8HYAbxCqYdW6nfR/n3DERfrM1IOGee34WPO07f4ynAR/U9zER5YvCwh7vkaJZK/TCBNRdNQt/Ey/NumHvzR/Hbu1+7OhYxP61ZE8Pe+FIKjf1RglQ6ICIJb21+9OKVdXno8YnUB51chZ7+HJZTh+Ax7nIJVOIBnEhnbzE1Q7Iv3jfNDvPvvbA15vKmRM21jR0Wh7ZJU7nb/43gsVWE2ypUuzQNbyAmiIk+r448KIPqQuxi6ILMjWS18q3mBitkm3VjWj0LgcyTIYcRa6x9BzuTLux+lR1O6TTMEa3S5WUNe1ou3y/Gn5AMsHk9iTh/TV8BLZFgk1OEWhNEcDGsDGnUw/moHs7LQCDYA/ET0Y+eQmu2uMRBX2FzckNSZeWj9LbJaJdGIoCZqIupqSXJrmySY39QAgAoihrpWBVeOu8z0u2LvRD3yPvNx7WqkTOFGaYkjU2my197ok7+7Hu2NQWK/VsaQ8vdaamlbFbai4yk7N6uccbrU+pw6FvebcyAsBnvnSbdsh9EUP116TTSDfo+Qk3FioECKsF65XrOQCcRXeKwZosbYJw+4tmn/lTYts7oQh2nduJw9jYiKoRWYn638mo6CApjf5ODbCFrdCH7f7murQoqCSqnAgD/jc9bLeNotEGKdbL6O4rrG8O/WZzD6MWCuxlx8mJiWrkg+IDQ5XKx505Uz9CwT48/+EP29RlcI3yK9QYLaleoNk2fvyCbD0wY4K3kgvlnfRBUQYxBG3zvGrpuwNJSnn2JCN223a3FbSbirYtRPSlJJ0zRnz16/64QdzFf6aa9/S+yg9Eclo+iEPPf6G/4H3uKjWeuZMm4jjNpGUwjWBf6QMhNpYmzWW18qE41Xe7R8sCZIBjxguvaFmtdzk+mYq9PBezSylTS23OOu2bLOxLZujtnX7e7SG51otyMF0IwI3LrDjwWPiwxIUoyjzmuYhlTvWT5IJpvEqBNFwjB/Hqh7Ki2SmcWmAIb5Oxy0VXxfZmvGHAsHoPLPUuN7Dyed+hk4y3ZHRZ9xnOnVpI7tukCXyeMwUGmK0EyKbj5DRoIbbTNlrw+NgEErnSaxD1WVr7TknKkTg7QzYj82uzm7wD+mGotMjpHQNdvAhc76IsKftWsRka8z75TpU2sEZ2nxwOfAaoogIjgxKt/EVburyPcHryl676mKEo01eadaMT86N2nqKNEr2eKNyQZoBfb9kqm3sXqny/Iyktb7XzIPfb/TBXGSKT9kU/2mKB3VlKXgRcti9rLBiugdNjEvWUq/cSLOkAsGEJQUK3d3ZcHWul2ONuXlN6qf5Dx+KjFpK43zJ7d8418w2utRYJUupYLck7JAxcJpdD/NguNBwlsoUFZm9mrSD3e3aUAGBDWTc2CXmYJpxu5nfgVUFIa9CrOiF2nbAzaIqwkOZzJkVqWX/IDuqbA5KsYiXn19kNlFlz7Cn2qK9czWpjv4077k2Cnoq196Xsv4PgsTMiC3c9VxUI+1oslpjA626+fqaF04s6C2kbDkaQCmcti3FC3tBe342JoP+BkAHdAgacMkenpGM19FmWG3n/B8+uiRo0F7h1VWVTZ0SfhddJxhy5dO3FZcMliiHsDmnIkHIxBq4UZkTUFt8xQcNaiZPY4cJpw6Hye+fxS3AVEBqpCrV8jblwfWBSa2MxiYa1K8QgQsqnacQVTULG6zg72ptizQUDlQnLR5m+CAdbBrN6q9UfvNJG3EbtvzWjIt529IUNwj+4TrTt3TgOXNlMm/YzATir/WjUxEAlFZO/yqlaoQYT/E18bv1ly0nnsYqhLRsiaqEvPUrYm/YaA3eAhangw5LQkds6cBDO2j3eOLLQS+YclKdLDwqbpQW/CWgnwj3MQflMQ/DTPAOcNJ5pDnMgj8u4RGTRV3OjfU6a133MCpFszBiMLFelgbCTsFiqFzd5qBcbAPfkfvK2R/YSeguCyzkkXjputB/tIRbawCCAHy29Ploc158ancATfwCmjwKrX7tQwqajayAAZfjXS1TUeAEe3AgyCrDPlu+yG81MbMYglVrx/R1GqzG2TXX+iFY8BLy8YkuHNAV+7UJAoOhW/J6DckghA5QGtA1T1vlAeMVWYzb89VGuf9WQSdVFqRYL3eyvHrpmNl7RfuyDOkE88bhccOzGXKYC/cTMqLEFrph6EYL5bSGMFr3j4bsmC6G0+q/yzjEi42NM+PumsaAvcTcIEK7fbmbuatFrPsUnnIkAzvIXTynaZTQYFVMYy93Mrr4sJo84EpWf4PXR7ZVnwkZ9eoCqGgGx4nJSiwm38NzgHDXTNe1JaFp6AsZmPgMMZuE4tTchPWt8XpeysDNPTHILnvqNFGUtwbujQAt+9sGfqqnNxYKCBDjD76A5nKSmX/pLKP1BKO8Pi9hIfaQyj9myndW905wSPIsWAIEw4u9sQCnxHXy8POnAQtDQ1k9aDQvm1ZszQPdtEuzyXCMCRz7kureqec1kwRrianWxCIOqB1zgyk+qCzmDtuT3SxJEr7L+9iJt5ZjvFxSnCnGj2npa+qvcs5bEVz3cAfWj3LY9XD46Qv7E6Wn75bmo3Sqb0XvARqWzqV3+QAVk8eiok2E8XUkICTe3G2F+kMpiRKLUUzFQOp6S2cn8o6c/zdMEvYv/O/YDxvqDq5pAGnmuoXnkNPt9cRvw3rOoVHFuSzq1Y2QKt/D501dFxAqUPcynKAc9m+jKNdGAXsksOLrOQty9vAVSkx32YVwoAMYuA/0SpovIborLnhI81Oj7ORdHRUyOGaqZMCdQ/HF2mlWmefREudtDkvLQsZucJ5Ks+yzY1OZgDt2kFDBjwDVlMIU7/Udlpl9UpbxkFbFeinJtftYm0iAcGGidAHJYZQTNsYXtxl96+VQYfqB1/LzQFb71T+rAONMB2wk0U9OCFPJtJdqMv1AGSIB/hY7R7Nhf38jLmnW9dWSkaDIEQc3h+1K0G96wI82DMKtDTdgwG+tyTNi3q89CbFgfHHAbN/ulJynZbZH3lJ5t00DVubhhmxfsNzhOy+LsAr4SQfGDZzb7fQaCc+xMIjGStg8tnh5O6LlFs2I1Pqa2EVzKSvqvTBTzBNCr4VMZI7NaCiZfmgQ7U6VQTYv3eOfwzbrCCs38iTXNi13GtmWyda7FYgmonYv2mmjSRzn4mAmS+4sA6W9WoQM78iAapeuX03knKdZ6c/p5kg0Wrlw4V4vQ+Z5arY4odbIS+2CyCaW21dybAmlDjJTwQgG6tq8xD+Fs2gSCRe8dQh8kozDwU3JHTIg4IWP3gw9/bYihm1Q9jT9T9RT/l2D2XbC85jGZniKiGEHziv4TpZ+9nbj+OfKLqsBoqWaJxOMkQ2n6GAzzUHkPXVjLlPK3NJS8E5ozJ4lsnRm0knWoFtnnYngaoX4c3QfUyZpZC4FFOVcPtYMHVUbaQRYGuW7UBgqOyLdSRu65zFakbvmyIIXNDa1q8jEZaS9NEAAKgS7pMbMNWI6GcdHk6eVWlwTuX8oBofnJg7vxl6zd75m5NkIcOdD4H0QDno18kDb5xg1cTxCeVYW2ByI+JPbQcA6IDMYm84gfeQNIihTiITUeOdm+kqyJx0UNGUQo0n0GOgt2Jhy+BjIEACiQSQOR+eBWdbznpD5x+IHLTtNoTt4OG5Ari9xxVqj+YgPh15sHDyqScm1VoMieQTXh0dZ6ni4w5CjzZXsWMS60Gwr5iK1SRXAEhfzwpzKo9doFrYOcrbT7hGVwRvIZOqMBxBnH0g6EHhzsA+EMJgGQ6TpHzWox8kQYn/iK3rBeKPP9Z55AQgO1OtNzgenqJytR6MaNXW3+3EAQzoxPHa6HZP/3Q7Z6KCLwruPkqf1cqRmhArg/hCg7VS84qQLXQD/UCOLdLPnabmNgWz7v/DAj8OJo0Saqi3zxj+1qimTeK89uC3Iq1leKroXYFbg5nHZjJJhn0B/9gDQ/nyPsLRaDfzSQEEiDnfZBfc2JWZhboDsfGb2DIeur9v5earrIRb91W2jptG9vtUYzbnii5UrrHTB86h4Gd8KivUv92lE/+njaqoZ3kjT9nmmrrLRFBeyww00aQE8aJAEO3OXlzQ5e23hz2IoMVmMMivEFLTjatGmay1bA1H4gvZqGgzIWfn7PhCyzVHDy8Hsf3yNHw73NrR0PB7Sk68FGyD8O/aQJs8ViA4wXqf3Gwap5pJprgDwUHOi4ehJHULCv2zBv0lDhQdDvANy4UDNWrVNfKcOSD8tAjGw/5BwXbx+Zl2QeD8DQxdMpJN7Wh/6kws95D7SRqucVoabkXPNgVL/Hajm9Ug6Mc5tAsH5GAMxZ5WxhFpVNy9MBIpdCt5bQvSvVkkTuyuIz09qmgKZAe4Q7kWmqsUwQQYxDGCkvmPlqzFU8SyCVxZNYs1SzPSmqOrsXrkCDl+m7wRRMQml0788eLeM9clAzoxqEw2KIigiwaqRxXGP0pdYWZShieug55PDgWUHc/nPveU6nMRSxR7KunIH8Xi6UxuRUD1Kkpggc7/FZZcJtB8mW4aNjX/eIOcwshlpiT9Pt15vThsU5HFaNm42GcnEX8UN0aE3prIEDcpSQM0nhrfhQu1Mv5jnrNSvJjHEZr9tZ/lho4B8uzAypzVttMXoX9qAsT3TAI/KGnPNLbazjOrSwVIuKkKHQ5PRU47NC33CxlAzoDHGiYkWv8WCGN/pvCeswTo2W9H1DjjOOeuQgxo1rsmq40DyhYpP4Zzef1feoxLo2Xubw5TCtPxd06cU0zV8K1BVfN3xSqOWN6fllCYOt9dE/LHRicPEhSnH6kvi2imntz2i2ia1MDrvkCsPxcpUkquwZ/+yV5rxwieqeSkF33u2RMyP6jFJIe4WqP5yQIwtSaFTFAeQHe78b3UURb96J+X8r0LJz7BrZ1u019meuhj0Olt7JJkLDFQ0twg/EWnMWPT6r//qOx3eLt3CE1ZH3X0/y/ihJ98kmMPZh2O6e24L68Q3+4m0DvAY/HnEqXQFaOAak+kctzbi+jBGpXXz/nHgs+MgykpnpOlVRdBUO19Y2FtcSByUXSHfvfdIxnw/BAmLzwTe384+0oHufYMSBxDIq7QCbCOZ29nlBEPSeYM+U0dMDjHsZeB7PudY8Bq2GgwDqmDgT57ucq9yaEUCE8Ue9t5yDmt0Hs+e6KgjlyMtSCY7ZQn5T0+FP9ELKeWum18S1gUNnpTa+AaQK++uwV65QIThg8wAiHPAtdPUH4jj7oVhxXLmOJ2yNX9z1ZSymvS0csIsJFtvQ+AdUzCWeb9Vzxfzp/Q8txXcJ40fwJfsSq9IOZCDAzM5gIFhYlbbZUEqETXDsiNhPwGanPGLUOAvLKqPyC6UT9SB3t/wT8BmGC3lltDwI6cVb4EqJBZARafFI+9vFhhyMXkTiCIrrKKM8BGUToY4/rVpvNn///NTBSkeWl2o9S1d6E7hDIF1Putet8D8lGM8am7CvN7wUOVsX5Asg27A2DgnPb/fjPKcAgsWF9Kc4W3YRJOoJmx0AEoO1oKVCE9BGOQBNVpaQhsndugX7Vg4/07bpxlRVXPvAolPHmBgpB87Ksp4CuGEEel+Ez2uynFIdt3S0LxE++iz5XiNQeCw5KEjYu89iS4xBXSRksWj6cQ/xe7UDGx3H87tIXIqG4ihWttu8jduULSrvn/P5f0FrHIR1bw2rfinPT5b5FRtiuhINTJ0o7fLTtRSidecfF8q7GFZg9P8FWPg4SF6hc6diu1Fdz/z7L1wMfA/AT+pgWAj1FjQC3vfoe02ngh/OKjuUKSHDS7xeTuEb+ZJaSSSAFBwoJJjOU47/wNPXW3jfmsUH10H01wP3FDFiF3ngSabtIuasMHkhpZeXF91V6jk9kXcU6/8ejrsrdjnAqDHXI8Jmop8UiwvOrXExcpuWuUrslYG5b8HZPZspK51cW7GaXq7OU/8XO5Rf9n7NrVwY1TbClaXgylQ8B1XankIbo4vDp+i75X831l1opVWalDcWWe2MpLr1I9VYSrEEVCeeHNMgzjAkq5Af1O6/ulT5+9i9j/OdhiVegaFh7VHjlVNT+ECBrwE1R5r1DX9TgCc1DKXhoGlYA4kUjJra2xowThDikhvjrVlHs5FHPd7K/lscq68SRhALWGYAk06sB7HGGiCLfDp1J7LB7Nd1g+wm7y3XITy7cwuvsyRUWBS16Ln8Hgaic37fxhmsfGQQeMmPjnS79TtCzsc7b0Mum/94YQ6ME+pKeoQZnvVkucVQ5DGEqDrqXPNHuTFlcYPgVTrySlW1HbA6KGRkoYz6JG5NR0tPMitOylKjcvbuolaqKthKVLfkYgbu45Ktij7QmWUV6eHD+xsgpEKP8GOaGmK1ZIQBJnzvut9azRhtPqSwCbGHmwe9Lp27J94ASuQjEvcAgmNB6vMHZxHwyZN5a0FkinWiLRIss4vPVTBGFqTFKBnRkenCo/ZlC7qj7P53JB76D/HmDVvJ0xeHsHeqKlIeAyOA5cyd7LDi6Gv5R/d9m1jR5N/Tg/ku9eg7BDjACwnB8RzDuSRRy0s40HSvmqhMofiEvcjAh8fWgL070h8w7RQr+vswbCW2BQoezt+UKhx33DcY/EcnKPQp40gZUTfoMvVj4MSvBeGPTIlIJGWr90A7pS08DMYgCjviWahevSRIfEmlELJDi60BVB8HcvVn/+FI7jiOrv3n2Kg2f7CnGrqyiee/jNY4pcUd4uxfNn8BacTpLHJ7C5TpsO++/rA+64UHDd3ljmo8N3Q1ujo+uqSG2PwTWGT69sn33qQZxwGa1tv8oJwA8DKxfdUcj+eDMHRXy1/c1ahfjveqGmtx1BLMfuCJAHZkV2MOW+r03Y0UvtoTJomh8GAjdwTLx866RExLqLBpAsJMh2KPN4tE6B6k8GHkB/myRvVWEyCc+ldSft0YCpziHDIAt3YXd+JO3FtcUx6km63b4Mw4faJjFZis/Xq7vTUov+gq/10r6RNFCZwZIVwcASk3JXXx1fiwBIORoLxMWYSClEg4BKhiamlAaiG2WjuTb0xutudOR3feK9CznWEF5sx/PASTHQBxMZi3jfIo8NnhDFW+ARSUwbvGTzpaQoE0riLmtjBBcPEfb5bewl8H9Sp2PrsANCMuBb6MVWQnsq5EH+aPWmQsR6BPcpysxyNNrliIT+4YjZVmCflW7rGXtwn8lpSBCpK8l1Yf7WzkCycyA9e2GhCopJMbO5NNhX2JNOr0CbAip77TBJPb+ZoEzOXlyj2mBGg6kvdIVqt7tIZaoIvQ+TDAlsOYJ07vjD1nVauebJezzmBmWOKdfFxcIJSdClvvQisKxJxxS/IpWKmrKHfmBIRdlhAy87OYjXlnrfSo4HUSGCKYmsf/iUWuKxGn4fXDCso92SK8uVHTHyjVfE+39R9hvSsDJw4SA/xSaG92HhiNQ9iw+Aq0fI3O7JUIpv64J5NfhWpIMXqXWh0PB3LGn0V9vPsOEN6Y6CBnswFcHQD+MXSyehdVdDVhAZG01CEeOwD15jmhyWi3QZ0i8Sv6mhZM7Xtput9WJyGRjJJ2yLtCpGKP8JQ1sLS/YRD3VJmoniVulDbaJDTA+jQNQvx2mEz+HICPZiSDxxBW1B5Hb1cQbLDO3O7aOVs+MlMYLe+LSAGuegBW16vs8Hcn98teZr2h+Ph++qlPsyp91cooUFz4rdpDOfVJWmdAZD8B+LS3zVsc6RwXemzaYNzqlUqx+EXeVWULtTnNui8oDOW9NH7uDNFgQeRGSf3pZa9xEHct8m4f1At8XqRrhskzfe9lmSdzuQXiLhRbFtsQlW4u8D4E/EB+LWLsG9WOqmQcTFx45yJz5vVRPv3joazW3RsunenIu5guUHQyCJqKmyRCfnDQ5a+/munANUkTd5djg59JpGd9qN5qHT155PYIWwefJNwWy1+ilxFqvChwenzlAlJfDIZEirL0eHOqjbPPqakxHV3CBKbq+6IQuydFcaxzlHlhbkW4hO1dM9ok08WHUbbgEAsOvLjpvCVaR4Zxbz1lavPM3WcnDUl1EO+8ACVeiqQNUlx29s8ENiBmQjAtSMcavG6cxDAbT1UhgfakbNk4eGmXesDJe4TlZhucPxX3ewfLCtEkCIcbFiIrsTXazuPTIuqJruG+tjrj14vGdjypA9Viej0bDCw+NTfdA9EXERpbMSoaxWYAzINIrW+QnXtIgbBCRqs7QZo2uBXTKBeXbMCNTvtEAQTLJlNW6yj+pJoIPUGSJ4uZvqmeDGkqdSvLfatpbtDmmDNiVYurhKIVTVK9beRjH0j2h492Q2CFSIJiCaTQuGgjnymQfzo6p7doBGg+orcOY1aMBZ7+IbOewt3lAVVIQtDsnCwNdHY+8iwTS2leqgSw8gC9kW3B5RUyZQF/3fLuepqa5T410nRw529ZGARrx7IsJ7aXlyF7J5lypSnkP5YnmncST8PYEdyixD6qFHR8Z9Wh7ZYHige2/B9mvZi0pkn4kEu79deVMo88GUtTNoIN7QgVgfU5TPsOzz7VfLP3qp+yZeTv7/uKCwUSz3LQdAMqZHqUQqK0uRxhQiCwqbdskPLQ3AsLnaTyotyyvvwLK0Lq28eVpaRBjGMTWMmc2zIVl43YZnArm4NAx/ZxAAYJxBfts29Dvg3py95Nwv7hQa9fuhRtxNmk6h3dahbSTz7JaD/ZWICYLbxUtXAYbTkOQbm8+GHmsZlMm6AJb+aVpSqfs49aksDE84BKJ+LQ+ftgB1ddF/wSfS6noMatJ8ooDGDeq+jYzNYCu0KIncz/M3JkJq+PmmrBieU1SZR6zl9D+RJRQXNscv0w0SC5biPRlGpxsCGdD78ThVtlWrp4vQ1g74SwikmBu6PEHfwYiv/bdyc1O5Yw/1osV+iygTz6pS5Qc4L8xWL0/39nVAcafAifkvhj3WsxP6ptv6VmTeDjEO3g0RHY9FaRiyOI7mH5HwtaSeAZPlXOO6YJ6bmmRNlRQ2lxump+cL/LwnJ1vUh2kY6PRxaBg7iRBqCFy0MomnfBf4obh26q6N3Cuvc2qdfqXtuG0Al1f+BpxLc9t1VFYkFkcKiU6LVrWXg82F6ay70oQMBjNfLqjTji8qWm3Clt3csYCM5wZb+NPRu3QWokNDygVq0x4/Hsc4h4p2Tc2wQ6TUScpsRAD9E0YtaBml/FWuht9f+YVk9wfHZlXsm8nfeaMOxTCk10pXo99icwTgZJ+GLp6Lm5wHiAmdIntgFYzkPG2l5czW9xJW2HYiy+JioqTVCClmbTCmx1B6f2bxdADl72Xyyj2U1ZdZhD4mpTX63OIOQZ0hOmYuq+UC8Q6c0aQnnfPne32444GU+uW6pdYM8LcO8GmNP23Irww+dfLgBamFJEcL3Tk/XsyLk+A3nyVpSRBRSvTvLhl1YzL6s78mDioq5/UOlHK7pEdFsqSdFtTpywAGDgcfD+XQh6mvevRc7Gr4OSEODgNnKZr6TzNHqVU/h65Upzu09v9PR0SYUHBquIc85saUED/KcSgL4dMSoRZpFzRmE2nP+ykRYeebZXP4Ujy6S4xKVInwUdevEiXevh0h4MQXcXWODXgH0FgxHs/+IwPo0i2pp4P30c3/ZYn+M4LG1/eF61zaox0kToZnfzI0XZ9vuDsj2QSlx0tlgW6hO8HrYvAmr17M77FCQ+g3WGFBSyYZcOQQjMdhrZkWGIIUvX9PrD1m7K/oQfklqTiqs7ZbVq03hcuYn4D5NE0NT6zGK/N2IQ4Mr7YPMJ0M1piQTY7nfEqMxdx5Sr/5Uj2D9PlFDXqdSlyb4FmbTkZJFhYGAaB0ZbeG70otLSKtT10GQNrXop8TOMaJdrOot+k0f2twwnJsmNuoVF2ENgJ6beu/p8rE92vMVJCSyGmK+segXjKubIftO2U1Ap43+vHkZI63FHVsEx7pWH7PBlclUvn/RU2+XnRJd7ok894WvG/fFIWYASxvioHh0EnH7R1+2CprWjPHRmQeg1gXvlmw9cpvGWHc9MrdTAGpvTlPbCzUwIIwyrRqfG5DqtjfZYvvvJUCRJGf3BdQXBsHH+ApXyXMKOfy4GRv/1lQmch68DqJFghPni9p2jfsQFtHo3o+SkqKy1K5wYe6kvjb5W1XiyotcWNov+PR3o7gp7XelAHvxJio+dzefrysG+xKV6gWP9xpCOHiKaB9BfiVS4oOrsNe400dP+Lmp0Uz9Zz/Bksqmg7ExL9f7G0RgM/oLCuE1W5kmDmn7Z543VvyT3bP6ZetXMnjD4mwRoxPmpMgaz4E5mHby9Vrk1pijvtIv0QJP27lanXMieyGhqOYoflyWid8JR0i5x320x7xKcc+weV3QAHLgCNlMjXKAaRGPdJ/7rCDArbXJpxtC+MLkGurk0n6Vr5os9wrPet0CCh18VDfIgjZrATFdFA2+FfQr2+ugW+ttSynDdWdLFFkjnUAPkIAZot/q1OOa6lZZQiCvcP7H2fkeGNsbNrNiaYowM6nR5I/85NDjV3q/8wR2DOSj/X+UVSlKU9wnsTHmcKBiQvEGRwHgjzbC38mMYX9c9pqetFVXMxP0goh9G0awjlaEWfyxOdckzEB6dTuH9B7BY5RPsoRNNaX/AplNIS10hd6MfrAQrRvALZzmQKX8+QpVe16KINSGaT+MOX+yERsTFLLfDIcxcqPcjmXraCnUASzqfMHSY2bqH0Ty4qb67mnA2HiCaLWde4hoq04Oc/IygyHUQQ42IrKdAX/ZrEMdbxkOgd32j0/wPBtvZrn6REadAYRwL6hn5zbpTMCLJ9yRbfsihHVXETcw0J6z85n7FwradcaJtRrjB2qWTvHJxIACP3swN8x8P3Sg1h1XdgJdZQZ1zr+iur6XuvKzxZIbtm+tuugr3/oMpFDLnfTMmBliJEyJH89mpMqUX2G+o7zDY0vfKGObyzx83f4uPPQcxc1FD2GFc92gNZGEyi4jxITWoXK1w3kODZ6Z38afIhIGQR2PKHzODD4vjMb915b7g2JxRYlNCTcqAZORwCYppz3Vx4cnEki/E2Tj2j+9Ph0f0JFf4j/712KAOH1e6anIa/I8yAxsWvkmdKM+1h1FF87y+QhvJ5DAhsyOZ1uhw+YUb0dRVKhtKhsxyFVXaHQCYnfCq9xm461e0P/NhURO0uHHYkNoOxXJZNOAeEF9VBQt5soRtLrk3L3lFsOnOnk4edlTvmLWj+nlsfmuz1gOGKJU4iKCpv3MzJLiuM+EEYEgPD0RI8ye196A2VQuh6s5WA2+mgmFHIgz9mripUPXGqNqOVZa0+TeQHsPWqujsrUs+rlNl72AQx2dPJqLrRv+ellKtv5Nw005XdOrKazYwRy494856asH1f2dhX4LXPZLXKuD2c8h+DQ5JW3XTMVlYxwSF3fx31pgBsbUHzGZtV1XX7pMnEiEZvy+TM8xaYcozN59PidIt8Kmvpp3iRq5KHz2xLs1u9e1ULZExIDkdaFo4wNO0TntnwM1QzvoY1giEMr3XU7QvxDQ++qrLTB+rSqFyKJIViDZdjV2pRgnaraFJhHP/O0pkUTWTZGQ0JW1ZSVGE9TLeQYrh63fbbBJNnscW+wIp9fU4TWK9pD9E2kCgWtE/U5ddPc9dKo/BL0JXMZRXLMrcX38HeAUkrOjDfJGcQuXr/ROauYVH76eAeBUdk7tYlBGjgsX3gEr0MSegvPymfuhh4mjS35zv5F+3Tjz0yHXi+DXYXJYXOHJJk+90UAH8brLFWErlQG/XMe2vcq1dsBGIfF97OnryuALieQLSPXE0dOXObo/0zjggmdq5GnKHmM5b71qMFGfLV200zn73s75YZc5ER12RYe6Z3EKQSwavtBXAjwpOToNwCEINq8nVGdx6HmwipNHyySMN7AYZwuAS7Gyswm5gxmBXfXkbTUzAWOHOxshdQ2pZUdm+w+n2tUOjttY7tnVg1zUd+RQ1zHd91jm6r06lHyZI401YHgcuyCEXOZeCr1oniwQ3zqumw1AwruD19O6EtYL0ponUfTe8GjZxtrfCDkdOdrB4cNYM2m6psa7J92CKIuEOX7MlaOq9DSwH3Kxd5a3/YJM1xp1DUV5dFezjmGV6JntFQg+JEnjNQjbcBzaej1zaJEYstEyiosDUdhXsFXzGotLJ+9Iw+jUeS9gjwdPNjhEx9O2ksigKWCiJwYh93cp9Gok3Ss7rlSJo+NBqSOQc6N1Lehb+QWy4ciYa4EBHP4ty75GTfVsNl54dBef9VRkizyLsTfypMoUbuOAMqt3VM1m/migpntVU7UatCeX/eCbYr0A/GrqNW42g9jjvfQ/3UmywAsP+TTl4mIvOtmUebIm55z/tcuVT8UT0Ez31wTrEoitQ2L1JqjhX4IcS2ZvBNN+Svo25XYvx1/PIMnqLV7S1YhUKJAQCU5+agwGCgbRsAefFk5KddhFAkDNgeo1Ea5LRfp9+WEipsTgXRahfOCNnJVoCdQlCfPo9dbaO3Rr3+ukik1DDsJYiVHLrFAnSLa6/yYpnqAfvUGt314mFyNFNq2VDKXEt4xWkCt8oFQXPOw4MyBNwxHZqQC/54+0hU4+LXh0kyBIYQRLHBkEycxXOLzTJ1d8G9JgdtXAlGdEqAXKWvh8EuevNFLQByIM9y/vRuli16e4fnnxqRKmEoCSVn9q5lj+m5LcIUHKRZb2uCcHXJEImhzbOqfU2iAfpyxBJgYRdVDokBR7PDxM3ypCvPNvHtlIHtsYoqXolDjHGanMIG79XmyBbsOFunLrBCWXm7i7Rcm9MtXntv81LZ08uUtAWxI52TfwHMm6hqKh5op3YjVSo68ra+FBchKYV+ZWv2XFytdRJasPTLyLYAIqUjZyXqHLMH2C3zbb4xHCPMRQFcFzi+lvYH/YAXyMRIotCZyc6N139YGB+0eeQwFtnEUU6u1JcnHV9TT2GW/u/9Cz+mS4vjpxCffOygIRyKiDIj4l7s99Hau64Emf/5dvqjCyJ+Uhaj6kBuoXGIKJH0yNQPsFYKucLaJJdv/SsQXUmvKzQ4iRaVxQcSFDSIUsNULkBEr4PqlUs3/1mwACfbHHkOMTwFiCM0oZT0Iqq2iuTaxStiWq1wk4sM4QCMgtnwckjoMnGJbrP2nI3i0m9X3pa+7UyGeW1DxkfoF1YggGqc8yj5lqZS6Peh8Iu9oQWiTKQHE0pXIDVD0z8Va7nsSmneE0xRhk/C5pHQS6/X2O2f65rApSijoxgFl5uGcux9d+MA+V4aOsbXPfyi1RQ/wipFVrf4wIgTTm5CrGAF3DuV6Zfr3Cfz8IsETlWNGWEdPc8y0SU0/sICv99/d/r+otGu1GRwBlHGHjvpLd1TJBWKQ/KwEKd18IDEw/VU1RcNNDPfW2cpcJrNS4+r9nUIrgMuEX4HFca6MzIRDLGp/Uu948iQfkJjabEn3SF++5+6UZwtVKAB9oo1IZY/FpLyBSA4QatDBZwfIxwfqmv0V28Zq5avj1oCpdHiwVKYoUWdgjAp3ZufhQQtfLvvd+7JOfFV/kqV+Lh1W/+8+V+ZzBJNTYBPH8ItOno8mLyKDQkOJoAKxK/eiJyGaWzQlz/G/hZTlU/lNj8rqMu9LqfDnZDvgSDLH9j2h7ETfZcCxqbNoy0XnjsUZeuGnBgJRXqKGZFSSRTvlL4ayjo5MblgTHuKyr00rKHt/y3k5cKsFw1lnvlMerQjdvMkL5YWKy7yxIBAOjHnGGg0KaBTcpsURLlNwBAEKtPmUcyzi5RwcIdh6uf++bpmOX3dqYvzXEG/G5EM6F7Cz4c4gXAs0c6cLQpjdpCeaB4M/k+XQ4n7Zc8UVongFxT21F8AfwNHhVI7TVNPzugHIEk9lZLCKn9RfjbTGG3m/tRycmHKO3kjp0uoDskjvOsGpkj40x8egACNRESBNMZXwI/25xdcA0LgtoKAhQJU9XJd0hMpQ8uLH3tiImbortmfYmPYk4eRCR6JzxDxHvVMfvnuscjCrN4TzhpLto/2VEJXI5wk8+6+xAGnl+xFgvX93sZDMlL25rK3EX+sFn7/WSKPMT/TX8y0Xwgq+PhkXZphp9/vDPqbBP9WLnFlUJybYG9ssNoyDb+X+uQjYarN7UHTK/jlEiuD99ny2c7DoOzlL5LCUk0Rym+gwMmGmAZH6qID4c/V4F2nphVEJYlHDp9JLXYlj0ROMnHin5+NkAPTIHNlgbvOzNU5eQuafiqMdgg7RgXcnFNFvDuOM/Ek0cQGloq/iVvx4SpF565HsMsk8WPJLPgshvQ3F2znLX7TrdWtqXtTLn8STRqBdWGTFg+YEyas4oiwacwqgnfNcwvoZE3sc56R5qmGCnpRDn16kkVdzV8S9plMybxcYpIItdbNtmGEf6KqtDeVX/fac/jT/j2jsCBMnfqgNZNOPHEVesfY4K1+ommdITn3ThKOdthDaiy8RXkUYoLnm9sbHI1qU5aJCs1CBG/moQNNwM8u0S5Og1KumGMRjFjzz9QbTt8zREH0jTk+d85Ghjcron+N4SXFGrrU04NWEibGIKuf9kC16lFshKQKnjdH6dyuwOMQw/lJUQrqGRomgqZmCAriSz7CJ1L4g6QphHGvgoDh1jpFwcM5tKsrTM7UHCuno47Tj/vvgBD7Kc1kYUZ4AmsToI14R1sYT5i/ivIn5I4HdpQfRjlOOvlmdHUUtXCXv6qP5C7nkrx/IBTBWXKVhvzzogvFq63jNYBULMli9GXpuq8n0txJCVMV1pFg2ZYYOOx6LDfHCrzF84dwJihXbpl9hI/yFSgmwpuo5THivDN4A1SsLON716XrGVlnsIvoCFAfVqUpCARNfkuLLTKBSzEiNh/JHBAanxUMW/h7Bw7pIaCGv7+OnDWkwXVWQj47wlK+8lfS5mPhbwMhnIKxFwkYHTvFiCk6QdK6hXV3mWy/36ayah9ZZg5Kt5EsFyBvUzhhDhGbKb38bVVAFWuci3TZ5uY039HHQ+iGr0hVoZggYPFBy3bmGbsYhorovF1wT8ADHdw9z7LLHOgDEtMAstENNu4h8W1wKS63JWTxG/yx1x9Rl2DIKBhcGUGDBtcAdpQGdxqW09aKbbTP1CWzWalosZm4FhlW1nkKmt3ZQ+j424SeR/nlMfszyyz1sy+KNsvwzi/WacjpH3x2KAhYwsZhPIMTcztRPNg+6G4rl+1aAWK6TqJDPYsK2BFbeUO6+8trYSz9uEVEvOP/HJNkUkKuY6lnPfMGxjMSRQJMgcYiOk6fetP1UGPdKU605ZLOLFl3ALldO+RtVV2oz646YlbNyKY9EdSOZ5r1kuhyZA/Lr6C01tdJ4gzB8jsfHAjHJjSOIY0BThIU/hNf2FhS4rsVcYNcfubEySc26w2mZDG+4ksaajtMOZU2EJuzqW4PVleAuiWcChirMITfh12rVTfCSWoV34aE7UL2s3VropTtlRw4xoTNC4aaMKGWOrP2CMbesCgI+hEsnC2qJ8xpAWdm/V/Vrk75lrUwjcOWoEw8Um9/dofweXpwQy4SvrVp59yxcFrNgi1TFT0gXi90RRnaD00g8Gv1PZCvRTo8GtIx3ejAbt5RDKWACEa0jNUTTgqD35850uFSNLqOOrzXBb1nq1j+nCIa9axSGOKWUaVsYkdwAbDc+lvYZyHHrrX+HQIZ5QmhcjHGW5C6ioOCYbRfndyWvtSm4LfyQtXhXzUINpIGghloPR7gHCskH/VNUW7t5A/Nf0+SyYFmhSVc33wvC5BjpxA40GHoL78Q9O6SUYC7FEnxsR3L/KN6NwXGQeOeIY2p7nnn2J3hlSkBnT5nNV87haAKvPtbW/bR1vUQaUXG5/8vopiyotsBy014DcDt3vd+TxIwAZbPbRZLVzm80GM0i4MBkl27sX/9e+7TAUnmPZt/Qeblaiu9XvjnnczvrxGhcWmvJejtIZdKvSA9h4zreLuqbigJ1ugTyemyHbiPubNKULhDlRLTaP0sswSWEGy2hK5uYFzVWUT+cZ3zK36eq1QXd+r0prjHlS/oorSn6l+aSLkNYBSJM5ku+4KfWwF07ktiyO6s3TMRKot23huyNOF6h7FaVD0y8DIVn9brTGecDSeycfsIBozvtNKjEfdJGni1u1D1W06ZmfnRhBchWP4Sam5q+6bLobTMUQUKs67h2bmqhLsubyvyym17LJ4mN3iG9NZGB5jq3pOwWgVjgQLyde+Z10nTDYgQdvLTUmr5lB6nj14n/l5B69NKRD0zWEbT3SBhbUY0j0YXT3C9JACnpEwRRP+9ITMW8vHdhLZHZi5HQk8QQQn9PIxGa8gRrVjVRDs+SXY8vtgzsunC2cUN1+Cho9xV7jYM7UaqckjnbPM4ZDr4QV3Z0GgzE/+1HqoiIo7rYVjPtnT99SLtXyoEeqwgu5+RTpoi41Y8RUh8qRF8krKycxSc7Iexzmf62x0W/frPoTZ2b+8XxtF/6GLMTFoHj2wREEYPgcZkqmSQ/ZTqoATI/8KSCSuCRj1Rspgr2udk4TSkEgcZzG6Kluq526u0xpFJeCR5L40rSzwcu+k+ikYVhGwOzO/OK9/w9gdRU3wWwIZuHjWKOnbOTx5AxUuCXb19HtToKlI8Jo323EYsjVX8ZbyB0AEgn0pPt36Y+dDCp0XnFhqmm0LpZIAr/eA46FIPWxfkqHXcw4xNmG+2/ZwzNw2Dgye+F4opVOtYjQArHMbiImqpc/ppF9hJhKPtlMZY/J2h9s7v76kSG1crbK3axXtTI/5E2BVarNWF5EtjHkSMz807htRQ//mCZibOcGjzF6KPSOBb5lqYaJpQP4MUPPMIhGykb4qcSLJ1/a7q2XD4PF9L0KfXE2VmUIrwodIVG/yhSTIPDzvNSgaETQN0wuMl8razeBYN28ufV0XjhBd0/2n7Vmr6cg2XmUkwAi3H1JcpPTGuc/UsmjKEOsYpswISTB75sw6Fo8wWPyy7TwgG0P2V+NuhzmbRbqEChaM/1rXBPVNDnskzYODJ3M3MXMuDtcIHRl5JfrMfSOwgDrfdsbAtsPmBxyWoyRsIvoG2mBbUkh4pxSrp3t6OrQ2HuLYJK1VJZV/oGO4o6B37KpAs1I7yJSVS7lvCm+4dQP+PNFjZ4jZnl7fO+dr6sloJSLqQV2n9B7TfnPZmOIR//hjGG2cFpM/t5Tc7rXVZDzc0IFIfmUNDE5Mm2ODasQaeXGP5084ZENXmVXcc6E1CFv8xraaS6zj+GzefS8fLtEKbrOrHFWsIvtNXWZ8O0SB8qMtBf4LL7TsuTSntjhteOuDVVg4dZKr6NS5KMU9KxS3VmPP3ftaefo9miEYCbjtR9NB9P0qCXeGPbfE5OaJZFQ0uId86kynrvKi2UW8pmoPr1ucl4iaKJ+WTJJMIEoQZgEf3pq5FGxil6LXvrh7pjvYDNJ2XQIhBxhpnXt/M9XQizoQ0jUKAgq4dSHo4agT8V/Afc9mPwm80qEseapDBGcAsWcbf0zgMTViTn6t+7NESvvfxUpzwSf7vkoHIIO1pC5WYurUJZRZ+PK57dKcJ5e3qo+Jb5iI+tOjQBUCf0bn7IS5TX7wNFaJS0/ZPKti+vxEgKFsymuqCl/SVFaG5Xla87zn10rUZV7Y9c6pzNPminuHiPi+eRhfDLWpdQpze3dbQC65w07fVxy0MD2yPn4HrSRhMRT92raw8sw53bXjTsvlr5F+P+B+ouJqLbKGyIHGNwNKUCWRfeOHQ09+RmE8cg3s3QXIEHXBiVWh2YWrd4TfmdMFXsEWBNGiRK5vtNsRpnDHMYu/Xzij7AaKtEwwPf9Ri5Zr4gzSHSlt+Zm+tl45qXy+Gejg8yYVkH9EdmLKtJwe88WdYvW9n3U3LkcvVIzmWDMDS8pD28wnG8fAn+bA5yAapdvx2Nd7L59ffiH3J0II4bTnEke+5NdgQYwrXfmeqxAACcQj3Q3A1r3sOgL5jjcKEVgP/JDe22wuLDLAZ6wEDZ4tD7Im/6y/T3JVeZl+eQqMCt+OcNwB8uvVvzpINbcKBqL4CD8OmQB9zIQNxn1WA2wkwL2mJYM4hQDbDPNY25U6fcO8QhMPO8Nur2SlvvciCl4wFOr+ey0jPRYvmT1O6cy2Y74X2zCS5in73svr4qWTMyNv7+i1yv2Yqam8q0aCdurvErJDCT/XhKmcSJTF2sMiHAzxmerlX75+Wc2HOp4Iczb2tWTJvyjRq+IVKYoW8n+ERWTQRDl7yjCtk+YQ1702QPjCMs7L6sYNc2Ya9ojM+MOko1LegqKftCRiV0AvlDclTDkoKdYxm/BJntCIr25pOG/cqMKnMoeQ1++q2Gs4cKB2if63JBWUpoWvJKfpnNa0/CXqTI0gOSJYnu8kAfoy+sOyfNaOgP8mGRrzbBiOZDyhfB2cPqgVNx6PKCMVINsCkPJxGSaYqvk39NdLYFc6/sY3GqCucdRES5ZyXsMyr2WccTC8TK3g3A51z5BnysXchDylN0B4xaIPk1aKrEuTetRcjho++CLEDNPHbCBU6WYWZtBrnoML/DGn9hV1Y5sBIJoqeq5JFHbi5mAAijwhoCY109wC2+CZe3LxXdoTSiBV/yI9KI/+kapXPt3dxIUybFxWwQ5UQQaef90vD+pjznokeGneNJ6Nq0BuYpsBp2UEh9GOI5HBcnK4Q15eXkvrj/V8pjW7pKzlhJ41ujj0X1nSEbQ1myY16eXusqhWz7OhdNf2cJ8rvWFuROlb7V0kXXvtzQQEeFfm1oZMwLUkdCc027sT2C8QE3j3VzdMV3ooPwJgxoJyfTZ+QCGwu30RSLrI2CIFUFRJ24Q7aQgMKmrJhCFL29u7G49/qZhjKL96Qlj2oieB/X4gbmMr3BXPyGMmjgSy3TUYLz/B7k35c6pC9pVr/AJXMgOGs5BOJCot0T+OaKz9bzIEf+eyg+kRsLnOXx9LqRA7lF+ZXLVzQ79CoskyFdi4CRrh2G3SJC5mie7eZOB4H6O3jLwkYpP7RqsPebT8yS4SvSIiDAZfQNpD9mFzuqeEKgL+8KHuEL6QHKihMr7H48PQkmXsI6oGzp/6L83tBecMkb9JsLVr+2JZtEpYbLZ4UrCohhIX/AOshiHvIE47m1oi1vqrU3niXrwUKkkDdMNUnAWv9J2qTc38Xw9uG3c2u5GRofb6juJlwQ9duj1YJr9QJ6nf8zoPe572pmHOcecOLIu8xqYStXOEkraIF2caw0n8T1bZyuNah+ztOnBmpJcSE2jBs1+p1JgdquTvZODIsmum/QgPIBhX+FD6AIL+bUBm1N1quo1NPvftuDmdK06K0pekjdNXiduFQVm1+8KNqpImWoV2TfcgDdd8Od2UXkq61uJnNEbUV4TTquhyi2BOTN8LzQrctIHC6fjbE+J41dpwdpFQcy+YGrWZ7ddk/sPcp3739yxkHvpBnP6TXeMB3GsTUCm4LFgdsATsXGWyRO2wfokucqceh9phwipK6GadQS9pqkRfu7vBl3qbLPY45qAxR8I/qDHEQKZXvFaMwCRIFTqTDpT/spcWP/WJbo2YLBYk9pUb1JbkOyLe8cMqJXjIOT96hxcrjhu53DSXGc2NIBmW6y/tpsuyms/8hwfzJXEj3fzhrM17PZ27SBeCKE4G2wBAJl5Z8kkWIo/pIsY/tm/lxclAzJqHjwWJGbD//dV754nFoKuPM9pOfEi4ivPzdRJ+EcXAKu2GsPoT0wXMhc+XufplVNZAtmTgG9YIl9RtzyxaR3Hw/D+ydZ4i9yivKVO0T8ZZQ+R4oh8tQiuxx5HQm7LsV6MybgzM0ze4VoiC4DVGKPWgIGwNRk81bdNC98bdpayhEbB06EQcvUOZN8Q75gwXRt49Vq8/v+5GMJFgjo6gczwx4KId1xIDsOnmwGPztDXgApcQHlLK6mIt1cUqk40hUeqzp2VjLbX9a/x7ZQWKVc5MnWK5PV64DpJBhx93nZgxjoVxP/Vx/iCxY9nWLh/WDUjt7I94yHVbt71HS8Z5Gog09Vqjz3YPiTj0Wglri9l/JwjXuNA0Gb9mZdrJQIXzqWYhSnFUJCRQVNSDIfRoSTYjJNjTQrcCwHjXP1iW5S7EcT3UyzLklqe4WIQytD3SEPu2pw10c4/nTBb94+i2Z3ieZvkhVrxK7QAuVLmySlYD50EdmWRH2ZEbTLgU4vY/3gJmDaRlggcU9rrlD4pU6aWtZCawYfHWOJeAr8ZKXSyX03Pt9gJhtVnRLe5+RNowIKVxycJnos4vtLGHUmgO7tsTKfFpkIoilzoFtUnm8cDOhANTWVFXUXsfI80rm3yic4zNTFEfT3BQnbHHKScrTdDLv6hK3ImMWofFVWad/MEoGxl4XqkpF4KHBXqnB3BCNKZb0jepdzhMy2SrHHcecpI41q1C/N6c++D/rE3AcHuaC5X1ilwYX2Q3tOjZmsDlc1KkJxz7+UyoN2JfZIyRfDSrOdzezXVP+0jGEQGZl9BIoyotEi+f7+j8t3PgOUfqS76SLFuM9UY4coTic6+pnUnkACUjI2ysasy6o+8CbA4ojyJVOobXxJTpPyEZJs7mlfoLp30WCDqhSJA0f+2nnWaZUQKN6jLh7hgSjgaN3zNA5aF+JrXmdeW6M2U/3AE/0wKoeXv3KARCRmW7u4bXumgchI0dVdlIzZtCvmjEg/kdG2hrUP2aidqTxhVra5DiJnfsxLj2O5n+a4k4g6lS8tHZQ7UwtiASFOX6n+pias8nLGZs1o4hXbSV3947NUAdsdwsbLdw/q8DF73XPBhivob2Ac27l5FevB+ALFb0GzU5v5mYpKnQRCz9VaNWd4fe3zlv2Yade3zxu/i0CBNGfHSunkipos7KJ3s//5hG/evFmOlS0yFS1Ea3U9cpGC2ByW8N2zqu5EApAKUzGwHCveJCDLxEaBY/lREprGHs9A5nddT9l5WRw21TACRhiHStwb+cp+n8mzqTTtFzxNP3ifDTw/T4I/AkCwwLiJhxiQ7bhETgVuplaq8xxZtVGj8aqq9OMoZL/OtxY79J0mR7/y326MEns693lW31PfEJTtofBMB+8nPAH2R6WCTH5kJB2/l4NzQGBV8eLfJSKXzTcRKzQoO+hLn39OxqADr8ed05pm37A0xGWcMzJt0QqXOhNXKEziUNAkCxBM8Usg66B7KZzMBm6K/gAxrvLLfKeJ5WGBRNY4jLJUA7u3fmCBkofOA3mzQLUMHo8P/L0PbeT7qRrrk8GPPJM+WNikS3QQS2BM08cKf2LMZCGrscK4g7zzPHMfmnRxdxDOY5jWsLjMlNWFOjnug/EA+YYGCuzHSjgeBpTyHEuiIiWvU2Aup3K027HpKmTIH1YG60ecb0zwOr94wmMw0lcY/NSbhXKRehuB7dA4Ezq+NLbh8uhbacvUocbik6boEq/KmbfJi/8iVI+Fx+ulAD2FZshP80FRe87Ojex8vU7dT8OCx8PwqcsJR6toZzdrSOuoi9n3uWJA1oW7mjHipb2YJvtcYWzS8XQCQH4KZjEUmgr7R+z49mAGHecEuI0JrO7TAnmEqs6WI+niFzFBbbgMcQNkHwZ4wVs+mo339lzt0x3sBjt+JkGVoOCv9zpAP23m1IyUifqgMDVp1VzRoY1xD3Ou+a3HlOGHsqN37VF5X/3DLzoJUKvEWq3qGIQVINWIE5aJfH8fW947GayQlKgGMSbuAYwWqWt2iEJm+V6PhpeoDU9nJL/ZZRbjGSGivGNGElrItzSEkHrCNJwi6Uvh0UIvcWreuLStQK/YMP5ZbloQSNrYr3unipv6xEbzLl573CEpxqfM+ehzrYEaTvwdXHydPJrTlRW5qY3mnmc9YhsHL5NzQJNnxkPGdq5YdIiqjCOCZfzNqugDE+NF6dAtkKqXNwEdw4ZyWpJ3zl2GrBMgeNUrE9rp8xzsntCgBjg84oRl21RNoCjFz3mv8lK37I2l5aVSIa/CeBfasIbSmowKcZZjhVjW9dsb7BA6gT4AxQPCF/3cZAatoIJUQFowpLeiWPZbLShl1TqGopGsdVSIbe5cfClProVJeaOtvwvtWHJGRWCinJlGuhrMqDNA+X5wgr7IlUxhZL5POqrI+ApWfY3n9X1f1LsWEV5gYS3nvUif3WUzAZRd5o63PK6fmZQNwnBbakCWE0fdTZkjtInW2SB5H8CvOomR/I7b74Fsh6OIbANovQ4ZW++kUocibyTo8kFKhaSP3E/GiwMP/NTvmauudeRvvcIVVjHpLCZugzUK729JH7oIZagWgFQEQmjMKP1jE+7HuyB2RpZxSaPzNw+NxqxJJ5Tt3ffnw4WYFMxivxbxvJLccdin0LHufNwtObWIGxpf//bzY/wywpMq0GLbdUUZU4vbCW4FasbUeuk7bRTwBqPwGxQBrcia4shrDYUlXESm+6QSsqlD9lNPObHTs8gvIxwblxHR3I0BB66YX2Dzw74ydqdoLDtXQ5ebxaMFPd/Yb2nxAD4bUYMqCbRWWS1RhAQdojYwwG61tXLBe4oG82+CS4Ex5E2mGxRn0G9rsx+aezhcvaVbQsiArhq7nvfmebQYUSR5QrAILSOtnlgKX0SEUBXWGpRFyEaxv3hFZIZsoJ92sV+4MokzQePV2VZxSFZlYZUF9/tdKb/pAKqsn0RjfHvo3eV7y5sdYC1RAonML+636JVQMSwNtqdQ88/vZ6DkE4/dxcpqT8Q5+ZLT2yWmGir01LAMEOGhEwFY0LpTnwocHwsrnrrSX62TAR1t3voRFpajLVkPXiSxHsvmEKZ89iC+5U5MY7W1Wr7A1I42FZHSVb5zZe1N7Qa0ruqgyrBw/2ZS5QL14wpSDLD+PjtlmyaE7hGqzKxLslHnXKe7D/nS/ngvUtdQHW6HuDz2ca2TXzY9pLdamlENpBd5AShRBvpE6afOGioRp9a5Hp5dEC6+tIMAXeSWVHctRZ8pVSPhOQxVQEI1cr+I7l5HsUUEHQ0UW7vmEylVeG+V0udnu2MXcEySQ6rRBAufjxjjOo2TZk9QrJwLSuorj8Q5MbSCskdZh+1YXA54TNiVK42rFPwdNOYrTvKuoA3nEj0gP5kEKhkD3d4rCPZ34O/Xiypdqc70+njanzDynFBuecHWM+sb5wQJQstVQoynoqKWTkAETVRCZH7mzH/uvcqckLEcx4kdJndUL2bks//IBbBjcC6xI27LfU3x8A17Kzgph33rv51GNOgfhTpK9RfhJ+Qif4rs5UsKaNDsJ4UY2j0rDnpZWVhd1xDUb3mLgeRW3r6T6X7xKP1ucM95Dki9Ac8aOlaBcvu1QX5MHSki7losF4FQg6cJOSJjpcctl3iW3cNSDw8ZFIkOOe7a7QgMBCmOcr9HgblnIrslMFffHiBXS4vrvoJkTevUfPJXHG2wXROF9VfMieBWvGC8EYxUqlLovX52zUEr6OkBjEr9A15a6DzapN02+2lTdtzdsKBrJFHSfFNhmcIlDEhuQ1ZyJUL1IXQ1KKMmggbOiRtT6tfzzncIhJ+8Mr2CkHPmiVathLpsT2y+1bGoDpMoPdJ5nl8usr2uy7O9U0r9mpjijptYoZmVC2c5gaMlqJNgVB0TJl+W8SQ5j+XK05i6ceX6HwJrvXhJ7M3tHLJxlJQ8027xt3WhReYUmtgPZ20nvzXj7Sqmu1WT+q7AGCBW9wo3QuUvvCb8qqJzrPELtCchR30XpztN8aeemyq/+kRCqof4fL9tOK+/byTcEhL5q2wT8Ykaokr7qID6NUReg8E22chk4WBRe6r6ZVSycdbk01XX1qRbX0DQxCfl4uStmO9na1yxQ0Y9QhdOPUG90n1hQN8HPMwt2w8uzT7gv5H/03thZSn8iVIJ2lNPI7MbuYfiDQlqviUwhYImVtXYRkG8a4e0n97FWfgeE6wVPtbpxhsd6PxzR6SWUS4S4dlLElQcFwVv2T2bijIA8OdXpgcPhN88vzZvPN1OkYOaa+44HOJrkCnFz2fpkfUmsiVjxk13QePuzcgWn/DU/WUea+eaSFRRwgcPLFxXn2RJW+ZneEt5ekfDf+HJmmZ9VNtWhAE/X0ruPRZZ7YlOy0vWE7Wm4B319joreKpNFxTsGnRVPK7sdRNduAmMOUjGWBGKGNp7t/I5wm+fK5oXAzzLLLCGN8VS3qf0iuvayeJKz773xpBRyNPFKAroN3c5gHRzut2PSwFpu/5pnUKtQ3nodpRvml6EhuIDdO5irhtaxzvTodlLTpLreFZQkRIfCpSsNdlxFksljn6Yb1IeuBCT8jMFa5x1O4+qitkg7W9LiiqwvHGu0clIi+d/9+0ZT2bG1/yEHaHSeItvMBmTBswMG1uSYIDOap+cv03EsV9+CCPja6WPExT76Ot84YuJAFtFBLVJTU2GSczZWgnC1pKbBuT62LQU9bR3KDWE8sMR6r9XhoO1Ho7x/cYXSXImepa145wpk4wPdhmuLecKASYgwv17iCRuuGerufGIM/LNf1DjUJz+P+ipcRtKADeA9APJiMR553cHbl9F2+f0gHegYotBAhd2Lw96WUDAH6CaMLIgceqroKKYOMtLbks54CCjGBS+ZNwKQDdOb0TPKdy9+fzW634a76B6mlAYlT2Raa4HLB9dgjfyc+Vy4lBUBGbtXKLlBJnXHNy4z6F4lANb682ak4oyA8ske59ODF7LtDqfpsXxt8OMjf5lzOViTn4b2YbIFhgeBgSSw2q12f6y4ekw4zCrU39+UyFiW7Gz5DqMrybhwHMEFZjdmktOkLHp6A0+VJEoGC197oSEn7GHVZE0pcEIhtkqkDm2OdFJYSc5nljhSRv28fabg69t4HImrh+ZnYXXJRKQi+GKE0ZVXC0i1eIeKdcVLIfMFEj/ySmyMUXVr3zgBHKNda8qNTBDmQfdqtfu1l35gjOWGOlDoR+d9IrNdgbniI50NjafaUdhCaq4zLpICVsrkwLWCvRXe8AdZ45kuO8dMMsBclupkvNS6o4bqkwl3ET1vsABj1tDEKHJV2CRdHuXVoEX8nXpKGdbawcdYgoVmTuCwXBTFx0MftDe1D8dtPJMRiyC2o/q1ZlHa2ohbNrxtIUvFTPGWgFGtmoezgc90UTeV4OcG/fBiMnU3WOr7nUJF3ke/+siid16u+GZ1XN8Cj+xRpCfh4cQ+xP3SzjE0oFLM/X6AhMsALut0wF5g8reJcUt1bS3NrMUX47vBM+xaODOWgZQAKnZ2s9GdgvPu8ELA1geEQ5wrg25PwH9WUMxTBlw7AQUWz4p5WYhvyjtOBw14igAloHJEGnwotywBVVHE7aPZEjOgek2r+7zUDplc+lOvvHzrTW7Tzy85vyggeKL1mrSnkx05GXMUgFFc3dJrXNcgr/wDS+KsdRQScAdDEwMAgrRij0A9+AqRBiJLNSp8rPj8A1fGrSp/gGmSFnxTPsUSR9/fBcGDOL+w7WO1gZv6ASdv2zZeQoxn/TQstrhs3s6uxIrtKN3ktMxCmed7c6ubcQkv6c1dbUrMXorCYoLJO4xVsbqxllM4iAhc9z5WFRBQ9H33bcpYdiQr1DhLlcnyv0DRa/M3Un8zYbj9SHSHdVasuRc74bpGeOiOFlCI8QH6VzOs9oknlkn780Wrig7JYA6YLK47U6i9MaGHzKeZGnBcOmhyJaYIsHlfEQTwouc1dZ4sBaNkY3sUk0pw751JPhcJ6crSnjKgXbwV/HzjEd7hveFk1y8f+6T8SLIPubTf7FiVqxriRW0yxMtR8arxKEeWs2jvA/9wSE/+c0CUKvUYtQuqPLE3IiAdaQBZiTaw58BaDiZ7OtKmNns1DDXM81aNSPlOGXFTzNhTBZ0G+rYgTfCZusBn4Vav8yCdVXa3U9o6AuDgKtiLQ4oftdh4yqrMg1ZYw/0vq5YNk/UkdGJdofkIB/ReOj2jmYJOF4o6uh2KkmJshxY/H/3NT6DbFr/DhBrnvXv5x680PIFEEIBpvxh+iqp9PyrC6khIkRl3Yq8TqW3OvXB4KWW82ooHhXuu9bGWei6ofsaZJlQJ2pJrFh6IppUWeyswvQKGfN6eXbdDeeNWG/5TNg8cAa5crPyNqQbg/fwhTuOBtYw5Dtoi3at+PObuRIMSLwCcBEflr+oQ70elRtGa+/TeCeXL1pei6YyZY+KzeZrkqWOEyk2egcxfyUeBEJ4qEGMVmIc3ASPWj3BTqeAXop0FSBLlf+OS5ZWSeiPqgPDHlvdX4W7PK1Wr2kjG9s0gzsKZde3YKir9P8ldszmNLUfrtXqiGKziNG4APEVnHi1tX1pZDwwPWB9UKxUYjnnIaM5BtPWjvxCITOuTSxE5oYfvCoIl+rl7kgOFjpG4Z4duochRrTnKC9tK599SO44eL5PGb3LqSMMuZTh2R+Uh/9grNfrgMZRnUjq/qksBqXf3CrkkAmr2gHweQF4vsq9qauyUxER5x2156xectFs5yUSvxnSypIWBoTr6gE3dYIiW3GAD9g8DTqYxEIh+xKq4nblYpGIit3B3YqgNtQ079HBs9AlsNR8GCLggmNdJZdObGxihNjrPa85aBDfj1MYWg94INAt2F4ouRE0fgjRDrQDeBZoJIYvQjLedjYClmyNAvIDAsPqqkRRPVO9VSid2AgPtRjDoqNDa1x8sobwLs53YhvnFSDFhh5Ko6Hh4yBEMgHqFby4uCtWUr1Qk9r8Ttn6n0sSHFPl987Fv7KVdL1RHU5Wj+1YlBWIPF4VXcP3lkB2EbaQnxwhxwSNUHgwokGgS8O9zQc+nL/BQRRThGM4SdKizyF1ihAMaePN4GqM43f+UxYTFKjKayScXIM2My0bml4QdRNlbavW+SdBHS5u4YqpQJq5Ias38c7F3hgiotm1pEZ6slvn2Oxce+rSoFWvxaWxzprdTcJcvHVJh7qZdJt6dzSWHez3KfYTsqxRiFuKEqiq5f21+BPJd6lKpcBZQR1leKu5T4+6ouOrJhs9hNUGRZaSdhnpoLeIDzDQx2tX8g3Tom3Dtv60sFFGso/5gQ8SWemZ5ixi5EC2LtkPgeVWebZHma9PBmZX0LtD8UpCJBkew5qT9gKeMbUhu0ktxNRIiO6sztybFo1qqRynpzEWdgUhKadlteIq6pi2YYVljcltQT0PYYNp85xfWJ6jqaoYczlfX5F8kXbCCDwOL9yqRTufU7Lo7WGrHAA5Ero/7tjgYYod8isiL4wqAkT/x3q+HFyYVjOJ8xmVbupoT97FZ2LX8uksgl3N+KUTDRBV6BLL+V+eQKJ4iFxHVUFGjd96jtxxACgFFTyxuhnFj3uSbCPRO8+u4z70Hi4k+3+LtGl9UZ/3RZSUdCjCCBJEZ6rITS/vXhTAaM1koUcK0221mIExM6OGL/G33mBplp+M+W89072Kpdd7wzoGnebsvd3nFJXxen6MJbLuBUqsKC1HJvEBK5TZ0xmi7A0RGdlHZqe2MKBvLGdZ4ZQQLq1uPfS97HtB8cWBM37b0wXTe5FH804z4gbEHDAwYuKz3YNTW+jM2y/769xsTJ/hx3B8B8rR42qfK/eHhnLlELb5q7Q2fY6JhnExnexwBeZU3uv3QdMQ6ooq76P8p8i4yFlkrMm8EJiSuWYPo5r5LPIpxYpA8UOoW5NID8fL5DsX4ak33NADG5/I9r+EUfXKnVvlVOJif33Pb71BAKNIYlsB4Wv9fzMEdrnMzn7XNT9TnkFsUgXvLdOe4pwRZ/1PmxDEiFYdBQ3hwifURfpSg4GJBEuM9+Bq+MDpS0ARxTVOMo5+l1Ukm5y+XV1wRcDvHTjQ0CyrMmrFFVwyFlWJ1IWFSMiv4lIPpqIkB3Y0fz/UkMtcM2ZnwvzaLw9h4DROmejGEHHxYAYMUZDDUSOidal8uFqsPOy5Do1lUNEMQSFKoMDmJuypcVDTEbJBGdo3UuG8eVkfoNPmJyk1PqFH9GpGyiJz2R34zPrY9qE0wsx1IhAT94GvMJgqP9Dgel2nU0iz9H7nVv0lzv76NgGjvhBKYejS7SWwt9xrvw6cct/e7S/guQ+qG7ipWAYnbmclevizjSWzhg35X2QZypyr/Lh5P5OO0YCZLyo4qh07Nls7N7xB3jgXkpvdAA19ondM+LtbYxlQ1QivvGrxRr06IixyzKNoclMIALKMvhqkZ3bEv28czRoXF+iDRug9shdf1bZrQzidD4CFrI3XjDr3thP1XrfmfIv46jajmk/qUgbWZa3e0J1Z7VuBibTLdXv28x5/VLHaqcLSqCHfqpQ/PUv8X52iiyaEducuIh6pzvE57iFvr/7fASVVcTofj3SETx3IhFTL10YY5y8KdlI6RqpAD70XpjZhnWlZHR+f6K8CgC4btuucICzNA4jTRNZlFYpGSMW3MUbE9/p+Jtf9jXgr2qNDXhKZWhLpmoSlI8y25McruJKbwEVmrAOiYhNXANqaG47c6ZjT75wYOnaw/LoT/lixlGkC1CzVtOUUbvPnhAJjlpLRM0c3ocaih3N0A3wTyZsSo71P0LnpQnx8zkpM6om7RSvYutCAeKi9h/+kzDs4e7Jktq5n/Gn21iV5SNyDx14qPmB0BFRHb9MH0atGAoT81S29lvDb1U4fKCJ4zPSBhBeVBZZZUlF7iF0hVYZYfj9olls+nbp5TYr19cr1hYQ+2gC9gR5jbfZ/SG6L16Me7Brnyfn8BAvl8HYmeF6g6yqNC1DocUFC3sKR+D6yPuPpxB7L6q3HGv7jJjRMcnZERq2//8len7N87rqBHgFEzwgllVvkqP/PDbCLj87huGlmvzDXkdCQFEjuz0A2bxLDbr9Q6nyXc9tJ3oH3QBrrzIXRXbI3tw2Kqf9LqaZdq7xVjdytqfce2AhIu6irFrAXcWTWiw5JNWy2XIhw6sMxDAt2XdKeXkHIOgzeb2rQBLASt/Hafryxr0YqaZXe289ri+QUaaehZd113uNOK4Wf6okA1rtU23zo3ADvDqz100VEe7c7EqLZhjVXP8oKdD5Q/LVqp/MQ7jkGcH3VL2JRjpxY/qpMotpzV1gM6YU98VdZ42K1D7LgLlsIeFcT/wQBscPa1P4jQBvbM3lki2uTHzl/EO6+h/jU6Tjq7oddAqBetczqXOzPEHsDY7kaoSG590QNT1rV3UevtUaQOvBsdAI3n5nLJiV6ZOhlGhOWRD7b4+C5Cz/UVYb1228++lzQmofkO+Ya+mgV6uhLVUj4L1gCQgXaLaYwGjSzRYVFAjDRc8GFcd5shIoEaxT4zoXJGToAU8vb70CggbyPRI9sHnPCNRUH2lstpaeQDqIfl6wNhgPGQmww43It8YLMrPYvf3BpqmwNm5hgt9LfXtosoOGZ+qVUN7og8Nm/2KHVcbyNDYPeUR2lBcTwqLHe25h3SsLwsfte2IQmuzcXxWhBeQ2Y0f8LcX3wqiyklNksgxJhEWTB+AfM76IsDcLxdJNxA87lCbQCrupUPGo5QzwR1V1yW9b5cagn4txVJJGGr7XqlS/3WNpxV+dQGZGxVkqjW0v68YflYssKr9Ng06Y3Ox5cMZ60t+5kJFniM+1S7Umo4E2L7e2xIAO3EpsBJZuUQ6E1YvRa7Wnqv2ZwdyzPekENwpeyyVwLu0RJ0VQShUL5sZ+Kfg23Y202+PNf+b5lKyZJ8LCtj9qTLdvIIGePWh/1KHYIrd1J/b/JthjVGzuNWOGzA7z5JVEIERw1Gap2TITGHO40V6s57iGnVvAKWcimDjIRJVqONPlB4Vd/OzK3dA6Fpc+ZfUAkjT3+Kzu/Hk5158Qi+t70GS4dcJz1fXdklsW5JDxEJ4IuuMwmMLQKHiYxcjG1oz4+hbgEtL1uQnZBfw4n2uEQgQQNwNi1Cw3/tuEsO3zLlBP7+3qDdS2KtnWi9R0v4Ori7QoSKfix1xFyIefbITeNQojbnQXJqGQBzehZCMTVa3tBDTfp9pacxeithLYb1/Z6RvkMNgb5SaNgnGr1CBWPX2xUNZk69wwhSrwTupCz6NSrA/QQW/GU5Z2hKQoAMznnm0xRcD3apOF0fZqknalMKjPVs3Bj6uruirRRoiHwKQA6KaykMn497uIUWsHbgqwPJiten5G0te1sRRETmN2YMAZnBTVahS48qPVQlFe1TcCFCUtZIBEF62EMZMX0Nd6fA4SL4RQzic9i9FMxMyTml7b+gors5Vog4taEkRBM+xXZcuSaUliuXX4yiPkygndH8mPtuBob+38ZTsagThRVp4iE5D3OFtiT0uL8dR83/TP3VcModMrM4rRckVkXTBFSLUMP2o1ExM6uyqd2SYnueJLi2fTR4mwbHoMWIum4rdC2N3BB9E9UoD86cLla1M57ylCkYB07q2bsbNlZtqRsd4ZyuiMys9odmrnMdXLV26p9LqLTsjRW1mdlnu5ARFdEklIfzh3YS0mzY4Lx938SYv74gR313TnKb2Ce9qBC/FQVUqBkzozex4KDJrhQac95cdlwPrFpjSy+zn22Uef3US1W3DaTx7aLQW6Be5S4Yun/+JWlnTW/YHUcWa0/KMMfy4FUZlvBR/aB3lmXAc6vwUpCNLcIqsdWo18T2tIIZc6cUcxqa8+vSJ2+i2fYqPkcEuVU5ATxcs9Ujxks4C9wnY3J82djOIUYRR7CrcHxnxjhiKxd9fnQBGhSPIF2oqs2btrmo0CkFFI3KN0p8riYEGtOEsfPD5SL9/tcILJyN5a8mUrUzQwhVNOxKT5L6EHeDs/R05zik5i/HTcMHfCMQYYo+3DqJEngjPdNzpPZAGaYuJ7ajoHXzrzFX3ysyMWDvSIHbb0ZLjnk8ab3rjobrgtvaKPvhwGIWnjzbVsfn3hMCAX4lf6RuJlLeQ1n3FrUUECng+6auoWL+EFado6TMtTCVzZdtIdhQOl+GsnO8b8QC7ZE7TomYeVjczng45kTqp/m1nyj1zCzo2JHX6ipTtd6MBcd6Yi9yX4Xf0P/8TyTxUAsRLbsOn4irpcu7sQAuhGcgWlLx1r0n8MoWp+Qz4HfSNZLR92L3zcCTgo6S0sKFmlEAJ+Edt3PCJGpvrhdW7HPtErvXrTIwki4Ckb6RcoaNhLLaSo5rbzbxh/e3zALLSMxBrQcy/PCzKTxz84pWPWJFYzrBP6nCmLA96EeGGBWtni6m/x6DLjQhK1cEVb9gZ2xChfQG2ptY6adGC5gFDVLiXOyZLI4j44xTg2qmhPBi5bUoDpZLEUP9AWOiIllJ+kexk1Hnv5sVv/YdHMNQgqjnxxGiOJP3FNE8rX5yfhoU1TOxOSAKN6+z7YA4UBfhfPzSdVr1Peewte90/kqkLxuIsVNLNA8JaLkrEXUjTpf0E4hA6EJQX9xyfhXhDJQrVLnyQMOPocw9SI3k3PZyNvJdTkbcvNARxTGpS+Y7J73UawOgjHvCib3LtFRsfjkmsNFyWgp6Vj4HSOpM8zmlryVtgg4ipZqQqjJ2QLwBG03C/BV3qJ2v0lDfoJvbuc3I3s7WjPq0BYon5n16ltiDTlv50vDDPQliDojYkUwL2CpKHOSgrU2Xz18ANgn4MjcDp6IoIZJU/Q8Rc4BenwhzCpV0ZWcYd3hc9G2gbHMqO13uGwfCZDFUSSyir1RYibniogllt0pvt+4E7H9Oyw1fj6f35GdVxJKioL43N2eC+7YAbkzmc0mD1bAGFStuJ+siIrXNJDc43ckOghWO6HQ6rvoK8vwGZ9aJKjq5VEhiP+vwzjifmx8xXmjZ51frLdnNWNDw2WtcluHGb11mXojJQ6RJ6PLQg93T1+83kPxQBH1xUT4P1UiECu8PfN2wm/g3CITGrKdV2PexjKTkBexQsbm/z3X+EMQ5S+kyJ2Cezpp824NwZmX71DZTPkIQqFCi42vgEvGy6LSbURmK6GJ95/N1N4pjWjbd0paDv+tEX04WYV1kGMUHS9KoGyFrRdvkunG/ULPE+UqQo3SeeUDGOQDyUa6VEp+0M2D5lqB7hAgvP+iR3vFJi39MRCl7Vz8xfIjVxOExQrOzqXDNmxYcZ5G69dWg1rQEEjQOcxdNpKNLn7FFMeReHlsguTAbdrongcFxXFXKRRwUXNlDmNg+dv43eJZBOqPe5Dnt1Qzyod8r23YIUK0vWqE/dUPtJHwkdhUnkxgQT1EwDH4Wb40YVi5y7HqP/bq/FG4rEdMw+GAa/KORh9hRugEYiCFF9X3PK4J5qLODTCB+srb5nsqdxEQByqIjx5MngB4aNbfhhXIWkzty17Mcv5h912Nb0+kIS89DnGFoAnqvVma/3pcGZM94NrNcWJRPCIv6UZgXjjA5Crm/cxArwC/4l8AlQzk+0QwHNPkptebqaSfiwiw4/4PZGnPM1tTS7fotC8AyAE5pX2xi/sazWUkgSLmhfOuMI36C0MLovn5531Z9tcmVHWRLHGc5IlxDm48mDPwhMyaFkxEi/Shj1AgpN1yYTJHNQcx6nizvBeDFIbaiGyhGNqO87jv8/l4/85P3L2oB26HTnH976B6j1uddaqDq3pxi/pIp4bLAF6DSddD8EVOAZJSB1AppC6TCiFnkqWW4qP8cebKz21sBWkubhofMLVrZdx4rMOFXJbWu4Lzrx4DLTI59G/HDgLV0nEYmMHI/HorvCey24SFLR9R1UeoGP8jINl8HUhHEK58kg5gvgDKoteXYcpSPAVqPw8UJXXIAoeJ4BR2YTAlfcv+LfG4Sa9DOrFoeZMqDM6R6hITP/7v70/Gj2Cee8APiuGmIqD4i+FltlPfMpUoafoYcxC2T+7NDm4fZITzU5cHbkxQIG5y4e1fh/w/51TO+1EsP6F3twS4JrcW57OYp99JRtay+D5rVXaLwaRKBKGr7RDh2Y+0fMSwMrIkuyVoGKkSfX7J5vpX4hBKEUqNiFNrPkFaoMO5//vmjGQ+LJPvVFyZxmn2MJQn098nFSD36wiU5BJU+8zNjr5Kb+9DoFY1TbJ5DvmljbXcav3MctGa4R6bo+8VUVaiQKMvhancY4LAYVxySRmQ+4awOdjCQ3PYihAAJ4u8ELXsPO9OSrnteus5Z3xY+r7nNR1jRYyuYMHivUND4fWpLrkeIk0mFYFSJqE6MummZgwTiNlXe6cSo64clnSnM="/>
  <p:tag name="MEKKOXMLTAGS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r4Jr7f9HfWypFXtqll0DxkxDrKUBb0bJKAa5TpGg5X2HfNqBDfH+ixdO7sNEN83Y/SqzrMthJMsSpQvuSxU0mXYKEf4NMkoDLd1HimFX4zHM4e032HYVth91O1THCFXJMGznKnSICRwjIH3VAfx9nNjTHRcdDKQ3kqsDxDRcmNzdVq7iOX7kShznT1+/MJlw5yYOlDPPtAsFWCYIPCcmDiIlljrZzaCWgvz+hRloe1cka6QkwBCZraX9868WqJ7ZRwhAQ73EwGy5bazG1Egl9/h5VwnPnSIY3+gbkjaaKTFF5gnMLvD0P1xbxNQAtpc3jbNaL3QOm4nE9pziQ/cYmiGK5KzaU6a0TVDQlP+Pskb8FKir/Or/jqPJlQ5tpIaRYPfuusSYDN5LmKqhjz36Rkb9BNPvLcNRwpBCD9J8lRkpU5p7JE+e3FchfmJk9sD25/ZY22zvw9lSLgLjFEis1tNuk4xs2yfhQwK0dj0Xa6Vl7g9kZP3PZe11EIum4Rm92GcPDd2oyx4ilDlWNpaIPRBT7J9IMPIE6bkPR14gMvkeQpBjrs6Ay7vF9+l90NCNZvqA3mJWnGhWZ9Un5IPZpbaaOZuGgFaea2Q1v/BRb8vBTzGGmoddpoPLa00t+t1HHYzkRKYRGxzTPuf8sACsybpfVxkCnkndTGGscYjZQY/xnoZQoJEu4LHybpo4nSRlYys4pB2OOkxzqx0yRCw4T7gfB0qveEJMmUSKih+klnIEhoDPp4Rya4N6o5P0kx2JmUJDyLxkOFW5VIJwotwIeJRJZR70tGBktAzeQSzU8g9T4sWtpnFhwUi0d/yTMfQQ4X2+eUC4T4aQIeCskRnixrKlN818msbKzsWMTOgTooe1spPSfcwLI1gDY+92Ujou479e2xSXGQBxXzFYp3u9OkOBTzBo2hJxuRu3S0/CDqoZiWY4DwtBrOTd9j8NQ3UWhy07P2ABvfReR4XPqxyYBEaHzOc8OVCOneUpVmIgbMLWZ61X2RrJxp49KOfKlX+TUWD0xPJTklxuK1iYfP9ZQyP0zh0aLqn1z2e7L4gsA42RAW4sctIDNIxIbDHdUcUdx7htg7wW/B7ps70lOc18wj/lgs3NhF5oa677PT13g3ZMvfZuso9T7TDqs3926FYwKjX4RoCcL5Dn1uW19VlFcqpVa1D0UgNBa510D1CAijVb3XnoKaoi2RthqPj4GG48nvhCTAjv+SdXkBmF7TxjquALWqcDj8lCOyZ306qbCVS0zCe/8XSmMdof3ZGQNAa/QbLp5gRFmwp2yk4C9phuT8fE+yaPsR3nnnSnl7Yl1nlRy4ztgxAoYYvE/o6AqhDtMngQdh+t0Wu+EFbdKh+N/D3YdOF5GDNebTwsLlxEE6JPGi7mQJ1cNe0rXCJfe80L6+hgt55r0IEe21MhgMJkUtlW1c9rfRLoq5mpgsMjfWRdZNuPZ/jIpr26bUutfZateYa0MdkiXHGQkAcLWxfaEos/qr8usSUCoFHCLCrGWxeDvQtyqQhzwf0CwJzIWhWjA/17+xQOiPCvzy2qswpl2QgQojg67lmKGj0M1edbyvh69er07Lbm9RfsWRmsKBsiOVlz043tsH9DODebB3KG3UUZmervwejvDr+0Z6Dat+oWBsgx/XI5AmFDdVuWQoMVOeA6tCU1AIx2+nU9Nn0jF3gu67bHRyCNMhK0wfDChq9hAPbANF/kV+YN/7h03LPjoWYTLZSEigtXglV2hzkCWSbhgNLDDz1yVJaZqGx50/oXQZV6Ty8HQkuOxvcBoA4Sj4a1MH+2h1jv1i5cfQF70a7rbF1n2+/hzZgCTdbAxDKV4Ti77XvOUxJFyeEY/95j5XBsLDP6RKpR5I7g13JQJ7yUHId6tV35qNAwN2Ou+yuvyTC5rqr0RhyHBwCXKJJO0bqUNlztFWvYPFnospKKnCbmSZq/oP7aRD+ZNZIvuI7wic6k+YQUgwwZlt29Vr7OTgTCXEuK/lxNN6jvF5rT5+pNnHzqhDThK3sf7IomUIoLwD+YHALUSwAKMQz858Ombdrc+NGXOfjWsEdcy5ShiXXrtjtCd4eweLk6x8mJ+vp98UFo4GPQRH/IiOhoEia0m6Y+gxFOcy8i6SYQrWjHpHAmRJ6Y3bb0i10ufaQac9wsVpZPMvUde4qmt9hS71lZRNucYL4HrupDtcMWuEsAH7P7AlHm9Ztks/OqCnbn96l8FVfNNOhrlic6zkl6TsarfXVbtEYoMe0/1d1uW+FjWoMQ2tM2BsFQJMCQZJcir+GxwU0JM4PrRRS2L4JDEfvj/Bz7Y8PRmp2xCBghUU5eCUQvKpGDinSpf1gDxK1MZ84FTeYrPtO9pGyYhw7l8sVdoGoTOPwE0q5jpae2rvb+JdMsNOQMMZi/VS8P3dNub4srnu/I4QH9FvxWgyjw40Yxu0L50CH2/pfq/gBCqz7yzaCZLkkTv75uGjzh9Jmb2tq8WqPbj0eIEm4JgC7PRk2C6EpJj0+TfNy7A2UTSLlMqsixeAs715H4OdcS1ZDV7USkoyIvgY2WGQwcMPYhyHijEIrCQjcg/fWkoSNeWFJM2EO0/OA++ILAWSLsgZvMwp29I9A3A7rkVQ2hMBGUF9AsQwlsC25/tAQBCIht7QlboCpoTnAD6MohFcWvwKOMyXERJlVZhVDu/jjbAIQ3WDNCxmdtOcM9HvbDB8Rw4DOYTDhrGQBpwf2l7tmtDq8ufDOmvkwqbd0N72pUzuoBaJZz46cnVP1ewZHt4d9HIDNvWt2z89zXovul6A0q2b1BuW20nZpEts6S1K+te1HF7t0WQVovw4aPSMe4/KMGttwdpvn6+ekTlSlKLKldCUI2Qj1/pEFiNsrktH3yOaCk94oK2+K3+jbAnwS+L/8qUuYNHZKITl+P0U7Hc6Zo4/8sX877CPUjifvHbswBMK57GTZcayebNTiYUy/vz4y2Qtxl6LYyyLsA3QkMj7WoP6MpR9bat7bpP5Jawa4oJ6QMD8WQDUsszu9LjMlXrF9NZVBKE5Og69c3sGRV6G79YPJmVEtEuklkOJ74P/+CO2ap5cAX1ODwnwySgI0LXVWlxuUiBwhcutn4+axaNU+Q/iu3C7RqRC3sgnWQHDsm43FnrEFEKE+TJGBA3cQubgFb+45UxPmtHoMcmUbc4t5hd+j8jsQpab1Z6sJYQmb9TskaNlrZuCaqtJbG9edxBQ1q2Lcw9BLRPmQAzB1xk27TPH4pjezOsRc/UFiFBhZvFowjCk14BXHaPhCMcf0pqo96AoBrQl9zqQN5m/TODzZcRq2pwrROxd5BHcdpbMf4Zx+VJGwc5j8SGpMPmAfnCHSz7xNFnAM+ayoy7WnFvNmgXHoVPwqTTRdHwupupj8169E6YM6fqMnXRSwzJWdsk10VWZAK61gipyFchuzKmCyroX+6+CAe1l0rojYqNJv3SgvkPl7YGZBwvSEaq4gNjMIU40Ec23qgLWsAASgYT+6vPUNNfsAAYu6wdqbuCsbmXrdbxZrdUTN1YXkt31lkdd1q2brJ34plUQ1LwsgXmLqNmq740YrXg5HZXfxdLR5aF0StJJ1ubzxCFvl0Gm/uyBnsOQJE4I/JO7UGCzEWThg59kzf0jm4HnZ1zLbrA+Fv7LDg1ExSm/eq2H3tPlkkzwAbXd+cHZ9tOAV77g+ITcDrDarGvXkwSxZMEtBxRGT6AdtpD3diyuhTQbuZIdT5qS+CCWczQGGcqrsg12y1WxuRpKXftjmJlpCgqg5psbXJmIlIA5DvodV+Y+MxziiF/ImopT12xcFbcma2rgI5CAOzjbpwVNHCg7BpEl+s7sFJ9xJkBUW5hjxiDTgvNB1U+vCtLiVUuD2Yoqio0RggCyAjhswGPJOXVGktKHSxtj8h94YKFr3njAaJtIa2GOVXcc35m0/Y4+y3/avtfi89LEJIvCGGqECbnmKMUDA1tjTq8dQZNkUW6+grbknOYpwfGgtPe5njt4x4hDJsdw4PNVxyAHlsgKmBW3sUrnZUmHxm1ixZ0u1GtcQRC16SEErWlodpPN+SxWeYzxP58D1pKmVW8r1E+Q8zd2a2LX6xEmKpWyfH3AXqRH5ZViD9gXWYfXpJkdmw3LeTFwKzP0tzkM84punxgG3X2moP6gm/SL+mWOhfEX40SxdUvRzx5Ls8A3sJOlwpwxkEyJlHWmAChZc9WpUjCOSIRyhOaJh4qdmadBzi8JGH/z4IhrUepeLxIrhqzBrpKyVkD8xl77k83bACjQA7VZ8EkwxpIkjzegxxqRGnJhhf9giqLwrXEh1llfAJY4AdzK+2E9zyxgTDrqNR//rrsxlCBE0JbCWkjFJGebD2GWOmvLRN/iaZBu9cfQsy8wDfUq5/9bGXp2irJY5GT2yKah3xj//5lTrB1fkgKhC3OL+MMwIYU2t7XEuSbi7l9C13rJnDpWMrXVUYXUlr97GsvPj5NaVhn6bDtLde51sEPxkgx3IBt8Zp86vq5fQECtCJw2dBbhzO2+iaf6VOye1mTHHfI+u6h8wvCrhGpY/KMTDAIutVdQceGryRCTmczKUo0gCPSDzQl/yrQ9/kTAOHF/G/O0WwwPZ1GtdlaGTUE7vjiEPUL4clN5XCWKPcu/QD1CrjsLIpxU1rs0kvy6XTMc3c8wlPldUZzaGuKo/i6Exn7kj+PELFZsBF5yvPLeS/Cj/rwlXQhMms+M0KuwEkARYxspI8tdmjisZgh3CEetJqwTKMOnd1gX9lraaddBZmpkEY4/9fCIkHfNl1xcXfHkP8q+g0rv6IikjN3bp0g2bZknBgmrNgwy2yTDO3ANdhrVuOHGy1mEC56Be/1FPpQ+3EK/mvoMvssfBiBV6+2B/tqqae9g5MgZSwLSRaPUrW3DzeYncr/dZ/d1kPpuLjRemw3f5dsdSoh39U9XNKjJh2BvOM9WGWY4xAZmcFfjn3dmEOVXP7cYS1PtF6WW0mASy2s2V75Dy+qB3vUsyq2DsP0gMIA4csURpEF7CNL7NMgUbRk3Zr2ZvuPLcMXOG9qR6raeXzfETuURgoOry/DitS4g1uSQGND7YesyD8v7vbH5m10I8cghNJlzL6ZiUV1XRjqDhSgmjUAeY6iNyO01msUfaliGo3B0yN00NGCRmO+VxG3bLqB7WygcV2PhJlLsFzjKTgNdPaf/dGl3TGmV9Tx0wLUZBboZpYeFTaxKsSyls/SrgSyQF7YKYIrKh4/2DxdaKfnkAEy0Wi7OIUO+sGGIz72Pe8QGU6JybChHON7ac6E+oLLqZSNUBSJmyqHlS6Yx5TBjVSeixELzl7G14COzDhb13ZmO83pHuOWNtkTEP/n/Fc3+Oeq94J7FXNOBlOX1mBUpOsfJWGaN9nUzc5TrFjMar+FtLJ8zbkXpgbh+9LJuS+gXXAMyfXCcrnHl6fUMsbfMqfqbIzykzK1xUnTJGE1QPmGQkpS0lP7obbIS0YMLPvCJV6Zuz9c3VpKNQSOznVq1vULHzGWOAK4hXsL2pd72maasx3mhk1eT2rz9sAXGEOhHWnZbe1r4j4ZtNDrQHbS8qx0L8ISNLkQR9Iqqg2DzYSwS00vQZHNCNT99+3CNMMLytuWbaKbPJ7/eepBvf6fsVpzk2ZbSLTnntOE6x+xjCN+0jpHnNlh30518jQwHYGXgqNRlWfx9VMygOiZr0xgUMnoCcvTkmHppC81ETopCG8lXhpUN9dni7XSYYkKaxxEkUKKMy4B0Xsyv4LBAH4gIqJwex5dPE/3+AWRh7Ai4iQ17hEvg+V4nfStQHEfDLtWAtEIm7pIrqSLgLCn7lyMpOLXlszS5uw308JXkLhju1ItwbOkco5R2woz1Xbs/sMIx59wDcz1+GUr63pwHkUvPknnh8i14LXWjZ4TTN+iiG84TpOgngQjh+qmAqEXtYlLZIDxgZDzCOr1EHwCdKzUsGDLX0/YaM0PRKYN4t4+bwIeBRulDN6r5DWV4OQOwOfpiDTWe2JOQEvaWavaEU447C5mt09v1tebEnQORyT6Fwe/a2/guay/ovh9wbGSG3vV+S1vzxCorOhIsYgdCYcCi8oZu+3Cvt7WEMzfkvxrqiXBP3UZ5JllFpI58XIgZvjHg/cpxqFD06d+WUsEDN5oBb1d7JuPuwTOiMlTzwIJsv/qqxc60QBaMkwsQjty4X6/pLdfESOJu09b1F2HWAXSp2HFVz8JViksNLUJBEvimRVGHCGAjCkqHc1jt+0k3lhFewF4Zp/aNYwAvz03qkcjXUX3HLyAwlO07MCYvVuZlAKV7qJFlNAckeu8sgCgfnaRVxx6W4/nHWG3n9AWU+RVPvF5hLAP4c2VITIAVG8FlzhyrbI7pSLe/7zP7hKnRa62hew4uYxKWb9GQNq2IRL+Oe4lXHzbiQANybJP2Ob4jkZh0BC5j+DNMcNl0+46/mHAUBryXFfBVZja0Q+9NW2UUNgmFOZUb+hrM6psGVywqUMFzZ8SlqQWKB1s6H0Lhal/0+moFqPOT3lCZ1xcacMVWBn4hGNofiwu6+igGWUTdo55+Nq/bLuZ8m1tACQN0sciOUm4MKfdYwnEz7/N1hZHjzYV8qRJJ10qIp9+VsKsAK+9q7OGmoA5roxthx5S5S7TQh/IQktyomBAuNdDytiJXYGY6St1Ej5T3kEIEw5uIrExUl0bA9IXCYWTP/nFTv59O8b/J2cVY/x6XE+3YA713QcvmqzJW9ccP7Zr2KoDm2MT5OvHYe5RwEyoEG3DzrE35psUtlNp3dim5dNi4ySDI3fOcAaEAsBYiqlR6ha7ZcYWJHlDwqoZm+Lu/bLdPxTYHvNdz101RP69mkEB6vjeq5QjeVwCbSYRFc8q8rJNBLY7rz8okVZEoDuAC9QDaYtmAHcZkt9zbCZj27TqPFnFVeQl2lImwWNlkRSkxHXH0EVmM4g8rlUAokUfwHfXgRI8TKBtRHFuRTZNkT8+hkkvEBTjmks0jKEn3XG2oO9+La7M9TcDox8bcxHE8wEpvjQCUAq89iO0NpebJWNLK2A5LYHs2g5CxaClV95jSI8MPNSv9mB/tcR0pBLA5vpI8X3FdxEm4xC1mo0zCG3RZd95D1gqPtp6lq9ARpWYbzSQnkKUKlppMGcCR5S/34Xbn133q/j9vMgq3KyHUqGwCjkcStglnhxBLk0qlJva+pEZG+i8z5st2LWjA6KLZ8+kvUokoznD3rCNUXpNsDHr/rdiB+TC9lW0/HtCNOaHz6ZX1UrirywO+5b5yw9f+4edDpghGB+q4ZEw3tDK5umZqtWRFE0TSfd7kiP2ZYmhumMqejNtuQQsr2Bmx69Vcksbv68MYzrEbDD2MHnJQFGEOjQctfAHCPEHjFjW3y15fjdb/MMWbtyaVj8RsCbzXBiNhxZxPWdP8EiaX8Jm3XP8kMpQNVjEl6JdaSsZrctrh5XTrs2/RKkw4x1++AepY4gXVzmL4DSQqUswuPOzGkZ6hffpvB4rAr88vRfGoqur2bv6GxZsJq8ezYqzOne9iwlFdyxZk5XT1NDbsQ8E5QXrHFnYYnEXlyX6UjiRK37ww0EugXLhNafvkcS9KFzZ2tBt3LDvOzR01Yy8u9KWz5CjeeLAMDVXVo9fammnzP5NvPmeTuyv5ZO57ASetAH6GAA8r7h1TRtBNEUvdmJCXvhM8mdE6IQkbjIwvmz6zKutTTpn8gFv8zf/e4O0RjqJYdXfUS+REJMwgq5U7Lm55OfKgJoHd0rYRBqgsBhT1o9RctdS0XYt0gkBZgIeQZJYYps7OkRoa0jQZagOcXjdvlfZVX2Xi/Qs3wfQfA/yDSQ4PY30zCxzkDg5tTyMMmexaJ+F+rFTyKvvKsZfiuzXcXUhKEJa+TzrmbKD5KPDWs3o9mlCpAmNTA5gKxOfbr6FSzpgend5Z98Y0bO00PViHvBOO1clxnff2We1obsIrOMEfejQsNU1w9oeV+joab7pjFdlfTyqGd1YvNSQKfYdcvzQJa45ruFQaaXsgFrq1+Hf+n6fVj192YrJxyd24xJO30Ez6cDQ9mXQ4xMzEHfkM6nDDO2DKypUZ501TyeC89badBGAOPGJb404H9NuwKxat/ezjyAbhL9lDzhtS3VjJ2Rr4WFwoe+LtvKCGHkaPCUUd3sCrNbKlCLJKISU8I6R4skwAO0cOj1JwZVLGhuBjbu8/mb+RkKMnzrN60bwGW1oTbFYxnJYmGoswH7HUNKmvTTSGMra6pJPlt25KexeOFedP+OmWwEBGbDmVlpnuFyNOc0BHMDycnqf7KQtZryaNZv90pVntkkq+qx9BysVgovizfNl8vM6cPUYnLRWfnk6CoNfYUYNNfQ7jd9rW0BMymgTmq/D3zTD1VVAeocMRp0qTEo45rdrJMkNL4ejDGTJf/YELfY+nSVt6ZJttmbtI2yZA2d6xnoc2KKKrpPZOPcm+tK2E+q3B1v/hkMSPwnwf/XOhjqOolZAfgTfQ7EDErXVIkvoy7r6QNmOcmCR5+YeV8JnwCT2znVp2WAvg2oOqO5iLfzOMdGUzHkH9EDXWjeRVdIRZfjnezXAfrlz+CujUC+nG0yfc8WQ1uGVcbvtBKG2+E2sWe4TlGNjxx6xC9GC6j0DQZXr1PehpzUo+kVF7xvCw23CuayUtZV3TLKo5sarlCRQicruJj35tVNrqJPSg3Bbx7ja6ITTiCCi4QlEa6hFyMA/PhZZtWQfJdqWbIPd8zpLR76dp0A18lPmA56Dl23LEJmJMxCVko2II1bbB6XznN6vPj9ptYRbYZRsjPAHrie5R+n591n3MxjLrXVcdxwKgdM3Ao4JC7UGMNpHqFLGfJ8o5k+9KKIwd5BnC3YaX2vECylvtSxUFL5XA4N3LpvZTXpPdpQHItYD3JhVDEM4nkY/X2uPPVIpv+6BPcizneGkT6LfufOWekJQKesqOKl3TQMsKHrC8SYbj3HZMo4pdw/129Ys6/FlBeWytbIovhgUnhEmep5M4Q79ZTb1qtV07jFp8cVtBDUOAymuDumJXUUuHkxX7xAwdYBdLXMLfIYcpbIxefmffXKPBPVX6chc1HRY2k1pxpARhvmh/YVce72CrXqjDuZQt32AGiB7ILcez1KqWF8NibxD0aybLoj7hOOzyS1QMnlr/AcbRL+hGjG2aFff/5563NPMWnncxc866g1O/hMkri9C1A5TgC87I2fGgE+EalB1Vh70PBWdCgfU/KDqH+282u9cfkHsN7V4cM60PBowLuFRrLNs0XWJZhW2Vf0TXQzGMNXLb/qlcfttPTbbcH21uTX+Ys6wUEsQdwaX3NjBQHZzK2cubxR4wEV9JStCaXiTHcA2rxh0z8+1knnA55i5qS0CnKcce+Avcwev8vXWXAo6lLab7HBDR7Tx2kKT8pJqDvtwpnh2Hqam/IP7HgOzsBtTLcK3JXFLNc8uU2XD1Gur1RxMqvwfVE07IGXtHf9/y9oKxqXDThoPaw8WVvc0mBgZC8bP7bdOn2w6MZBTC5kXfLwfHvPSr/4BByyKqTDBvAgCrlO11DJAXA2cJPhJv5k0Csrco7ysV+/vYPaxJAGpmwaFpQLmjUcVBg6F+pe8dHCIPkO3QwS2uUcBcPQve6dvwdtuL+xgxywEy0RfGm7kA3CVTxGjZ8ENDP+fKsNaY3tE72rOjyd/bFEO8PdrDmYWgIECFXYoCrmAGFKgyHCV9WxZ/C9livx989zyc/K0dS01l2mo3PYqVa9LPEP25pIvbtHg7ujm0wXFb4eviVYegsFE8dyoZAwiPb2OzMriVrK2AUCxxZq9CpLRHAYcqiIvAF6abdMoA4GzUUWnLZzLz2EWO1tScu4UPqSDoh0lqQFbQpJ6ZGuH+IRa+09+sJpJ9nIYxA6jGxUZ0PR5iy4vLsA14JIUbKkXVaAKJO8/QTUWlmO1FS0umVM8nkvyg164uOr7GCpo5qJabJOzCZFQlequuC79acevgAgx9fSuNZel1PtPVC/ux90U4AqiyM0FDUsXIUCbqyYOg+SGDyQxw+QtJX6y2d9lvsR1GxydwGFgLC7bF41XtxG17gBR+K5nYh1WVaUycBKGw1bUR/L1iPVpOFHIjVTRk4a5eN5GO3BAEw8+D0vE8fiS+caN+Mziw2ZlVXfUyk9aa+M4iWI1Lmq0LHTTJLIiir78QYF0zdpye4ASjwFNgJ3uQ/zVwAMT80oNtrMZx58pZyntATNxic4e2oiJhYivQj08DUh9XgFrnBfT/igA946hG69lAdjl8ZbYV8HKHMAxRaysbwO4vViH6jv+SGnHgh+y/mqWdDi4umjS/avkq2pm2lOoKogtOOdFl0mkvmnCchrOzHov9WXcC1jfedFkG7TM7bUbt2ZraysvEKqLNzK883sBFsuxOw2mmV/ezCE4lahbXFMttHJtZj+4ovc86J73LvqAyTxnOGXINKy9LEhpxJmdglSIoqkm+wny+85wWCQBR41iIbF57MMVL7Hnbw8iRn0jpBK5VRGnc+/8/s43TAIVlReYKRZWRjkdLB9jvBj52TmqG9aZHKmDoakYX3dM87caNht8/cybZhwfbkDw+SID6UxjRg+wfFqXjKyywfeZXJTO562Srd0vb/002OSSQ8hfgnxDQ55H6PcnXzGevlIdOOiyJFrhMq0yylVm6qU/EhfKtazcK5V8zt+Sk6qZxDJ/8IJgn5bgEgiQtfGTKlnckhuWq++aPQkn0QqtZj64wMZFib8yvoXMr7j69xZBCwGei0AREe+X+n2rt3Yz0yklGm0k9ngjlTdlPQTSS2WwiwfVAuPQzCmm4KYZ038Uxv1iVOrltJB2SJxZdzUzkwEDpg7f/W4UF1tUKN9Q3F4+fBHaDzHPk3z2wSRS1v05vU4uEFhnNvdgcVu8cRLBiplPpxxofP+znBuMaasnExcl6Z5jwuwHead5aR/CyfvfWf/Gt6ERe4lUC0IDJp/GMZ39Hhdo6tlHrABXjYMBbhQ2HFQl+gJdWvcJCyOeXeZF9IWBj2trzuoNMcP2AnkIw+zhk0Ci9oMcPWot3vw5nYN40/Vd4C6REWhaubJRZSMi1u4/v0Brp5/1UPH+25jxBwgBNYgQWiRtMO83UVr1sgo5mUwULuY8Mr3UMxPgZCuzCCdh2zQAzCMEd6mBzXFlSuLmZ8uPMCYVRvAADa72MD+ntNzV4RYVg6X1tAn/92Xv9XVwWry38kSmEAwElzUwzERU+K6DIWOIht3pgJu1XOqG8RSMPN6gbO74El08CS7LjbaE693c3e8wN3IAUZm14fbk1YYi1eq/cgtgbUkwSyGfe0+07rfLA6NeA6aig8KafeqSdCB0tqATJ6Uv/SQOiQJyNt07ECsTM6XVBWSEpvQgiDDhLWIOkE+o4amx9OEzCX3nRl2+AwhlxLl2xWXHN13xAzhVHAAv2h/cxbzXfnlMHCEMdXe3G1JwTnSUaEnFLC0g3Wo+1TdhQjVT+VLBKpa/rI6d62/yFPiIV1b6THy24p/iJrXRmC1bufTLud+lI6Xp6cHxDLVFAvsO6I8ChrOCV2EvxUxEwDj5eNH7cFICeALlNAg4BFCRrRZ7BKB6zw2VuhkJAXgaPcTjlW5XjDoUNmiW1dLgSnRSCTnh0cRzuXBalL8lxF3HJpgp4HDptqnLTX8FNunSyyXqFxXA43CJNMo9LB4vGdjsbd8zVM+poVdqncB6PevkuS//h2ItQRnFT9T8M3vX9UwJ6HELZDnracJ3WYn65UrX1ToKt1WsJ8aehwNdFCSCpYK8ClISbnF0O5TNKtaqKODD3YG6H7QPfH0c4dsZc8UgZL5/wl3LAvt6VIaIa0HFOAIDTEwd36lWcmDbK2UP8GpF6dQzEcMz7da5ITfFGrAR9cuBd56fDq/LpAckBnf0URVqarR7Z9jZVCrFr23TvknoFuW678vvCKwH3wLO+DhgB8dVTl9OZFpJ4Z2HaJRCiPsShnCkn3R4C4eb0eUXOTsESu5pCyfkwlBN3OB1XFoicyOWWra6nd3qIbU5K+LsJYSXGUviyS1OtBHzcSe8tqrwEBVBh7O3v2r1Z3fePweS4wWB82y8KhgNV8u232TkGzJ9sbAo4X9/QeKALj2OjpDalWQxCAKNXVy0q1KR65hMNyQ88qZFZk4F1wyirEUbODlj5d04nyGGYJYO+kquW8npC2K/uPdriCWQMAZ3lJUBcDxgHO6Ahz9ry2k0rRrIMF/lD5MpfB951YqJYhE0CJ+lIQTTsAlzqAxtFGKbHm8AETLpJLFguqyC8LWpEqUGt+Q0QVOx/SMFipStsWRnUGWQYqD7Pjsv+YFXgrmCi6unkamY3fO809jd5cskVXSnwPpEWW/oRka0auMd+KzEAFLRRRY90ayZL0x3WLlv+XCwfDnAoiHECRTnOh8rxP8G314hjtN9osT/KLPOKB7LVYpxmwdvh28JUTa1eH6mMjw8NJY2t8J8rFXKU4AxcE0NUpO4kjWSmbJzpsaqEToHQuTZ8muGmuiKWFjdl3ymd1zjGjSJAiFK0dYsHy1wXHJfa5c68BZDKb4ooEzgCNoYzmTQiOB+HYVc8MAswYtMJFF65SDNaAyorC1FcvQPz5Bv0QqCgVMNGGB3aqP/iGKm6G0o55M5KYkV1O20JcuKMBYlh/LV2JcefvuOepiiQCeXBtw0bCEn/Qx3RE2GzQyifHTIGZ9vHHlT4etpMPIBx/PJqVpkBtD31TQoX9QeobtLoG+1X9pBlUduumn4GlcIjwnjYY2mV8F7jIwXeEtF3uUe4lZWRhYg5CKd+CrZAjTrhvOf0ZROKGfTOyugHPqhrVmZoN31bR1rq1gl9zZ1iDIiEVpV6wGkeJZWB9MDItzUPa2T/7RijEq51OXyN8ZU9giA2O9Hv1YxMs7eBFDwPAL2mwlk9GZG8KQHfQia7cdZUmVPybATaN1WCwGcANu+v0NeTlmv7tSeuZhSEAIcyN9qyXr4o2roKMRU/oe2cKj7ttzFunmthZFYwjvnfQfZsNUiyO4ToYwyKI2+J2QuhNIvNmaRIoIaK3VkSASCzoZKgbKvS4rroOSE2yzkCKzWPxV9n3XoSlQBG0F4lFC5CpLdA2bGix3V9qDLW32+bPepiezpAKyRcjJUomEUQJD2wjc8/OAWRlwBR04kY/wXnlB0E+11xnupBfotj4jzff4MlSTzuknALkinkfnAHLuJtrusgxjCnC5vOnMJxMmkvmLqE7K34LRZyTiKEGtPjVTWZ+5nHqNOhzIn698l0SNmiN0Vn+xzWskmIvt1PS8AdlSplxQyXID28i8RQYNT//SiHZ7J4D3S5RR3zv0FZU9QXRsFD0/meQNrvj0mttxLCNd1c/P36FszBIPFpfQThmqHmECUeZOTiyqaJ4vfTCjqYlLuoODBV7nLYl2Vte3CZfQgdEHnmyxBNpwYoPzrkp89pkJvYNVb2z200z/NZvO6DuL/pYyoRLxt3JS0jKzVq77XvjjT7UywR2PcpNW3cuFUvayYygtjbIU/WPlk6VqXk2R6K/VdJ3ar4Zd6pcJpgyHWOJTJgj67+lN8lkT7SE/479v250tn7GDfHsO+r6Hju3q/kXSp4wKv1dnpyyFv5rHVdf4FF7AnW93kPbIglsp6XcYBM9CIRvA38bKhBl9Q/VGg8GBlzs6LpzmlLhqIwbK0IYq10N77NexGvuuarUVyBi9Fyju2UICjbX7uQvz0BU8emFuWsW5n7fYi4Ow2GqIxdCAYCs3SaGtxzhDQ/NdOFavb64k706NU/W3PwJFp+uVu+xnlcMcnFPlEWDTq2EeOQgGB3xswLLaHsplTNwvdZVxLIclMQn9VhoVXQMs9wBrjdl3EvF8caF+rZGL1WUJToiFJojTZGVKn5WvhzjsCi2nygHLt5hO1RusA4HQWrrbb2JSE+t4dXOt17RsxR7xKnnkOQkdXooNQibz9WeEhveCFZizMGTWgLuM0LJkBWv1lATuc3J3A8QB8rtbXma2PWCKsYI7WrPa6dVmJPn5Y8B53gj+oj1ncEA+oBLd4mBgO+WbB11mSRmc5Z1UDUjmFH5V37fEWUs95RI8fC90Nco/Y5WPoA7tGsH0pkjtiXmPJWFP3ZbVewu5/X72KDqayNvviZg2ysx6442RC89AL3ntKcnvzEkFnXDrpiNFJNPc9hz+GpcL+veHivSDdVUQD9RCRBMI7cA397p5Oey7y5PyQWqRUZDhR7dSBJ1wkK7WQo0JVqmlA5PrQO0ezY4SiQAV9uz4SfiYAOW1VFodzTo/SrVzaTGUK0Eo3/KjFtHYxn/mCVnja5rvF298imWDlxZ8XxTNYzYtGJ7+ns4/QgkSVxbEw8lze5tGY6YcaE7UtQnEokZi42r51leK5McL0Nmi2ESHvPH4k4VlkhoHuU27caT2W0007CAYUOZwpSB3atwQH7DY8Jt68+D7tV0OXolu9ekZkqXmzUzCwJ6rK6+/bXCF+j+8zq+Vhzu6GeWW1NTjObE3Raz52nn1rQRcJcZKA4UOPSnSh/XepiNwbp3N1I/NoUfkW72RvB9ohiVss4gui3HME4OvUwCWjQU/Y8W8o3WBkpMQFfOhlW7zKyGnWM5MGhY1QGSr4ITyXShlNwr+fSMDJaypQ7seQFj2y5ueY41WJraGaOOEaZ5IXv5yPx/O2AdO6jSdlRMFddpQaQlcE/Rq0JqZJDmparrqzEmeMf0I9+oQAuzLwszmaCxjKUbIdly8+FD7fEl27FkWN6RURJM0h/odQFTg1aKOYqTEdP42jgJ72ZGxNEK5LKx6xfSMqaG90jMAP3QWDc23lZydN/kDE87obKOlgicuArU0z3t2KwKOuYnMM3sZvT+I44uRy6Wgq935J6sMOLJs/ec3rXczFkXg/1zze1kuLxUr9ssLuMNxRU2Mf2Yx3ffmq6KfAmqvfPxR/4gNwkMWpdiS+B4lDIsN6vNS4Z0A4zH2E/cpeh1pDUxu/s8+cX02FgUOVrqgHtsiMfN19BlA0FnuqVfjdlDJ/SOdseC+mTWHRXwCVWM0o31xZFICfROg6KWQloYHugtEBvZHoePTcX2NuuAs+O4cu5Ppq/REdcB2SdWMoeyNm6MGf4vyyEqLq4/Qg9qpi4jrKqTEEG8z5iYZZnjmlsMCoESd9+lMvdxCA1xlDYskBTy3yJpHxtGYcjt+U/HV9FpogLnolUbrAyyf1MG66w+JNs4DH3ILJhQlfMUYrSuGFSx95RU8e8Av4emqTq6E+bHd0eXQkV6cb1XV6KRB5zGihYRzIETM78U9mmLntpGrlEDZbvsaDlVtN1B6fHq74mPG3Lze5A85OsCUBje+jrClx6bsur6c3s8I/iBnZWTSjAIX7ysmeLa+pGGt0LXVbIo2C5533Rd/lnPwUtT9fkWCbKkya26zY2OL33x+P+suM3a1SUROaNRfSgNUECk1w4nYiAlYNU0eaqb3b5p1M4TjPu9BuQlZ9UWPg+nwg5Vx5I/YJfVqL4UzXaeFFBkZwbSvtYHQPh9mbVVQWgcWR/wtlrwjmKrC0Xo6LbAznIwrVlKlUjxd6CthrDMzxWExRqA6E5oLLucZAj2u1KCSqYotx0FaKib7XyRxMGJKSVqv6EVR6vJeRgqzhrLS8bRxLF0+C/Dy26AYGwPyPL7r5+bzCtl+MC+3RnzAh2uRNMIa68CYQWYdc6YnkgNljCj9u3/KB7kG7dQR07g3uzUFO8Lh4rAOY9aeJ23I76hluvGxY4KxczKZ5H4l1/ZKjJZbzDmCub1aignbhvzldkFUS9CSDSnulZ1OWDsU4k5PXUio6IAkbh50CTTEIw+SVuoUzcAezniADVAYCbD3Dbg4icMGBpdscQGaoNPhRXYj3aCC9cz8NKF83HkLnGSYbvUkGoZ8rs0NziJjBeymKLYsvyc280eFEoUwE0/BjSh1LjdOBCU2g7HV71yLGjbwBH7Yh8Nm3ElGjWKnpz6M3RwtbhghDvBpx8RjMFhTwBld9hlJw+SOZWQ6BnYpiSpjsHnPQnSrvGDEpa5fJoWA376XHT+LEmK7Ex5ZqDDX2ZY/CN/JiMQi/ZnZXIss+JxESruo5QUzblga+kKiGGwDn70A08lPaSkvBKq4S519Gle5mK6UFJWwcaznh2F/zrgArpFTe00XlL3kBw6+QiMWtWemgzUohUiEN/IJoAHtP2gznvZMBkwPfuQRJWpqasM4kOBs9z9sq5Z/b82JJyQCMJcBTpfbJAV6dC/Cui2QsUz01HVDUrEi6auofqSBrgmRRs5hECI/+bvQtk1vITlHnsUp5kdWjb2rRkOiOnC48wH+0gbGfp9HN80Oo7/UGtdjsBg1UXVJC4UqvI8KfwfTDjzdOXUtxdLyFcDNN82U8VPpgVdZaG6zQm9IJ1eCfYNlbi6YGS2f157TU7MZs99Dbt7tuoUAmqdfDOgZAfg04ZSXV8soqa6BP0yFDCtexX3IjBRz5d8zzXdxPgncYNt1K9brc3UL08/PVqarW4HiTJDPuJ4IRnurhPxdLnos8iHNpKIaZvAR1ttUaUerQRRRydG4aGUTs8o+ue4ouSCroBMEwu/7ol5gtivmc4MZw9YCO5JIOx4+wFQfnCQQ1TbvmL/S5iERm9L4LRxv6ZJVQw7MQGoZrLkiC+vneydeO5EB5Iftjq7rWxsFiIyosMdC3dmdqHpuw5XBNI7AIJUf70vlMFTLNJ29/sPBFkesw2Xy+LW5LvNiwUp+YF3Y7nz3DmLYJmEWYHY1zbTNqmk6lGUsOOi23qil+/iU31sxCcO5RDeXTZ9UYwd+0jgXqYCUyYm0NqvAgVSKS7iKV0j4A8AuhL0I0RgC7vvKbcHYbxp5oP8fHAly/xUv7qdVKvDiJX6mayzsnyNLrb8dK/46bQjkrLQxgVzih2VbUK1EnpKjQoix+4StgSBp4GZgQwFrwhehrXCG1eHqg7GrW/xyv1MZi+ce2juuvJwxLCozhIYuVRFICnROMkJaubJL7UQJ2nOQMzIHOJpk4+z62vZAqTYi8+37tK85E4gCXGVMbK25NFx1UJjak37FVD+8MyPD6400eXvE+gh0NV75pYPy2PkDwKobvnoE98XM/JUusRFFxpAsV7OlT/WBE9+frCDobW94dnFyH5mwsQiVpKBaEDg+6BmfNgruKO1hLywgOmeZV0oGKfEjzNHiqk6fD0cXkm/U86o85US8Sx0cgjbCvzAE6NQDcJePYwZty7UZ3xsdj/aJ3D0ctcRGWSGPI9U3cCSsP+FO0N4oKWdeqQMLnF3eHQir9Uif4Qw7eUEaxl8u5eq4rQ9uMivDnpSBUpDLTV6IfmK9OITjTp6dj8HxxcUa71qnuVXsk21jz/kBf29AWroX9y3u78MH68Ehj74yB2rFnby3N1YD2znmYTLP7MuCyyV7xA/eAbD7NoFzdYLWnf1MdcCxc6ZoPYuo7V/gGrvYJWoBN7HNT6I3u2tOfzzTKhgbhJyF5tykmvJklQi1UZcZuX2lowJQ9KzTszWnYQG/0GtcSLtkgHFFiz97ffU7BQBzqB/S6uOOKiZzoEsvPX/o4HcKz52Q30GLbQyRWrZn0XyAoAZIomakSFzLecqIEzerTmpDeyBLoAD9SO2ecOhPegB6kWFmoo/lR/jdX0JAAJkGM/nplPweaxxw4bCboRT8OUP4//wQkS9cpNkd/Ve3Oe4x5J55HjVDMnk2QstD5sfUPXHB3+NSvhlaSiIfIsVrOx1yw1vIWNVMZQhNqc5aQ93CAuoSf3HM/G2eKjqchG6KZ/sQCxBhxOigSlD1NTHAsYyQmto8tAvZM9/ylc2qNabEt3c3ph6KtjNabVheUzhr9C4TV3dh3So5+uh4nCfCNsno4zbF1B9nmtLvwRI0aXtIK9Vi53xXoGHMkWlhRCHr1ia8LOMPVpNifpBo04EHSNfeBSyQKQA7bcCARG8R931MtyIVRh5vHYsrWRKV9owldmwb1vje1WyLid6Jv9hL0LtAxCc32QyTecqpgmrGfB+PpJhhdLcs2a+cTvunAhWBzL1wcd9xdSPwGzQunOTFTe15DalQEPpbCWL5fXGh+6tW39YwBokkStm5vqo2KDV3CaM3R2B7lNBIf60MTJu01qx9SyFSA6dQ7ohpi2WAM221tQzY1E8M9MuuJPcdROTs7XGg3p9wJ4Sw4wmnLlsWcpAHO3+Tn8axA0LptyUW2evP4RIWp5CqRvpbYPByirLeLR28uXhd+2Cbaytj8IctiEzXu7YfQLSqVWLImNBmdfD40esLOe6EanhKRTqlQ+fk/cZzr7Cc8tbGqMKA/b1tubpgnfJ1dpChDYyjIpgEtaGw7Aj19z3pVgz+dTEcsdNM2+pPHopkI6oocyi4A5VKo/W1DBSpuJpj4GGnmp6m6NwvY4ExOBJWNHsljb344bkOdUPZAuJxdESzAoYjtk9B5z5a6BKjXFJq1M9U9Q5dYSfmJ/LpV2wlKu30krb0mey5Ps0XUjc0Da+brjmuw11XrSk8n7p/P/ef6G8koROBnYddp0KdsroFhCYD3imfjm2GMu8JTwYs+7Bhr6FzSx6Omu++qRoW793vE7pEFE0Mdhdfc6Y/AjOTfBz1BeYCAtNoihvT0YnwTLM2YMc8U10W0hXN/Xva48ejgfvLmpXdocnX/CbVlQJb4EkXtDnqnHOUv8bwIcmPNZ24TQqRICoBKHWRCASfkISdkYIyRFszpuxrINeMM+rtth98ObUalIrCs9qsUZtESkHcdxhxdvYG9fA+1fO7W51YAtEc/s2fkGv8GGEPYpoy6DnMKPA/8qeoSfQsj2gIV4RFBOFwkY2z/OOTUGc2X7KcXrCSyQwjMRARSypcV6pOUkMw6lnEOH7Qig3L996qKkNPmUqvE0UVHrg3Z7QXlJF0DTXeB234NCZzu+LUU5ZVsRYrlB5IX+vLBE9amrz4B71FPL4pOKQfvOyvVEqblQCvXKOhysf7D92ddBHqPviOSP2Um9QPeN2pp9cHK+1ZiVMcj/KQ9HzL2QYUC/8QsbqvSwaOJM2YwYaMFju2bUbiznN2iSYRArXxSYHwBEnNlUGszUKwayoap8nnrShHXuD/a4yVhjpwnoY6F+8TIytfQC4wTZXXcXhnwZ87iAWCB8hw/LB1PqxxwTlSBOsF6Ghy9zQAJfSY/lpS43WZz61l+/xCihVyYC8Z6e7qSaOdpOTPvwrw8Z7lCFHIk1VP66GO/Yf7NTtoJKW2tv6480wgoRasT+aJhObQJaCsMng+FuKk8P85y1C2xeKuWp2bC86qQFbjVtbuWhbvUwJTU2srFPrhQLWBrX+pFOlv8ohtnkuYyUBl4DYGIl0v++2cjldpmDZLrHvhoDFkXTUCEcCNS2jqznQ7kgOXOwpwFYoWg8nfbnsTIxYbbSZxaXuCEZ98O0oWGRsM3D79Ny/tH2kDfSc5Vki2vrtiR5XbrJJWBWEdWxn1e9F2MGN05tOJNKNrHOm5FAWCNJnxr39gKrqjkCyEPnR+0uiUIwu+P1bIIumJBQybFTzuc23UCwpkhrmZo2mrll3TaRo47EsizrlhH0tALb8cCtVrxKC2ESSLDfWYWzcuxIALEzx1jjiref+jO0sm/CrtCE5jaZLcql0YQ6Ojs9Wd5V+ogxlZvDKA/nmtCtmscBS3d8qyY7iqV6aNBw85cGOF6FdHISaFwV9yY/Xc1zVi7IwcUqOrhbolvueZGCiszZCP4NrqMknCd+1kxlotyU1OJWuruDVlWv6q9HJsUgaQqvuVp4LB9Nr8U0sYYa3tcCFMTQeQGZVlHXyMnvurt16AjVc92hwbJA9zU2yE94krgAEG5HzZM4jrywQbE5lQsHJ3awZgFOFu2Jh3ri+2angEJyhW95CKt9M0+KF404pfafeJKXYmOKSNAIvOWl8NUFItPcVd1whvvKVfvoEdiBY81nr1CSzv1zznwd9ljWxpUokxXuqoQS48K1EbjOU9f+f0hZJsScXeg4svPGWiLXjUNz9DFfxeJmKWKAJ+FQ75Orvf3baGHQc0WwGUeP2QFj29Gzd6uJYrLQUxpHDgcMiZAGuT7xtVhBBXSyf6xyb7F9mLDRotNkvf2URcRvUxlZKz1ubO0uh4rbeImC7jjmjayab0nD7/sB3ALenNcSI0i1tkn8JAm/oCK8AeImN9lnWMMR6RsOqIyTY6cEEGvkNeu8fCGxftA8LHMC5hLU48cce84eXhL67ZJuLrY9Hp/MsEvX00rHASVwfA9Q5MrpG11wNPIdi/8I5VOtRHtuguQUZZ3JQTadE//+/hz/EnM6LPsAMTEe0jpEjHyE9jBzf/nGy+tbYaCo+HbZNZfHbXuOyGTqUQp79o86r+YSs4/6dt/7/37j7M+7lBUj56SqbIZYEuq1oSIpddQ32sYGBDJ9ffnLiMwqPJyJG3A8/o97dv7dMkJv/Ar3F4foUq+oJjnpygiX6cmgsct0PIqkC4TxGRagpm+BhDZihWDP+2qqOslvqNwx4yaZs4k8fQRLeK/xB898jzjnPJwMBC86d30pzgLaFa4mXpw22od0fC+WLp3DE0Ly08hfFqjQHOY+riZ84781XbXGXWO26sPFmCPbMg9zjJihgKjoUvo3Eeh7FVrAmsQ/qxKX7sP8/ZBsTWUPoNkGyQ/PE6OEGel+t34JQVCwxRWNqZ8utZx+rMxKj+eE3+Rkyb9MMRIkqwDbaOrqCHlee6oApo+P1ZpFMEusdWp/Bj/VAKTIhyYkUbTjwYH17uUUPaEgLP4vVM9qAS0RHNSnAAL4oIojRUoqoGig3sMOGefVFexiilN+1uw1BXBMUPORKgElhNRct4dUEzNxwfekRKrZFNTTVcLVENPVAEK53fxkvjdo/6/90XyjnqWdxsjLforawfSYiNS0R1ymPh2iIMUARmSzBhviVw7kSY5W4sOHTryGeKTcsUnm+J+uhMfL6gvJeZHGAQsMoec2VJWGCI7lE1tt7DGUxtwpfnUJGyQFHvkkCVaFkZ5H1816DSVHVtafqwrry8eHx7sHXvD+iCvZ6ZMi6eFbLOEAytrqYRUcIIFKMCsEPHX0vBAAJnje/DCHKwvN/qZDRsuyScxMx8u/orIhIjp3dXnLgx5FoyLwU8+iCkOU8oVwVWuuvPY/eNIjjVWcFueTlPSdptuU6CDYXq1AUFvtpaxDvobZo/WPHtoYm6Yx3pLmmD0AwasXi6t/QxZCVocNSYVfro6vt5KxKwmq1lpJE0FoICz09+MudXSSd3FTEXEVYcg0Wy4MMokNwNBjX4J3nkKJUsFTRwnIMhg8oF1gN09KLVumaAeouT03gHZ3dMBMn2ouQOy6jdd26LfI2f3eKpBp5Gzyb/DC9qwdMm49Oc1Uj5QzgdLqWeeqRFXgC28TlfVb82G57+xNdhCCtS9+6BTb9G7H/NtoqHPcy/vH93stKNYs+bRVGyxRMIxkMUhpGwR93M8uIbZ7okIJCJbVELL7G8ZUJlE5Zf04bcJ872h0I0u2BTtPhRT3dx+gAqHeCgSw1h7xwbEtyyo9Yv9nXX5HaeW2cGH2CPfvdfkoHbwS0PE/AXhaHFrUDMvGtjIwB0a+KUAzkSsg9Sv9m8kpadSMc/z1fHnY1nIoKjlUiwlLnCOjiZSpPOIKtOcSQRkUn9WyW5uWxV5HYzMQyrUBUjjTxEGXkVOMs0X7Cypkyq0iVQrDbqNLksyTgFH5nYLY40Fj9B08DXbvHKRcK4Hg9M15hzgpuPPzH0dI4tlLK7vDwB/iJr+XSgJB1o7cicwppDu5E98W6g9R9ZugRErzk9EPy8JKWrHgot9YbT0aIsGEhX2CLy689tRfu8Ir1A2NG911yu1oEZCad1N0rz8KOoI6Pwa4DZm56eNHxRuZ6mQ61M5L1WL2BdLuV8uWvZxeyDw644of8FzAa9QcgLFDikE0f3sciK8FwCZ+Go7/vMXYGLSedxfbv/hScy9y8kOlQ+IbAaAYNJj6BFE5QdoptwiAXWm4f1aTFSjh5L4x0jjRc56qI3LPW7lCYAGSYPoXwGFIkox9pP4UUkBGJ/SxxafpWAM6Q6IIQygGaHjZ+Dk2hqKS5JSknAGKvmHhMxv38zemyldIvuCEHdhviy3Li3P0bIDseOagWbqstb6hwxMTmPTAiO297PnVhKj2ilXYVtMCv10lLy3A3tyyrkzzAiOv0O4NicfbECCyZdS1AREiUZ+9cm7zAQtURasDymUdQvTrBbZbt8y7O4Z8pzme/DEQ9iwxbv8hUd/5hEBwWLHTcfvimSN5XBygikaao6V0Dcggb5OvRAHqLBA4/CXRX2XVe8xinMHBJBdlQ4QTJbe4lvDCWJc8EJnIyr09R93Wxdvk7wW3LjU3lQMkaohlWWIn3LGwZK9Dtj+daK1qrvox2+EW/ru3s3GYC/PvIdZiTTKsNeElf0ylcrLJ8PkV7/H4iHOO+wOj4FvNIfBPf11Vb+tfjdxdpePQJsMpqiPLBQFMr7IrJ3iMPn7Pgc4fRKV2ZsGqtH8xvAHmv3z6lkIJ0FVNE43EBp12K/S30++jlQSwu9ZtSOT2s7669SIPqx+bklPj0i0tdMIUci1RZLkvGVMWIucGiW6s2SlxcEqvLrTyvj5ANXtlF6c39Exzgc3FIkalcecZjp2xAaN2rtW2g6hSfbm5vqOISOzPdzNDwRZ0Rn6DefVn+akgGmXoZtI2h667jjoFskj6vxdYqrq9xlqnjwLvWP8P9LU6vKGRUjnDd/a35019nqv7hTQJtKRTXUhkDALOI2Ic6mRTySBgKyuKhHwdspSjxpdDD+Z5s6OMkwrJJ1MWyRH7I5XaWh4UJK4UsjKoG8KgAfhRLhx9MK1W+NtopGr1Y3uRkzigFEkqay7nR78lTnyyktEWxOAqRVuSCU6B0uUYDOcCrQNuWAPLsJuXxS6l2Z/ALZwTB03ad5zedO208Wb+eIMinHIsBb272CGljv0VvlxOWTmEMYeul3YjmtiqTWX+9XKKNEAm541yrqQ21BYU4CD47Gur+42JYJ53pGV8amAI9QmB9U0oxaKjfPvtP6GlTiJFka2nfPyUjorE2IpUArUZFe1qGCo+2SVy8EZYwkyRKwCD/9my56vMFhK6MSjqf7HUkt/WZX9CZhr/gKKb2je3rQCeQh6xeQ+xiUCNSNMltqij9IakgFplba1rVWbxlRdYPA+FWiDmHmLlZAYd6LQwvS6wqnWxbZ5g2WzboRt7JMCjQvfwRoV4tdb8pOoDv0IednZ2EEui1tg172Q95oLNl/Gvs8tO8Ub4WlXAIE2pdoi6ihSuIXVoKaPjfNDDPpMzZvYz0OdCBHHlUEpbX2zgA4b4O4trjDsjK/J9SzGy3vo6dQUyLcRDh+QAcV6NJVI7aDEd5tIo1v+cw54HN1/In0Je5zBumK/HMBGoMPFrIREtzQeFTgkL85rbJLt5VfNIR81LeRgrjTtmWpxHk1rK2Dx+YGd6ORnfweO3zGzEe4GmgNiRkYPdyVsfZQfFnecVfO5n9EGiQusb8lsiVNZb4CLEv0GyrfL08PQ+P704M/MZPyolyFa/LDPstg45O5dgxkIoFIRGaYzwCPeiaN+b9KL9HkWW9hzdWP3cNTWJmPeprSGaVcDT79w0HagpgPebejDhD+xyvg4arGIXfOsFBFyomnR1FDSrC+HNrMGOlU/ySazJSAZQknkbkwAn3rgp2NZd23LPmFeoCcrP3SeQ/fLZGyioSIj/H8FfgSrf4wfJtX0CAK93qzqD8gFpstIivy3bFd5aTVkyZEH7Kj03tROGx+O7N6L1V0QqaLlWQMNB5O69+q3q9uTRp5uwjp3oqVCIlasPwFdY/AT5DELuj47vGCBATrRIvZtEnml2tdz0R4Uhx/MBP9QzoCHtjcHdSdtPESL7+TY/tcH313slQpWEJplYTuilM0mRMgBK/zX+EAtb0EYFrkbmADpoKFNcd+8EVxf4/swfjc2eTZX2yvg9w6UpKsMha/xGRB1dbAvuVBJcwiRyXUIfn8BdS1TNT5Xe4yEynVFCuMyAA6EgorTJP8IBfjumd4eoKPQLSgDnXPeztQHzisO1DZB+B1UHTcNVl5RUNnknXuA2c1tekczvzX7p+m0o6Ud84zyOSO3/XSstIcPR/pSPLOjRpX9AFBW+KDkZT2PqpG9SKx2qg1uvzFLZ15mtlwRUHvmq+Mc0x1F2LteQTBKcchMkwPoYJ6wETI/ZvWXEdFMmqE0M8nNTc361Tke+vO4B9SSrt4FODab82pa9wFprvz5EETGc6UhKESXadCpLi5OpyHc3JSQXOFBfFDGlg41qFvwv9d4ZauwjEiUPNK7FSyuB4MlqJ5FTG/NEDXOT5LZ+yIjMZo3MPd/21l8RzXgjAKtV5wR185uCTu1wUGrcjQthvSPdmJAmoGCb4Pe/jc9TUSJWQ+BSePBiknwCPko0tuPbUQTY6OvXnmbQKPUrwCy5rumRXhgphRmIZs586aadbvPuOyCYPCdtJMDQdmNQLqGNSdX+dvmTaJ87/TZ7ROJLxCIrFDrQPTM/psBTDjFJMs1NY6cbhYSTUqCVCu3vG93MiAypQqZu1LH7BlVr7P+fK5kHRA3rJqAVOpi7V9pkCPx4CkFabg2bUhqZpMO+6OnTWjw8+VboCY/5zQBSD7VL31ezgX3YiNKLG69kYK3IEzOl52ac3w6k+ATfu7YI79dBK7bqm5qpQQyX6h1whNRyaZnzFr/IoirYtBykBt5+8j6K+k7v/hUrX7DgVx41L/fQHjvjPh02MMEp6uEcJKC5mOI6FbUFe/DPvTzefUAyuSNeR4omD1S61f5N25Jo/wpYTr+Y9hxV6NB58QMZ9/ZS6W2GvkRejJamaZgBHjewxqBbT0yGdXcT+cnxgyFPWPcdUDoBtjmCu6p6bNelofewhMzgne88azTjkbIH6Kc5sASR4UfWOS+AipVCdL4FhgFuKvULnIGkMBYWa8RFKp6leYI/YjPpPvPVNtOzNVj6eW5icVnmz/0mAUa+0PecjqJVZSOEQW354xpgtddc+EsK0D2j6I1wzM0JukQiagAUK+XeKVSoRRASj6/G/l1GsnMH8Sh2drVnCmxofKlmywz6VA48Tey1K9FqszirD4Nzcno50SOE5HlDSr0wGyFZ25XUI1R7wlxea7f9f9X573pUPvo0t0zDD3wVBynBLTIhAwEzll9slaTid4fUYXs1sxQcT9NLI4ThIW20wvE+vD1qufn5hIelMNeK2KMQ5wHZhhI9wZgX8qFxty4789MRjZ7Gt9iFBAwKFKfGATWPAUoERc8uCwjh7ncIssT4NMd5d+sNzOPXfjoYrCm97+NfxpJAJJKo4V/e5dQ1Vn2rFNCss/GChjH6VOG3/EGQSY6ktlO1ARFX3OhfZXWTjNFIL9kIpAA+7uD0jfCdqjkCSbJrb2l7uGClYn1Qxhh+3OX3Y3DpDeSqVJaMoW98ABJd13GyOGydWlIVukrhHetKZZ06buPjgmSsnfNhs4cac29wK+4FZ03X7Uz6YctzQo40tBJQsNpB0ELne0ChqZ1SSWinafMoQPsTFRhr4CXzRJvhMRBl5MQTFbAg3c680cm/bLc6ETAuSpGUPjh5k1D7Qm07z2VJzngeWL8BI/Hv/veDCNIX01sw2mPPHxGBEr6OElNWRDi1yPXv0wWjCASBStIpFGXihDpv4NKLTv7PXX7qNerVzVlxWSMJYi83HvX+wjwzjXm4EpXqeWQfwm8un7KMM538N61qc+81fOlvuwC9rh4Am0bvX6XZJ47iJRkNr+KBhczTOTpEanXopp9MhBeqZbq2Kf3hEflliaHzuo3X8AYuZSX60IEw9e85KLRmXFQezsdfcBs8QoZvqq8j9AQ+mEuszdLVxvnhGFaLzXn8eVUYupv7X9LNrioXIUYJ7goP82of/3Vf+sojMHd//mM05fI9wcZGehb2Yrv5bqk1UclaMq8t9qnbQo5qTYqjWzt9G4rSsI5cpX6KLZleV7uxBNR9Gkhzb14MjLSV9XgrXkZlTFsQ8qlNfLAo6U585VNVB5s3o6DBSAQnUlpIZD5Jy0zHnzrbSb3XiRgNfP8p/ybXagg2fld4MrJujpnk/AwAtMdB/4zRtHZID2oUcdTeK5Xf8MG9wf9vXye/oV0b9WiDJsIlN0VmZkD3vk7dQ+5kUI5NFMqZjxj9t8oujhPes/we5QPcey2yU+tLPsNncHFXGIYcVcP5Jor4HfN1pt8l3hiHeBXpmjqC8dtvOLW5DPQhxzqL8Z+dcOXHpqbnGX9/RhqnpFveO8PtfBSCje9YmUH7i/PYCBCZwgsMPT0fzW4jUovz1cWuVN4OPreG/QKHiNIQhwnuD5CHMkzFLri880Tu7+/00xd2NeTACg9S1oeH8OJ27n4ob6I2VbPkCPdfouX/EgTIRBk692So5qyolyx5H6bOTehyqnB9zb3YatOv59F68JnU1m231zhz8J3grKPGwwdlGAN7z30sNPygGmPNeIaCNbhhVUl9+8dW4YkCl/XaeFxx+e3yDLerHK4vMOY1Z1c7T9PHOzuvPmqonSKJ0CcWJCb+zZTwCRwtvd/zhvBZ6l/wfo/EK09oPuQmG8sjuxlfvGvMhrNmcBpGJ2//dS4T6Akd9yWytJ2TyC+3x57SQGu+TFgUDOU+Yb+NGMdAcV3BRQr7R98ZjU0vvst39MqKuWoaca5v7WQUo1TjaK4+3sxvh1wm1Z5Nz5FXhfVy2k/5dFhW42qo4fzNhc5apjBoj7+ILotKcxjW0XKvwZY8lBXs9epMx++tlFfikYaeutoVuGMArdHoP7NqejcvGneRScwLw1e4XzbnMEefMi+S93bL8h0hbHTgDQGelrBXdqNOKI43LD1EYALfyh2kfPLZH40QBLeuXOaXpt8gWJutYYKSLuXeigVhg0Ux/Jzf/RAd3C1AnN0dGk9YIyUeUxn5G1X9FWO2095fFAFRO7vqRRciGRaFIn1FtMRpNuxmMwQM/vwf3coreBnGv542Kd7tBDIPokdmdTm4UlBF4gLto9dsLhaWjn0hU1zXfFWgJiFBmN7u+3RYpjUpPIA96uVg9HlYdWD751U0fpSEuRdLSkBLZS4lCF9+7H1x5NaihkHBtkcJbHBVmz024DFy3RGXrNB5wRZhU/KIphcYHVkhtfF4sf3HAg7C66mlbmJnkiIXfxw9t6EXi+KH3JpsWaAoEHtHXBO2efv4lQ3AuJSpauuqxOVw1sELFfhjAc5e1hjzwN55aWfTplHHRx/MCBhKXzdtLRNOrHS8oZbRXMEQPZeWKvQFB6jx90lphOuL3m8a4z/ZsZqhzFCWWTiZn/HMXX/dCDjMJGBYcV1NUzUR+e6Rj5EG1u7Cnlrm96DAetb3gNt9o4lAB8pEOfVz40B3go0kWDd20BkAHD0shfYKeKLtpde1Jcs++fLJ1dsNyfMqmOoG5lNpYrkDHaW2Tc5pD835aCE/IbI4zxE/1g3o7sKfpqVsdv2w7DZuuDT7b8kF/e+QZYErACG4z2WJhQBWoU0zDYzB1E7XFvfz7CLq5tunugbnnYcKFd4yz51sJM7CB/2cazDtK5i1JgghE6t0XFc5jN14ezHsQnKQS0K/VuNvaSBrIf4oSdTa7I+lJ+w3h3+crgius4i0YnNotmyQFR49CgxUP3R7PvfOEW/2bLAmdmxT1wSAPQ57iySUTYEX1GvQssSxeuemJC8gkuT7f6CdVTjbBK0G7HJnlRV9/lJEM5fkTI5ox+fLqJVJaNm2qfRS+3psBywWWMGrMxtZs7DPuMhMhObIXpO30IW88yiIdzlxb6bmyucjAvv+V8QAY851FVT2Kye0fO9KWn+eH4EqpYfcFUZZ+eO1luO6sQ/EPaG09HAvwHxCrzX74fxMox5QTmt4YQeCHBAUf428q0Y9pEKszNk8y9zATn2LmGtBP3Kt3XFkuqw9vYszShNsHaVr4b/rzvtS0sKhBHk8GSr1p+aYdbp6qnjEi/dJu0mt6nHoBBGl0MeLmJGTRukC58/k9bURtk3Q8nS91qNLAOIz2rnErfoWVlKvq5ygaU64QEfp5/mq2FK+Qx2KTAbi+0eMz3oOwBlLwf9g1e42iansvPzQ3EUBHNqruJQSo+JnNgMfTJQUVW652HyHPjqVIjwHhmQ6X0X1OO56kPD7hQ9YBo91vI9eyH+udpd3rH2u2Bs/4GJCMsFNqnK4oSjxCUy+OgeNjVctDrWIaXPQ8nQ6nJoQ7d6Bg1RCx8MGZztZJTQyjxpp4nzncTFieaqzr0HpYWiu+FBx96+gODD6DUkAp1QTXkuyBFeSSLAuF8yGDSWyP6WICW0FyxGuk8nHjcAiZvXw/3SLsFrjNshC9wVH80Fn3G1TaHOCZGNbxZap2BVsp/R7zEmTmbEwAfUTIuK12zItKchA/oWxCpjT25NLcmylS1WVU6s93t1FDFYbtthym+ndRqRzkczWp6OOzzxw9xDl1BkAGqMExravS0yXLrrVXIqw515A5MuZELD+3y29lccgJTgD7q7VvzhmSDeMiurrLR87Mve2YY9IcrtJIGfmmU0Fx/WYQq0CuSh0p5e8ir1lEsj8k9O7Hkzo68C+HNvnBx4Ax3FgUR7VLlLkCbHc7HIR9cBwAgSD4h48gqMdt33ofaHckIfn4yfvCOOzvfiZvdDf5M9aA+GffKnvsaBkUak+MPxgAYyxXCloQ9K7rSVDj3I8a4deJjqF/otGOwHrTl+z3178v8O48wkuBxtpNKTowZbcHzb5GY7QwaibnftU4ySvS1hTVCk13t5v+sGV1vIzb8APCGodo8+EHR96YUxxN9hL2AZw8q/FYGP8u/G96awIR1ANCWvBQGOnF8ZBl/nQH72Nb8t5Ye5N+B9frmQs8+6e7CQym629WmAhZGPYCmc4MD1JZAzwdeA88RDaTDs1XUl4ef8HlrrCvtLptIvDDLSw9kw09NI6NHuI1yiHxbIqHKzy7Mv/Dc9tlhUb5NE52EWcU1wpUmGJ+wZMHDjQNCwmseuln/ie76a16w0j3/uXfeUR/zS97hin87BXkuz98l4UONg/u2/xBjSvtsWVwl6bQr/2ivYkD7fRBwEE0zrU7NYnsDkhxH5Kpg9m5pD2wRwbmV3qqOhJquT/azbu9yRJ+56KXS4bIJdPxqLAxXHwOTubhJMJ9AbIfQ5zftyVnDehyg1qojOdniRFRRGDsMFaUxWJX/WxG7OJs6+ch60cBLNfowOR9PoQzRX3Pnoie/s5VSnxIY1w7ld6N2n0Rb3VtG9GXEGh9LCtQJvG2o1dLpIeXQ8fscurs+9JjX2lvsElDebQoKb9C0HnqMRmuKNHEdrIYOuwa+0oJpUWK9dS0lTAyc+MdBlm4yquqoVmUfMd5CpO5RfQkJ7KpKws/u8JT2pHtRriyzwowj9WLRO8n5zA2aZTwJKAdY6x/t57Yooy2dmEnxKHYgHhDOmCvPGJeg9hnypMchicuYQnqzowN+vIfZIuTgMRdvzwjoj3PgMuKMzlYa1YKW/hHKw5ZuC2pKe/DPrHCPifv9QgoTtM5WCbkw6clP55notvyMZRRrl3njWkRH4cS2fhrLJuMQX/Kp3tITIgaq7fv6KbwJfofteY6IWzAmz35jz8Afrx7l2f9qH/FUSXlatHYcGR7BTiCLxj68co61rCHq+ka7H+7gz4qInoDa9v/4sNqxTYxT6V7wyI3FYKuojyTTTOUkgF3NOoiOqNQSenNYGQqqC9/ZY77HSnFMFxrIOa1TCEAtifJ8DBPWNsji/xodGOr3x/8t+Z4dyV1C9BJXbwg+6uP+Cx7/7HNQsp2U+DE3fvABEsc1hJNMivf3R9yzkkIhB3JmyjHR5AuOpypAzkhvAnASYZvTK01YTXPLyVTCY9jlwxX8jD2Z68sQe0TgPGhRa7s99IwARNvNhvIkOJ4rG0CKjU4cPDvhiDAnvKWvzTyGx+CdiF/ERcE/l7Bm5PZ7G9tZ7q003uKP9Ik0iQEHbzcHiAZ8lS0sfY63FzzDM6G4Z91TBtkqSIWqoXHdhokoXw/UNEB3GbDZqTbTOsM2QwbJ+tnT0RmJkQYEfw0R4IMLVi/pjjLO4nGBTkCz0M5a8YznvxcoaYuIDnpfPcUogRlc3LiAzE3rFnB7UpE2HwV63NlGzFUxlo9XWSUHpe86CGZXFdssDwChI31blZW+QhZ/AmHzz8eCuN6lckxyhHUQYfTzzviPhvkxhTS3ttb0ybt6+1ns/UGVoUPgMHJlweCwGb5rHUNTZGX9gTdCrLXKiyY4SPHAD0sX8uc4uhlhG0m1IhMKb0Mm48q6wfmN1bWC9lpRvWouHLWnmfB1AoC7A48+Yp2P67AaFubtia1vfZakydztS77O6EGSLkOtBmOU6gyXM37RIel8W/jIqP8f9WoX5CUGiWDbfZGLSBwZ6gYYjJHusg5DSwgjTck7VmmZVxMbLXirZhG5+WYrNC9I92zDajczhCc6NfFA8ArYFuLR22U9pKV09xzf6zBDJ3qErWcgw/rNOEbZQYrHDPSUPDPAyrYvBvb7uHfI74e7MdWJpJaT4uij0BYKGKwmP2oylvMGRxPl592rFJvK9LkHyMOP5/jgogdu53/C+YNcYC6Sndaji2g55DNvh6izyg09Dhwizq2vUya9DbZjcCZnvHD8tEkFNjoKaIhoTRaUe1NlIzRSdsjkSLVApS5kEzGOYE1k+dyl9pWhpxGafzC26QgHE2HNpJeGLE52p+w/mK6G6s7eOKep009Sh3k5agLOvI1n1CnOXB6qhzy3QsJ26pAtLMrespEqNfOCxjKsHrarzKNZtTx5dY6CwtGXXGtLYfID81Eedm4JpjEnR90VAVXfSPU9rV4VEX9ZZw5CYa2DyKZx2bSAgTv9YUefe7Hz4bZLSGi0W+NGy2BL/pJVWKi1h8VFQUv4L/0Stwy7gzOprrPjZH7IYHvKmAekBxIxGV2sxCTWK3K9tEOAxIRum+WubJK8aXeLC0NTBkUMJTtOg2l+XdV1YvnIPPZdtv/EjyNSTiTYkt0V6e6Myh/TNo8J+OSPw0XHNGO3x9pPd/zv61UoEnnLIBodRxiMEsrqL9Hb+r2ymsJ8gpGEl3XUWyn6V4wWjnV+p7B60rZEMT36y3wqJ3RZz5yQMyj9m3ublmUXHmA8KHzdvYtWrWW0CPmuXkj9NQb6Ot9OlrMt8yB71vE8EbTs2BbkUuUL2t8Z2tRGOPvene51bgGP8l/slfDsoNOR2FplLC9s/3qmnasX+MtoNuAY18Sh5gBqsHl++7RJ4Td+qxA8ftJF0SYmdImyca1AHp0nbWXK6E3UKJFKb3efT+v04M7f7F8oFFWPuHtyK8fqiU9kXWdw17p0viGuIxnZEZniZTsC4lOSjoPAhWH3ltxAH2VJlXrNcINiqYSPIOh8gl/62M+0qfVuwuNeQBrENuRQyMTH69SVMpv9g+5pZXR/TIfst3oCR7QDOjQi6raNWK2zb1T31r7OuAzJpSmmkUlzCGIpYKSdjuyfZ3yPnULnpPoquS/GEB0u3PhbrlOVY1gnS3yJdwee67fTNnc9tC+qO3hfkZhBEy/CwfsiXwqh5ej+a5/ua83ZUPe+NYSOzGvnz2JF/jDrwTVxX3ow5a32bStiPr/8J8WhMpDbthysOpL4owWcDryk/mhgT6325LhbS/9OxwJgCgljcLrtfR+/EG4qBiGDP5+6UZaT2K5r9GEKk2kaMUr1UdMPGtqbzH0rW5i0C9vJCn0Jton8QYdiJcd+epC7DqRptN8O//EbPy2HPJ3V47YK/JEbA87WEVTLvZs9MmZzfKD5OznWyMHpRwCUQIGfpfe5Qc9Pvt6tr5NU4W0wm1QJvJI1UCkw8L8Iu4cnpM5IzG7a2dbmO0BC4+Sc4/84rPE2o3T2UTzG2VDtLogxwy/kxitsJvrm0deQVzA5pSvKtpCV42i+OqSymB8V33LfOAORsIpJFj43MPsa0ToPFliSQRtsSvWONe24f1WME89gsCn0Yiz02h2DC0e/OmBg8Y48Au7TmyP0FaZ7NZ2dBFWmxbybc6mn3LiZLpfQ/lxWeIAzzWuI+xrXuuRl4+GbDf6LpMQ0MAP1R4vPVyRBxaBns3vZOzAzEpseMazunmPbHIz1kVwoOojhEFYNg6I+tIn9a9ua7c9Gxxy1T+bxusaoql4c+e/KOd5x0yHkL7MFleWJ8tvHQMxh+N7FP+UvlOpHOFF11WPNZIWcaYjCyuYHU9bw409VgQeQNmkauIw+S1auCWw2ugiTRslBSGuUfc7RBzeD6P33hMqm+lXd8hBKui8SJj/PZcupsMB/5Axe/UljSOuh/nY70BPcZTBDGpwQZjQVN7Y6JXwlvXk6yXCAXz1I4zBloxqjdzexYP4Q8CslpHcj+5wSCOtrKRdlInF+53xMEemQk5wqb8j5qMXtF86wSPpIeTIbHLB3VBx5tSZQuZFSZ75TbZNdWftIt/xMZSQPtVyATU8NOTNZU45StW6blspp4uan0M3hqT2RsSgAv0mql+2Nc2V3AyNfUW6PHW3r+/LHr9MrnjXPesvFWnK1Yu/pB01xTUgk/5nV938dhrg5P157hfvLwltVOTMkBN8tGe9po3BrbF+r3UhLjz8B+cG7c2lO0wa1P8TPivlwhnSnIwi0IBzZjZQISEc81HjXOpTacF5CEcAgsO19RIfjoIyi/Z1+/nbzBVMZsJMOmWVbvRQN2ijpvjEVq+KKXDued9mUx++b3yVRDVenuNZmhMUydf+xe0tbdTtQKM01Tm3CNasRCfmB04U6zFEFuGJklKmR4xQXPMVU0p6Ftq0pZhDetovWT/JeEL0IxN9o6vWy4Pit6iUGF2/6ufZ6JZCOd1O423Q8RsgDDfEIQYP5jz6zcwMFLebQWfV2KHZhzuq/b0ZGUrZAV1sD5RFICEoBFINAvtV2LuhT1uYY+ar6BDbxvI32mQKYW+TXH5VbshwmJHnm5yME/Ow4I06MkPz9OVAssM3jiIxU0z6dDiiO6dGEE464u8efWVlJjh979lFh0OwcoUkZpe8rtIQAidmXCRSBJ3mwuX1jt3J9DVPCrcSurvXEOyuD6vNoqM6dUlOKord81YchFhAwuoh4t+cOB0QYzP+MCAfaac1cEoF7ORMk4apOY0dyADP3AoqR/pUafTXuSbvXWXx9x3BEYpPWC6TUZw2Za8BvS76bY8B4oiBLzgYeqnI85IXsISdZy6MdLZFzf8AUOulVTkMp6Elcki+gtj9ikMqXZR7votDZpfQfHJDbD93bYk4eNXXCIZ5qVjWj+NAmi3vo3bvj1KMmOhXqiXY1o8uv9GNn4EqRs6Dmkk2hRHupjpnd7zpCsram71LOYRPmNRDI820tYoVX9+sYIUH9yRLpHDMWibkvK1w84c/DPYXwv8VdS2ifpDH7s3LitNTk2VdDZu0/pXomZmYbflsENfAKb9jcTdLMgcVeiSACLbMoJmgaWge0gwBQGUUZLNiJ9hAq8OwYR9RE9stQWzspkqm1INioWN2bdEzeJREwVnun0SgXTTuVLwBx+WeWfkNgp0QWbxzRw2nMSvE8K5COSIpxtdnaX/IPrizduVvLow7ECWBkJ3nqZ/gdf3UnGSpWUxF+2nCa9ZNsVcC/hn/X+Bcta2xIo3Fg1PFFJz1DnT4jxUHjQTeDNoGb72cyVhkaVQxH7t7gW1tGM5uFLflwDEHWMwN+n4ZQVxMJifxBoiTBzTF+zxDfFT3O90sclWTRljN1DFIDMcM/TAX754prOUnADiNJP8BYTPVSkXXCeMgUEzgvHRGg0zwnWBV+fGbP2w3n8BC/1Lnw7/0XRYMmNMK8LmPieZvTaPPNoAjonJFIHSjeOALLxU1Dshkcj+JCjGsGPrhn2YOSl+dXdVLRZo+gABkt/GXz3wSVODnuPEImk+k7Uwj/9mIM8JCdoNdfR1XkeqVcnwPWr2aBBXQhQt7Wp4OHeCp2SuRSnwDlXefBEVG5nO+Ag/YjRekgOkxI0Ot9A2YIyOlNzkjOB9VRNA7Ycprr43DG5n6pZG1d+8+Zh7QJdCcNCPgg6KDAd1/qKyBYKDGJnPmwJ5lADcpFWcyQBEDOqXyt5lJm40/G+n0Ha9XI9DKJDaS8RFZkiiWj4Nx8S5JhiSm3ECRY/UqXDgbhrGzCxRH98gmbmBbHQWE2DPop/k8w3foUT695oTNvNv+n9U97IAUjQAQMLyZM1JJeYd+Fv/29K5JWXXpU88j/Ko6HrTy/+Q48fU/s42FFvekndqqLLmMPCLl6W08HBWu5IxadoxqNr9/AZ5biUuDDflN0LcbJxYshSEQqao1DPFHjyEfbBkmQ0usbDxDFhrJJAR9ExBuilQKarg3AyB/AaDPQNsr2f6tPwjMynJcMhMvLyz3TsbxSA95Lcy1HfqDV2mRjDSdqsLIn1ig1gf065HW/bAdDmNl2gicRiSzROzjzrNHsQz7UxYeiGir2U9oi0SzHsfguAECqpHXYZeIlrxjWXJN01S9Nwqtn4TXtFHy78rvCM0YsTvmIcqV+07a/oIFL9wmxV1g/2/nclbYguq7oPUk3Sbkf3KznOv0qwCa9S4fkDnADcCYJLwL4RL0ekQOJRq5Pms8feaj1ssuezyNwC3/801n270qeAUIRqgxUy3kW0QyA7pdvgHYdPVjanppvQ6icSSKyZXzdhuk6kIvWlajVoVX3HaQwe8dbiNIQvgqxIShuAXza62fYOWBt7Uhjf0Pqw694wVKwmZpxa9zsrSThCzG4/UUi4poAZuJJGCnA/XcfQgheaBq8v+LQBrAsdy1O9bk3SNol0RGjWBc8d/mlFMQCkLF7roixhHPs6W3fqyaGpTmJPyF73QOyLdiAsSqeEdIN5m02gs8wbY+kis6DyduLvUxewtj7AVKwxuYVNNDhivQ4TtxXP+byoAbNae7noRDV94frA8XBmb/DTbOdTDs/2ocW7ppsHlw4pFCL8F7+FIHpwxv47Z3esHvCGsGx53R37TNY6ffXWPZnt0Vtg+Kvcj0re39XP7JI64n6UwhAxA3xed0wqFtrCJeIxCHbQsJI8ke1hu9whEIO0e9xMvPTGOvpXNqE44exNYUF0rJOPRsvcB/4XTly0o8uGOyY2g+LXOa5lZRry+e7K6JlTPVFJkBH/X7GaIav8lgZ4PgEA+xucdcybAT8+sZYyh8JLH6lYvjF0bFp0h1jNVUyvX5hIeIa7AJSkt0Ag/dx99FVhvcWF5v5b+qDNqG702i8r0isbZqZtK1teYYZ9VYj1fMovugxrfJF6WloY6MtU1QWYCzOU5siNhNuuX2kNCxpd9lroc5QN/n9/4B+MLhhpSH2sMMg38UsjAvjNzhYLkdkgCNTxnxgFtZcboZO2H47FQi9wyPuAj33+ueKopLbCeCbqHbQmpZUVxFm7sKW6mcRYBBIumi5XihPZedfdC50NXyz/NdTlizicr2T+UD/4+zUi/cMfP4Xqex804/1I9DpFuZKR15igeV07fKurKCdiOYBEhqk737x0jB1XNuSUxSe4oYMArMcI1cr5CpDACxT6p9b3J2NjBb4nzq2H6RnfpcPVa87EeXr05eKU2B6LEemVhRvftuR7WrVKKREk+1ff5lDrFL8rM5fRnVXOQgByoFt/jdMtVcRqhNryXAs8D2Uc5s2Tzyh58lLKNoVJg3492Pgd93oCTRRSKknstCzuyPY9tiBD9mp1v95PYgrLn33v4kUQDogCLVIksUXH1E8Ia9OpSCxbWXHy9H7+6b2+pm0sZr6K3M/czzKK2D5eaM+cncD4GwxT+6i9WCv2bTXxS3PqwfmbtGiVQHi+QB1ZJg3cYj4X5G4CpNxPdvRc8xeQ4dsSHEV7cZhmz3RN1WWd0bgXEJeKyyUQdnzsbs2sxSFadYVXGTrho6xdZzyIpe01X/sr8i3mww5Al26HZy+2kmcOiCVCAH/iM78myK7Z4GmmOcsE0e/gsK3HuiJa21AWcL/KwBFLmE2lhzSLc8k3KLuILFChsM/BJ+VeoSizQ+xBjG58vAnr0ReMKvBpW1MeBzESgCkKozJ48F6stz2PA91gTS+3Wyd8a+EpTNrOh16W9TETheTV9GHBLsneTvgtdaRGd1qwKc1fTtvWpXfj7YaS/OVs+ulBmj0DGOBAx7vEwRxkJBImaSUnSimNOS3Ix2CROgZL/hR1E3hcSJ0q6Y2r+Bs1is1xN6C5ibW36diPOJ3XKJpLJstR+56zc8tb6T6h/Yy91Bkh4PwPNkTh2X1n8W3rHGDQtMc5B7yRyoelz9rdoUDqGJArUcE0YQ3CdMFs6LVKmv/6IGPmulfzQG7JOpqR3SH8GcLbS3CI3DRsEHc1guJ2AYGLbUP201uE37clEFjj1wu0YZR/+7ydDrgmeqgHnwNZhsn088y/HD+Ints+cfmKUMUpxuLU9KZqeaMb4POAppTjeldw5zFCx3uWbS45koXb9EYAfOGXmQic+Raz+kCDoMFCHDaRB0tvMyWZI82ns3XQDVHMmXdOW2d0cJUq7aSxRFACwEBDip60gujmQKA37DX3vYGmZ47a4kZdEZEAywxW/CCr9rGSN19vjx6dXdbeVR1W1EnEmY1KfoHs9qWk1AfvK74iChq4NWb4iW4yLmqyVjg521jYH9NnSwiWieZQoPfuC5g+9az1VPlGfkg0ycPHUj9nfD3GiAF3vAgm+Y9H5ADHDEtKaDqcmyrMyHELARdhWV/+MytnvkrsfGnlFWMaGU5HWZYNUELI4YET6hYC3zJbcKpeneOCg2Y8GtW0k+NSqBOZdrAxp4cQCSLgL3nyAEh8n0CWT48P482dirbXONf+DbFF1Na31vBp3Pes15GZj/DeR7lEJcO3gWdQT7tl0PkBUzEAw4ClsGQ5Ivw/oyMOSwZHuzSdr5tT0wkZVZyz9BGRGnTQxU97oFAq39iW71Zytx/QEhBNUxUgtVpKXPrLv/KZRuBdgKDKWEQm7EgUo+6n8xH+8FA0uPSQLn/t2X+Z/VYs3YvrB+MZVfdAe7ufqFlZgubk0IQ9GkMkDGllyH58Xeuw8z2Zer9qHV5qOkSIoZiolQ0GwvW1mp+zHxNsH2UeQ0gth2AYqYsDdOyJEDQamapNxsNJNAzJSVcFjqiHvdx9lNiQoyqlW2jVXqhhruSNLt33tKcNt6lQZAfUJb75xvLQHVyxxGSzXgX4+SYzsc0by4yKxuoxPoA8bjznpPUx/DjqC8w5sNvGBoX5BAElG+D0QahJ86cuqDL7qQS0lzKDr8Ajsc3wDzXMcPs9vnusCmUZxpW49BRrqnzAUUWxrEPv7MoVcSjraQRE8lBJkHYBDPFrM9cqAIDpYhoYOmOjE6GxBBH0q1NrHAE/TvlGLAk+hJGBXDGo7Nmb0+dJ4CWgigYdibUbo+ZJLiOt5N8bYy3ypNHyfNAElFKRcjcWsXxX1dwRF2h4TErFUciTh8mm6FR8ZxfY3Ad5c7tefnadTJwlyd0w1QxSKLOimTeDfWImf1eFNPY9J+6KRXjKWE1xX1RMvTGcFw2Vp4/jxLPogYYqj/upMBAiVx6TOrgDAorejxx1v0bbKrjA7svgxGNcJAZZZn0BAUZxiZlRMGjxLIT+V2t0MllWmuQD1qsEco/4BdHpFIgLUSyoaedfPyzjGExBK+3arjwWFLgOwVxWDGEc2508nQqyYDmmtMNR7dKl6drIi4VY+WcR19zhvSB9zS2699Pq+sNsyWW0fN8++qBjLef8TcbWKDuuPe9GQK2kMrWiM7ul6ncCeoY66Shv4IUwgHjzAXnzw54Oo1akNR3oCU7iPafuQwdTKj9u/+Ko05zPust7oLLX7xOD1kbbbd6gzPeSxuY/3DMviknCJzm1/PKuWWqWxDCK7rY7dd/hA+ORV+76QTZJmjHhdkNMwwTv6ojQ74+6wwfIDZ/kuYpOBLIiGdvDFEiEZUCvOfPX2y/bIrGADZeOwYciqtRikp2oUSbCq6InIWHnEjGIIY44Fx7kYmmWm8/CXzwEXBfhGi086lL8j0hf02RUuakvHn51+BhBrW0HJSty403L0gJuLixR+W1jB0okY1zScMsRAN0ElrMynCvguJhn5o5X3A9Pk+5D7DNg5r8y0Tk4UkXEkkyrg4aWpzFiDsyf2liHNDZTI8osXEmFJBxYxtHngjWRPzRUZ99uX2/xYVF38YT99o1X45zGhKGyLqaOspTkT/UIgfb9lj/GHFSsasyIAVZUIa78uMcTgE8beLxbrljG5J/yxyji5FsCmiciuryuHk5HT0aDPgjpT6gC99pHLEQkeeArrOJ0bVM0dUdV1xlpyBUsKiLPVUIYeSMny2VvVgxp1Z6n+doBiNC34Sld10o0stY/Wc1hpcpPM6Yml4Zk/1dq48WlqX38+PqU5yb2HhemMAmRUnTlldLUmnueXpKDbtJ66naGglcIVpMLyuYekcuDoelCxl0hXk7CXXR1LUB5Z545UwOZZQL9ZjI58DPYDtfdlXfz53kAgXPDJV46+gyKHzukI+IrWIL8OT8LX1uwcM/HDQYXR+10xn7oI0rTNe4oYCfL1ct+Ez1uYUBf0Yo1p/BHiE1PVOqjfsy0yl9/coGzz87NCO1sTAc6Yj/IScOtOhSeLbX/TwhLK28YOComfUAlBSK0uP/SMeXZDsIilXtTvziJCCV3jWNeqLptwTlt5G8mNyFHx3RfHaUzd5ZG/Io6rAE0cYkwmohJadZrOcSb78uYGSSV4gmxXkx3Oa2W9E+QxOIP3S9yQM9Uv4YBgipJgiTsiJF8eoJ9YnJ2IZDdKdqxo1ZGJJoK+xsthl3c/DAzTcjZJbBnf+YkLZEhZWE+70fciP6r5F+l/Y16vUTRNGHXV7zTjabVG/mx0BXmJKxhbJgURDZnhul+aqsQHj71NTaX86hL466cHQvpJoJcWWYgXb5igD/hvZGJ8+BGHgWgZhdc+f/+mA5vcKMWspmXxSoCiUm+Tz9y9xwn9jEYXQjcerbjux7nS/Sy9lLcgwnhI++VmEBmkeP7zWOJTKCCh4XR8QH6rNwZt5F+DqbnEjdJnQtZRqhW1LM9l3dH/vlWc6/n//f4ZLtEiDyfBb8W4N5lYrDJiGupTrlhYfNoK+t5PIET2kBjOl39+0dW/lC9Fw+bVf0dbjJ8AAwhDvGK4UVaG5rehZKJY+wFCirSqOHfbC14gUP76z2wNZxXXLzRATpErzlzNpX2uKY7isaH8+FbGShBsQNTGyIiAgqQr6UxhqdnHUw9mRku+KXXSmUMkae7VMtb7snd6C+iXuhHJCPP3uRZLOVSIVL1d3ak0eR6x2iW6xsApBsj6HvyDNTN+7lC3CBtdVwTYbfhI9kQy1iY0DyELROWsk2LeiLDlbJVhocrXOF/eGDGIu2UB6hyqG27AZhu+sRQLNRUhWvrsDeY+K7mvGWPLj3F2jm5+rCG9c2uISDncPP9p+4FhmsC7GihTPkBWE0zP0nEfDh54akP1BwvcE+2gjrmj8NX+knCU04dSr30tbTZ10+eRmppO9NScl1A9i8Mkz22ERGA3PaWZKzzQbsIPydbydmredb19V10lfLsUrI8jiSMgiFo4udbCTOROskHNR2n6G9sxIYXyOdobrZJna4/tOSQqZ6ZgYY4u0JKuBmX0TQGDZsbW2WaKhdSIeGJzDM6L3gRWt1u6PZI3+Ml+ClR2zXUobyLXFqdVLKro1Egx31FawWonmk28zPvjjWngnJoasWAH0Qcjs4mgLXmj6wtALW6XpMhx/1aRxBoFfy+RfdsA/CUD8+INesDT8g2BzBBTx2xJVQ2biDbKRk0PgHCqlDZx1CAvjWJAYsSIuNzTk4O6pQCtiWXIhu3Swc7JtQX/OaPHBc3+HMjBKxIEcP4MBtufTOs7r9CdPtJvBtLvFD5f0Tqc1Q2qqTRDwWbyzZ5ZwrT4TCtVf/df0s3K/wqZ6k3C3DReHFtuCRDhVokVtsvGE17BkT26Gkc6erk5X5g93azyDDPIppxD56blqNR++57ZMkyd4mi8YJd1cYtmy0R3MrYNMal7JQ4bWYbKrTa/UpFhBsebhslbK2Kg36X8I4tPgJXVFpDRx9P2kiawdjtey2uUf6VDEug3o72OnVYFNMnUzHYhuFqdRL5ETQt6G1/y36wRyUjdvlnBGWetIlbBeBcQyGdLRWVhn+4OMQ5M7o1nr2EU7BmtwUopcJusw5ZQdPMwMhU6IvXDqFVkVmYzo8ACUCw3XluHbaTjxsQdKh66//QQLbIzoQDS38myNMdqkRM8U8KOipTsLufQBR1ZuPKKApWdFRNpqQml2KRamP/iRavCUXIw3oApDlRFfubdq8xnlmA+lwwEjHJhqn4L6obhf920uV51kCMFDwO3Z6+HvOFU+L1w5wPCk+Gs4/Ifro2wKi7OGcNqeDC/El44UDtN63fMeopPKbVyL8PVorQcpl5vj5YxFpEvQDBFFh9yjyLQPC9beHOwqJEtWAmYw5ock6OY11fcgK/XmANvmiF3SE77xLNQO9Jkc8J6PG92aM3R9QA4ix1HXJ1HJQJtNnKO7aIrkbNPb/rdhLWIqtHOf8taXqg8WfOuTsI49Wap+feh4+W+QLpwqJ5+Ob8VIp+vgXQxWaGOOHQw4svnnCHQ5zP6y2J/xYSR8mvSZWRsNqjxAvi2oCIqX9tRRcm3q6MIo5NO/zU4DN8M9OBgZZkSDjv3QEQG3jFVfnLK+N6nrZo1RKSB6Knm1p5md7bQGgavjw4jTrCZ0IAs6bjgzd8AC1OACuYtsLu0uHrnZWoqVgjMDjX7AMFPccY2gB0/xoUhsRqvJMpdWOGOAmLdYmGCUtLsZlnDx8U5yDTuKK+HJNKDjxFjZJgO/1VAw2Tfnpxc7oLGDdwneMyMov+aKiRrSWAXgEOy+layaN68SY6npjiXb2XEk+3K3OXvcSTVu07Yaje9Vp1NB3+Vb8WzREFZNjYySsMKlR1An+xwB5ZlsnDRjWascf8XVjRaq+19ievH0dK9L3WcSiXQ7bcrpDFfbD1nHlnNR4qOI7y+Kxu5D8e2oPP338/JTpJytcxvPw+Kdg1ngK9R8LLeURk2y05KK6G2r++Tu/TfK4bU7p0/68NazvG12FFib8BWAV8FH7X5KqSs4TdVuaahzZKziq9eMQBLwmTrams627C76i/QLDbv9RuwfBOQ+2k0Ep4UuURiHAMQ6GdyKWfh/SSCUilzA8mzAJ1n0sVQFhTOfnp+MD6VfSA690t7z84MXE8wb01PjqC9EVCul+KVQmhOpTQI8Nqk/wgqny6ey7saciHSD5OykUBdQ8go+A32XuTbg5HMZEZSzdrKUPBXBRtZ/TH2Re9z70UIUM44v4Pe5Q7cGbLWYxKL2W/Eh5qjsfZml8U/GiF/dcbN2s6Vou1FzFhMNJIYl+/SiU62Q653qvVrTfn9qK3q26Iz3K5B5z0pZULdoi/227avcBIx1Nvj66UMipuuS3tEmLnCFGPQQXQ+P2K9Rj9hbw+VjfdFDDDBIoh5wl2Tjjc25bTTKjdMVk0i9kvrropIuEig09o/rQGS3rfZLNhu98PWEB4Sq+Blm8kHtxOw9EB08P8NVZ59PKjFZo3EEFO905GuvgBklCSXZFRPITB7VodUNg1mJrswAszkEuBrgKOx7TSySZkbyj7p+xGJQplbrCQYAeJe0utkcGQcC6h90901bzEJlo9Dqj1UTYfDupAD1V1J1N/kkkLrm5YQa6jFARL88FSNJADFh2/3eUvGG7eJ3SMGMQS70kHUC4YZa2CODpOOUvyzYTv+CdNapzo1nFfjRVMxIgQZklYdH23xytdBzgE0kYD3Ec08JWPITraf0ipD1ofvWPxULq+QTJVTTKb9VbjFWAveM5jgiperi+qnJ5XtNYunXDb0adnQGTQeaTLSFEN1WMSktfUkPQH1Ocdjs1kU4AFXsn/SbcAtrqs96BgTxQm2oF4HBZVIbK5rcaENY4mfd82dLXNJgIH9WcPls4kUPyCBbKijJ1z9M3sAzyDULrtpmGuzZDwah0hHQv4uB9R78jvRXXSs2j70bWVP4dzjkBE3UDjON1kvG/uqecPWS/T2VzkootpJUgXk+ZGeNTiuCgK6tgl8yVT/mflgIPa3PBDEa2ZiARTN+/bDQGdIdUoEAoduR1V4UQw0uDsFdCghT59WwNtnftbpETTyEpsS1mMVhLZ7965IdrnaGHIbDWACJYJXD6xgPZkX1V8uZELXmY/R2X2wvXpA7swmBOGdXH8qsars0igavZI2X1OFzN/YJ0AyfCPenlRAjPi3uCslaIX1CeCNswZyc7/zB7CFldFRsWDxHIudbkyjEzk7xlj2LR58dqP6iMP2D4zgkf4c02Ff7rWd6ynOV34FxfSeVUkIjGV/MnxF9N/Fu/Q+jH78xmyq0u/Dsy4iLaHOgiawFk5nRR3AhoH2zvazw0yae7ZJUucoalygcZpvF2kNVXhAgnNeZ0DIlUtaKlp7W69jp/ybSYIbdQ0JwTNohoBuQb6L6GbSbaxtNc5GEfGh68Hm0gx//AgZV1Bt1Tjcp46uTeMlSn9DfhkRY87tvYf2cqmcfSeZH8DmCsLq9Ni8Kl5sKKRZuQ1vtJZ1iTNg7trKy084SjZxOP7OFtCmaI/4WSGnUpg2Nby7CLREh52p7/D+x6HWpH0w1rfYH3cl44eUij+59IKZljZ/LTJIlkidzOHMTE9FEGEP73sLiERcSJ/1RSUoLxz4cZyfk45OaJ/SiPOEyOJ4RWJPxAXE6RSfqfXBrx2me2Mo5DWgDWeHId6fqB7+xoGyUYa2Fw5zICwUe2xIiuJzcjSSwGQdhDjimt/90WbcfNaSFdKBhtG/aDM8CpsDz21d122oF/GmpZrLgr7PckaLA4zpAoOCglNZp2f+/LRjgy4KC4mNTmoqy7tU6mJH6Kyq0tCoDCWpPQxsNDO+8yj/4RiKJFtlg1VSXEVKmQd29wdH6n50njNU4qkD7nU1D1BLsqm8r4vu7a1VHTnyarSuO4cQIk28Bd7VYLEcXA1Ij/8EUFWp5xeOriPDWp4CnuePG9Wk9pLUiFmtKPIz0ddyVyTOlCUn1zIPLrhy6IKbi7076kMmvc4survUQ0aWyN32X1x7ptn3YToC0eeiqdaA+67RHpZIelboA8KyqQy1/7Vn/HC+qYpnKCFGsspDVOPbT2EwEew47Xj5MV8/PvXbRHcvMW+lfUuQKozIRWl6jDiXQVj2ky0tUT0AxYamgM4YSfCEt4OvsesHePt3nMfe93/qtYCLuGM+wpXioUVJu3oohqPwpFetgHDuWfXiUOMn5CPOp8LC7VPyj5Hn9FccGQAVMTSFthzCE5MzB3g+Odyl6o0bQzxUiucZON3tQYxouuwnL+8StjBwpRQ88KXn0EdgTJi+WysnK7QX6qLaRHuMK+6DOdT9/KKliTQI9cFlZDRawKwheQDasKxM6VK2kLpDohDPm8cGv/m7n36n3cLLgi40WNVzrRJcFnsTUBJzcJAw8MLAptKUf9Bix7QYyDW7FGm6IKskWnfPzfN1r+xKyZVmM6Mk+WHX8ptEynXmsd5brRC2havJ0zh4LCckhurJjqt5EpQY81xU61jqdeylR4HpRArnTotH2Sf31aWTFVuqNhkSYBEr5uylwjodfsE6qlynpnpYgA06N6CZDBoSlMr8nZBYuDL6Ex1LJmRvh/5fpPgtvpKX9S7AXKLpeGxCDAJJPQHppcM50yHX489bdkfY5TwMWVP38g/SGvNA+4V0FsJQjLRsLsnQ2Sc2daTp5eSXb9J0Pmgk76megRKjBsaltDncj677SiUBOfLI6WkYKF6uPcxeBjozyz4Z5mw0nfl+jXBCQijBsIWy4gWby0DHvnRc6Mwoge10SOgoVwaNmrU3cWI369Jvqxv66BsGxTQuW13NQ1NDLvMbPjsm2SwhgO9KRH0U/IkN8VbRAeb+js0aLEP6LI6BCxx5lSZGiFOqGACkxjsHF4bok0xfQV1MjagP9igDJxrd1HDWtV0FnLg5UA9WCl4ZxNSK91BkW2DxmjnapdpOUXuOVGkSIQEvfxEPHvxkeuaCY1bhvAykiTUUsS3tziybLPO5RITfL7XPL4ZJMGWjAy2U2OfpPiHj7CqlQFR6ITmDoOhdl6BHlhR9hQ8gjm7lSP5FnX1bqXsgKaVQHHrk8j61midZdUXqW5UuwXVyFzhQd4+CrVLlKJt4ap22vXlW2iat7pfWDWeNeSGDtPSL5xE9LjkJl3poUfNbJD1wbULsmqaAvusRoSOjjYpEp1N83drSNsWVaMV8LMKbsR3Xg8EmAsA19mXxXZRBj1DBnpC1OfX3HhE1d0yO6uVVuqZ8gm0iQ1+no1eInd2pyQJfuWzgcHiIxBJnT7JS/w+MwaMYjZUM6nTsIwJOKyP7yh5YbCDmbBlssQ2MjaWGag+mEJenMAyR89KpYApdYBRWMa9vBvjmJvv5REvN8aBGFgYR2wkfkkZATWeRiGpq7j1cRTiOIGMHNrEOsh/OcpKcdUQCFGUPBA1/dewaxJ6GI7lCXIVavses8D3Ejkh6iIlcGvPdRT6m9JFlNxJAmwzH/djhjSlyLMERwAcBGVvcOTWtoBfZU8Odq0qIY7JCZpecXAWHUCNNnBJNNNavMwBLBkCtR91huNtMVucCe+0uRhBhcbseFWgo5wynuH1z7JZSZ6acgkIlMcU/dzR5FSxxTA4OGz/G3wt08wiasjmX1ubyj65ZxbCutSJwojpqDA6QhAaDhCbiw9laejYnQ6j0fmjfpENRpsjnJvvsAt54qeskbewrvp/d19c5/F9LEkj1ya2jr0DCwyNLjBOqmnOPt+byNLfuRHK6Dc9bordEsVPBQQV50zOl47UMaUEMStJg8Fazokk5lKAzErvSNexSeGYY8eTqN8YMutXNCDEWEbn3TikAZmv0wjYGUYQQkm4WmagRsMSDhB2xR33mQHxEm7l8U0GUTeu68fPYG6u5Yfea/DyFkGtvPdncWkPlsg3aD0AzXwJCLwL1Z22vT2w6lotih5PWAfHx/DVkd4/KO8NQZYAb8cjGGRAobqCBhQJCUPHHEuZfaD6vynwoGY5XmXPzb6321FPbTEjLPbCXq+m7EAIqLDjTmppiMnnbJkoKA5afUYJhq5rdMnYyI9cuIKjqnkTIibQGbLfaUJHeHhITEOA0TMC+7okdc8RI7QreAsqgYNBC7l2Iqk1NknQYGIO9XfvvjvQAhAAaBcawr6C7jcPH4XMuKvyt9Eouhy5d83GsuuvjY8t0gtZR6sQV4ZSMTCBpo/5CXZI5LsyAOwmMjmd+Y1ke+U4b+LYrTEW1l2A1diwykWuZU3VId/Lu5xyd7TjNHfysMfbNqIKNRYlgiMWohhd7r59N3FtQh5At6kSoEgpgMn5kXTCH3Z3/0EGRNwwP2KVAQyw+9vUfbWj5xrS002wKWgyTYd0xSY//KMz3KjnLCjPTWhU7wRsoL+7shDRvG/dSbirZk+MqSYMooS8tIuxp79NneBEgx8lvbCYmp4sWUngARFATILeZHEbzJ9FNKXls5uz/NHdbQLXiUxcBqg6JgqLIckro8/TOYqnDxQJdePeUFJ6smlmhJhLGJMftHYys1N5T1CvEYuEG8WWujQwPqpIm5fqXhUxwXchKOtVWTIV6H0DpuTk+9hyjMr4eRGPqZjLEJdsBdgWtP/hNOq65RS34eogswQUOKX5hDE6c8AF+gMm8gyePDQZZu0Vm47vgFpt3jOxCVLnW/g41k7+gUkAV8iZd1YrBTlr9cu1kOo8u2l5RjhJRLl1L2k9a6ezptDAtP0YJzGPgDFLclJmbP+tM0wAUMgEAejc8zZvVg/36ryI2AAfdWH5QtSC7f/NHt2VMKBi0a+Kif9RBmY8N6biFlCqPZyhJYOpa8czVN67tr9ZngxfaXxCneMfAU/lk7MwZAyUPodTxwSM9GtuvCCzMPpCuPM0jT9p42C105MO4FOJH+kqIGYojfqYaZlP6JSr2DZr2Kcj1xTF+YxeuK3G98q40meUKkrRodhMk86O0OAslyosakCxBdAvy0BpU8TC6gPlmBR6DRNrTuneWogfudVj7tWjG12UnZoTzo1qmCXyFXiI0+ZFyP85mfkC0v7mdbBDqDuFBXcl8ntrL0AsdpCXeAvWEPsd++tE4x7b6x5ywGYyAsEYyCTBh+7AMWRzqHZ3wTDRDdvdZ/1k+a7oh4sU2xjCt6fxxpbP6wVU3hbl82iyGSspVA6NaebIylEq1thHPPj1nceHmhmiveq5SEN9ZbGzB7iJwrnMBLHjajdCqwbMlJIlv02d70IdO/RcMm2f1sR1IZqeg+tJ0D6o8b5cAGBLhRZEthT6SHn+Dtdpn5QlpGkj4pxts75JFjEXQpGTwa8c3HUdKmK67U69puBT+N92OWnxeNrU/usGdNPxaMhtEBL3xBDDzbT4gPbiMAV8mT/I3GPPV+XEJIW56cXnikf8gXgd9Knh+IILyhWkPVV1ff6lmZ5/pQZDnBPqVu/F3mp8rYe2C9TNKZE+oLtYlm2TaR5P8/89bOIsNF/hxqBXrD3LAXMUwHpJMiAlG36A47Vx9SZncRZ+lDXIJmf1hx0GrmWXPstAcqrCkZR76151v/qt7+cO9siPmGUMFHnNJSHePDXfPs2xDTowSI09CgJpBHi797KSUCTHcX6nZBo3cwV1QmAkHlMrWL9M7A4ylh5KeLVm3lErQNe+71X6empZKt3Firvl2SWPIIvRx0jnT8d0zfw5jYTwVpXvhoRbmcLmhQYA9JuRjvKChDNnyfLOmQyO518c8dP1uiVAgetg5uB7hCvhRqFZUTWCuZAe5u/2t14dq4teGjgbiqYlMu5fEp32yZaWC31NUUzPZ2yQm5uVAicV3Q4GyBgF8hUDn7AzGtKkaUcmvdIOPLhJzL5PHiWkAwjScdue+D52BIU+btn1SSvYVCwI6NGizfSxShi7W+3OBUprIedxX2cvfzUo0NngCmdk2bpHQaASxZN1K5NSf9HDppv7j2PPgwlJusqq92nUggqnA4Viq3ETqtPyo5ndQ4M3igALlhU8Mxv1WrqlchKyBjpc3BDuS7Sl/BjtTP2JO4P5ZgXfuRMGzgSrkPmI0PBTUMT5zSrJ3pyV6d3ROa8PUAwngqm4adh8hvGGuzy2YminnFBze6vRUmIHFlnQyhWWeAHPxSreBU2LjHQQyUmuCBccUBbUoFFsP0fXirpTPwDHDAyR3hUiwsZO5ys2tzZ/UgJtIfk0ny4V8lIHzG63nWyF0RaR8VuiRO3f1pS7lkH88um/EgUgMvx3roMISaY6MjvAtbIjlvcfLUUGvOoDv11Bh8oGEFiZLLxUQCjNeHgRqOGliOEEFP5OkHoCK2jl1+Q/ezpW+Qoa3SYRzJBFEIX6ZBL2tfg9w3OnaeOIV48O+NdiBGjztj+c7QAW1Lfv6MJpCslf/42J0pZWFbrirPkrjx3er9gke0XfU+N7bfJPWKhWZ1GRgE0hKWSn3cjrvi7sC5zUMFRs6Ln0RJiR0grDjn5BCG2KVCaF6ZTqqTSM4Lz5BFQ0sT3rBKJzq74P48ZgjcxtjX59GJQp9U19q6TpJnMJIup37Z9GdJ1Nh2jF09Xfg06wVxFxV3iFD/g2HGAAFZlKQt3DNhtUY8jGi1bXA/whkMP+xOlfcwn4wz4itmoY+d+DomFUt1Eap9SfRecPR4FLvH70V6X1ACOF9HFYA9sNmyEvijsaS2j2pfIXPKSHXQteei9klrvNSq9gi2cdF+jnY7I5hq/BazMW3MdBZZJuZHUG+6h6lKoShams1/xfQoZB38cHVqTTcG8Ah8QXdMpoXJ+/M6V0tUnnPRUAZq3+EnlRRI57EnDugER2TaoaL53j5D+vhbNZFMT5pygw4vq1gAHXypvpIFzXM3R32nY6I03M51uH3VA8BWaOmqssEb0+/TEy9Fmkh89oltbe6xMul7rRqq9OxMitO3/+4AAEI+HSQBNGDtURc6qmx8NaJdga6bOH0LwU4Nm8GHRNJsiujAJnRgnbElGSVbIBbfG4wCGlIkuIjhVBhJneYpGLgGWWp4iSmxRDqFz7t4SC/dV05/DcYcN2Gl4j3sn5Btz8SvAXplbjPaoOAbwoe7ko3Lun3m9F2a4Cteb6zTmejCqIWR6LqMNrlhbu1SUuPT/biQiolhUWoG7YFlWfuaBGKgRNfUwAxLar7iCH4k9QqhG+6JtcX/tAs37BR0si9CXnl/F9G1f4XCLeYJU54C2DcXtUNes16E/83zsO5ZCmMcVHNE1h2UsWshGBscZf0FZPg99iuvkrC1z9LSOGaOBGNvWlB5+euRIriF5VSV2yfDd95lWOiCGmXS+1+ODLvD8rRgid/UlWNs3T4ungB7goz9diIzcCMt205QydkCi6c94VbnEGXPhjfdluiGmkp/cee1LVlF777i/94V01sI4n/k46Pb7SSYxGzeZHyt+q6NciSxq8FRh2VDXjgruIa27VZPfVCQWc0J87pDbHmjmEvoHycEZM42eyoT33ptMgnC3vnQ8nTC2PcHwgi7hhrllia9HRDf96SglxtOygp0/XfjRIDSbePgSymUMLUbkGQnJkyV1ULoA4+qjPed1czhI/lxIUJDbMqjg483k7+Lj9NyFWRXn+7sQl4hJLqt1DYcPxcUz/PlZIcz0VlnqdkWEaIv9bTz1esg0V2ky8jNuRo2MKENQsajQYfuXZ3t39JW7tEF4oQAGEC17BdwUTHhoDkfm2uwtmbVOyKcKnWeBwi5wB+po790pf7YwOoki0t+k/cVnhhX2eZciNx1zWeQanYHs9T+5hOP0rhBBARdbIokFe2IH2hosRQTci1aasnE/vmGYEHNkZA+NLSEnSCeACffSkRHkOUhQmfEUp9wsQJO1w5HCdwHqU9KbYczduG8xZLrxt6TZIXD6ci+/FICH86vVnyuLHv7QOK6ZdZRLAGgSIPd1pmrLuCVn8nx6hqMgY8KAQ0xamXoAKorRu9lKk9JilEgzr2bDJVJ3IfKmBAyUCT5aBM5vN2oTWtpC4W39UHH5oyZUq9b73LNekc4cjwW33XD31jwMwRppX2TMlJcQo6BRS3uPVD3EceC3ptVzVU0WB6izCz7VvMKLs/erbX7QTRt6Z2SPz1b/7OKHYVfq5c5aF07pFzqFmZV8aIvuEIFiSUNd4UPF5TUfzyil8t2JifwxNjpJINa86A5fUVb1HpHj8OWtxRKck0RJ7UCt1dqsEl1/f/uQxXK+mjGxn4cVKA5D9fQSCvUpA5P/Vxj4vlo1u9DsdxJvZcQhQ2NwX2ShUoinyFjXpy23UMcBTs7C7I7LvVAAE8bVyIMfveKcmuJ5+8s53Yn96yC5HxDH8/ZS+R5k+eM/xKayBGFDrH1nw/JVK3c6JDL3popoFxxzO22l9f2cd8XwkPHJXB1zYOAdzsiFcrQkbSCd5f1wpcTGWqVvr753zpIQQWL/UehNLR+RyRNLivG2006Gxa3F8x4H/EmQKNKJSWq4yKa2X7aBCbrHu/TOBaF5HJT5VH7gzSTzr1PVQxql98mRGaSN6tO/g7HhvWshwlWt9Zappu0/zfK4Z6HqqQu16BeGjygUXqYVSY5UlQ3yYed2pw/k/yGObsxTe3+sRX5XHGgzF2ZJPgRor2LDxo1cl+4wFV6RmBEKl+o78SO0FR8BhdTPtQ7AzkxBcQYgB0n54/REt30py3nrucGBdSffbI2niySyCLWYPYp4EG+Oi4bZbPSt+yDhzfZBR3jhNXiqBaKHi54SOYoHRNDfS7oI1F+B35JRxDDy9pCiI1Axi8FEEcWXuYUDBjPv8yJynIey7TgPOf2ToLqRrb0NIeBQRPbarWF7KL38ef6yNJYPAA6+qs/db8h3LKTsWzdcQmRNB4m7bRroqcrpPvkzZE7CVD34P7J1lqlNwRQoaMwGOn/aTvyMJyTJLy5ddXFwytoKf1RAbWDOvv2Vh2o5Qemj9IZZcWoRCRsr45LtLTjDBUZyGKG+VrAK75fEH+DIl/17ufn57/824GQWP3tZ8YxINpGe1316r0ep7CxJDrLcz5ZOkz116q6wIAnXIccUvAbBpndtlsTAHI6/9L7vd6M9YdqBd2u+fHjjRcgMQc6aIC7YmnMT8mzIg4dRz6RS2oMuJapJ0s6w0drt2wzh1xCi9IRu3RLiJmZ/pyh+YS2fdwiVWjlg59RQr2NaPnKQ+LL0NmaXjiOHYKqIAAV+7TycY+h3ihSNBWdrg5A6H9niJUus3j08o40yMNRQBX8CFVnVs18V6i6eup+qr6H8v3fZL7L7di9Tvtk5hs6IA5nKzpasFMkdLt/KxaIZPgwRwp38Y7OSoStWKe9uOIQ01r8Y1TlCJ6jT60E0CLzbfI9JOmRvfzH1MWxF+6EtJ1DHz5fmisFn7SNU+Mrpo8iBruG/brgKil4QGkba7srz+4MhKzznbLkOHWKl7H+WQc5o1TMp31hO1ggPnygmqEgQLwSzgm8ZEwF3K7Nh0wlcbyo8M5ftRhNw5psxXcyDMujofZoxwryPMmq4PvCJeRsPIjycIEX7HrtuqU+ZxZu3C03YXbVI+YCx3jS8NAx+aVeur2aTVhYGwVaW87QnMHLYhh44WvDs9OuZ5TJjA5z5VixMtyztcqWZ1osDGpYXxA9GUJaI4FIL0V3zzshVhDAhg5j5aNtihm6QV0qQTNQRZuInj9pDVgcTTVqyCKkjqMTnxGsB18FXsBzxbDrKaYwsab/WvPUwuvgdrAhogA7cBUZaT00Zqf/Jg89Rnt7bLIVPksGrYDtacWEcWP00jN1MnPJzi1O09qraOwuzYheX/PdCm2s0/Yyi1767ZK+05WDDDOiMN6efR8Z9APi0amu/lR94h45NEW8q7P9z5vg7XEkGann5En9vW1U2a8ZR855pu4IIYGtVHs8FugOgzaEXS6PgGJ2W1+wb229F7dVHCIzgSl7HNl5Dq0f3f+PFtaQ52Fwn4qmh06IokurFl/gPtY+aorlA5R11DJfMBIrUMG9KkX1u/Fu53ZxNjU3EMzARFT8ovoXfkS09asDWILdgr+1Ms4O3ZBX1mwQIr5iAQ6oqqtFMKfCgSQc40swkM37jlrAPbRWCqsHGzg0FyYDoKZfEItatEhVziKJtPNcmwAgZQb0Y9crcbe9qO9jVI4HqptjTQop0R9WlYMgton9pGSH3fSZ5zdmnS7c1n7CU5qmV9ER7ASLNaO+1ke8RGqvXgetJ5Pln44O2ZL/lqj+Jkrah9vUO3UMtKD7X23ojz8kt/441PEUkJGRjYj5fYziwSDv5y4gtyX9+UdjDc6iY5yRRBzgCeng31pjRiPqOeoOA4KN1VBbhydld8qKu8c9/CerH+tmcP2gBWdUdbwOH9Y69y3tXipWKksvDG320lnHB9qz1Q6ZDwW85EFmb4aniYu1RqIdoACwiio8gGkyVeS+wkcL6Pu4rSlBDkPU6uexvpDXJvNM9ftqlPAtoppDpTie5fZbwIcYgYqDWxZ+sjqfbIikCUM5MX3bb8UC+yGTN1Q6EKEkLJ61PwBeEt3J6DApf3P8KeiAfrDMmTK/nBdgHu+ZP0kWM/0fel31fyC5nm07T4a7OLyAvnWBJb1kQZGtGdoPNsvpxLQV8lmIAHogQqYDkHXEks5vpdYLSPkU7BDp05Hr9OfAPPl/AOPksu/JzVyJ+5r3HHmAIeDztqqeu6c/LGeDg8TFWx+ClQXLVSjKKjyHTNou66sK9Ugpq4RZgAKQS9rQCuRphRmMTAW1yVFLmK5piHto56AIM5w2My/mzD4Z/5PYZFjNELW9InzumQmwgzWNWCtdJOEI5SC74hJtGcC9mGLEBtTnPPp34GcTlWpiKyIJWvKMEEwIZpt5O6ZuEstPXn/wjXqTqlXYak2FplTuj/pvJfQ6owuruOdRzsVj6nmVIOgiUzY5EKEUPuXp6mZEhOVSWEN1DVl34pH2vmKgkkg3w0myBLkYAlj2053zqR5ZZp8XIUANb85kG79LMKQ3VZQmN9SV2ql3OZZk4kh0GsEinr8zxJKW+p7cBiEJ6WUaxxYjGzF0mbw0Iik0wjzqewzK+vImPKUv1foZUyMhX/9Jgf3CSjr6QdMtkvUBC81YIAxEQz0Ok0mZ2JIYZWl3h3KtfIOMoNDZOWWYeYqG/7pv9fcSJRnFTXgbH1R5rlD1HdvTG76Tr9tJG35ybEissgXYfIUnTLNoJCMOBhasUdWsQYYBV0QUFz5udUG/dwLdIm+341uh7/mbp7EiLOexoD8XhwNS8LjI2FOWezSVNMXjfUV9IC5FBfMNM19p1Cy7tFEaezGSyS85rz7HcBuNwiNA5uUn30dq9sw4VacMUQjF0e0qkiUWoIAzJWQWYm1JJhJhlV6sum33b/+fi9ZNjqubuquXzZ1FjIgCtkvZLV8i3/TuiM6puDLe4+bB4H+TTqHbtVW4waa703s4bU1FEnBSwsWns4a5w0oiebSIUBGXv1gaFbHC+MZpn8um84lOnr1zUJKubq4drBL9jtFibEXHs/BhVWlSvepv0NCti5kACtJHxBMRxM+neWDM5WZw8CmdgVq+MfD/XOCE4aE8RzYCOsTiS/t/Ab4VAuhT9OfnAzCZKES7feUwjH1BvYp9wfOCh/wsiVf0zyvxih9vhMRNor9Dww0KsDNyS44q33pFCmVcoysSYrL19p4gRnG25YcEjWtqvmYFqJFwWWFf2CBkEJnpk5Ew+3AgVWNSyUXdCklFVj/03e6iHVjmKTZCdJqRdnzmkI0vWI40iDXInbHt5m9ewMi3bYQVFtrmDPk6phbbvahZvrAXZpCg5cKZ+WbuDgOMzI7VOTUhPWEIHPxrRe/Pif1Z/FQ5LOScc1FyFvHDy/TvIw18RXc7k8AvivhZEXeJYZAAPmcXdHDLmfgMMO8So+QnPzrVIWg5DPAO4bRl+rQSYNhN3Z5QQJQ9jQyar0wqq4iJ5Yv6zGhAmYFkjV7CK3higFui/Z4CPvQasc4UpJhgf9WJKorGoQUZncIn97h/6Do+2u4sVnVU1rt+CpY+Jxf+sZBDbpOiAolnwX6qgoV/Reffgrj8fQ15euVO4VgQiqou7bO/AHe+KXytCdFYNYZgJqiY1G+x3Rl2I5H8vJqN1iNdowSWObeKu45dP+SSHYG8oeRJ9prW+sp3xzAolcb6dZyAX3df93MACTdh2P/IF48G5VQIJeMiKSKM7JMA6729l9iF8a3xiqWABWE41cce9Gu6g5E5l6Dw3mlKHu//jIuykulX6+tV+ebiUiz2OKAZzB0gIXRJMfeZfAEDVH9dBICav2LMfMlXiKDFSqxmowpNeezjxTJPG6zu4L6U44Eeteyi1ocmAuOnu0boi7FQld0iKV3FBAV4j8vVI5X2dWYWWX4dw9WVMAdg/OJFZmc8V75+J9uSTiJgZ6x9vOuCfrypTV3ZYTo3RGLQKmLwR53jd5pvwahokp8bDHYjQEP01cRVTeQbii6hZjAjHcvp9Jm5zIHhXWMVDPjkkWksSzVzMeQyGR7LAxguHFAKp171WK5BqlOJrOILMGiDLS6vpd0HPFdh/Wj37uI0DYYzTTC22oFUD7t1nsxZfozFhLNkHYG4jzxMa+k0/HVZMdQG507uKZo7n4MQJUz+ST1N0Cm2rAqOSItNqr86MT4io0IrJwtoE7DSPUX96BFVnmxtjhCcXF5psoezRD/G61olSthhOWyviZd0SAjFZ7/5tsHrD8zosvqSOeK9fNZZsTq6XEGFRM8vxEGCFg8/dyr8Z90E/vb0AVyClatYnQMb7l/lVeCeb5SKUpl+4uy0yVtEIVs+iVeLWTikJeCpGe5RqmPG95NxwcIDMjM08ughh644VRvoRPG8PwVZQw2h2pytQXv8iuyyVizbbmBSB4L+305ASoF3EKa8+sX3Hlsxc6oJKzmx6yZLt+o3R1EexBfuhMcQ6jDr6wpPIIKVLehYMK5607vrIvuqRLc0Z0J4NwPpAm/uyKKGIvFpzF3aNVDRT33kJv/WHhVFQOFdXIzAT1Nwt0Un5edtxQmd2aURcMTBP27vAN5mSZPm9qhMbkZwE3OoskMZE3Z5TFwjuJxXQT1aZYwBczOdUarwUBof8OVwmt5PiYSZM/PROniZwcA3J4wnVpIrfUTpKJWMvJkk5oKPnWdZbAYXS+BqZnoN1817X5nMAM2ehhci6yvDD2Jy6f6/3jbF4SB/1+Rl5Sx6VqBfJOn7DFLayZICmlSdb698CPNx/FEkuqA+jJF5GzxYkDSJfXIbZq6Z4ifWaseL6ldFHNylKoPQ2YTqd2arJ2jEjSyBveyZdcyc0TZNtWsJU62hJ2YljhDFcXjkLPf8DIxF68E+EZmpuahAGUE7NoQxqoa+zhcgd1tSVvD+vUpQuajLdExzgwqDeQnecskmBzo8sT49vLSA3+XjxVaZ7bs1tpr6FAek0CtohJmrU/82Whw4ndUa9ScOMIhIltUe4K4OF3Cvx2IOZPgSRgDG1T2hf6chnziWzHqJIVxjwhOFdA1ft2QzJVRjjyYR39DXG/l1d7CPpGehelVrQzXMtcTjPK/7NhnrNYQEePUGC3DvAggaNAKLNhulWHYyrfv9qg2hkA3UWDsjrje+DBTJyPBhZG3855Ht8p2gk89Dqj+Acc5KQMRyDJcjczghMAjpk3Vo3/Qbu9rIAebnVUKNlIOI7CPTkBAwVc9He4cdEslTbqMk4j8s4UIhmbTO1lTWHUAT4DbPtm5GzB7JeRgSx2AS/hikt5DCIq7dl1ryYXC/3qZGbYDbNhZY0CtSdLDcmSKci2Mq/FTdeC4xuhTzEM8huZKw1AGo4+DUJnjp1qjfQ6onbmo6kkW2q0nh9+X5rgy9eflfjOil130fZE5nwGaG2tyranCkxt3mTFqjKXWNBH9xb1+m9VG/noVUdMnKvkoLTf7HbPoQQtQp8q3TN9bFW3r84t7kew90RdWf1R0jXTfy2PrUreftcZSDSHmlUc+f5GsNlVHGzSlbBUcMhqekMVy7LNfF8M3yBDs5QfQUtklDZQ/RA/lkbhLb4PxIgvnLOnb/tktrSkKJNfCLaoD23E0+PUK6ot3WWIu+enOJrXXVMjg2zgaPuNYP0t+LxIwZbLyiK74y0QqR8j7T3YmRibh9cmpMIhnzvLie1JOEge1kc7/czPLFnsEvodyen/NRQ1lkdneURPfaXkVLuyl4n28S0Dgm54itR7XvfG5vVi5Za8YpVoJNJEWC8QBOhpxUM7LwAXjBvoaK1ChR5n+s3SooBZH7kvNfjryNj0cjdKQim1CLD+2VQD3IBvAXTbIs77gd/1tKnIYPCiHptACrSX1os1wPK3EAl+6Y1KpXEIHK8tse8d1qDuBzeMQqyjOKUGcASQlhCnc/G/CoNfcUX0UpUIjPE6VDwg8RBFsuEKPrdQomHrwfYNHpsYhOA+IaMf0vnZ6yJGuAHviNLbkGpGKpASkauU3HLwtdkZQ3Z32UT0vnNOtqDmZTdSc21k+NvaCDUtJCO4dh/AlPb7XkDZ1rxceKE91bP8q6lEwfAaFtvfqe48g1izN135g28T9lIUbuJN5a4VliZIFLyBEaDnpNB1D5E4xeTa9PtgmP6uOT1eVgbnOHb3Fw7itWkH7y1cItRqbqk4ZWv4EqbByHtfBvkWRf5xn6D8fw/58RdcKDmki1hFpZeEzkTfyxVcsoPaUjgsiRi0d7sDTD70K31Frh+rak1+uozc1eiiIHeiFRk3KgbvxECgJdE5cg7AOzKPykN2K31d7sOdQPlPBZP8av8swGMlTD9ZRRrg2Djqg+cCN0CcJduu5ygcEcDSpyGl4VfAgwiOWInp8GtPeWS2+sFp23IgZvzKd6X4/idxlsxtrvQhGi4jRBK5hc87Ade98ulhj9fLFkpR5L4zHXt98NJxEaU76F057ccJVVhptrE7CnZytqQMHxFzwoa4hxaLOgx6WQDwGFcH4oFFNqe1p2yKmvofW6aebJgp4nWmP1GRI5sXx6yoQfuWZSYBjKUUceuzuuKZuQXL/9gYtH8leqGByveNu1vkmxkiywDlXVxZr8wyiTZIawP0LQe9ePVlNdN9Haguch9/eLBlxUaO5OM/Ew2Tx3WddMmYHNc88wUbL1Bnv1e4TbmBYZ6rUrTJL3otuGcQdAQQW++EKn10rBgZrItrT1KFXlBGktAkd/3Bxyb5bo6DIDdyd6icHY46/TOWjFxtqJqRKGq8bqffVkF/p5xSVMmbCQrcriH+JsDTPfMcEpKAvP4Og6mEryClkgWoNtPZVsKCRqn/FfZYQIY+WAOnrCTRxX4DObXEfhcjQg5NV/AE7Ok2xzYQTH2g+wXS7hXVLOaq0gSsu3tL91zFPuJt5oQsyf5N90BgbwdNf/5cfCOqWkSvgY2jpDL6x95B9qUenG1Au4kv6ge5pfU0y3CDl+MDevJ5myL6zdlRPmeRgiQ13s37/JHnObTnvC3ddahOirNBJ1NBsT5t/KpnqDgrdR1U1HnUo858A/OY4XGV0ouG3il9rbnx0re1bfpjvT3nDAyos0I0Vw3Gzpnae4UhHZ3JGSu/Lvc6RKVq4Llq9s7uDuxKz2yCcoob/Ig3EtqHE4HFeFI41arhRnae3HGKnTuaxPTy3HGSaaHIBau4dXbFtuGg/zpQ0atdvE0FCPuZbPNjurho0cF3YIf0ec17+z5B+t1ERV+mqd0M7+StCqv9uvh9y9f4HTdA9BCQ008x3Ytguo5vUNCCE1YdaNbODLLITmfePBsYrR7JYsc8nBQOHCiQRLWTgAAAsNNv8ssGWaLP0oIp/U/vI9ckg79OOR6MjjwCUlwQszgeUs5jWsOp+nyYjOt2zYURnfrDaArQKasM9PgcvcQqUqzISRMaJh3ArBUJo+xofl2Ybq4xmxhg4chVvhzM2bSFeOu7vWYPE2fDhcurL89nsWA45stshMYBF6BP0KnOcfNqzrfyZw5RN8WJfO9OverpxWgTNZizlckKgR8tF1OTnIQjIqJiSchkByIhSpSxawmbze5MqiB8X4/Gnk63ogjXfCchdS1RDPq0LXqRr5ZJqCuw0UguhU3Ca0zSoYz3PkupYYzVQu8s+oce13he3rprl4bk17BcZiscOfpdW8aZmuTuFexGqoRbH/xraQoTFUQ1p+oJTAE7QfysGKEEY5RjSOhC5fKSpd1BfKXETcN5o2D49mf5pUErQoW+fTYa5VP63/KSdRfFKiUb3Kiz6oxeNNcGwQE7JGTiBWBhgo0jsrY3ln9utc/x+ygrOVwBBGC46U+oBBxrgkHDedhAAOVgxqAfsj+q5QOARLOigGgrK9CIovUDAwIzAUni0WBO3IBCtTgTWAbrLdke8Vdsq2BQLUzd5WrSQuZi1/xQqGcI21gEAs8TDh3ZP/zezqeFVE2AppSOnM8ZpX7CXbM6/zMEaZjSZv8XAwlBaA93XQAIEClsVuRnVTGZJE1UcGX6vEHjJzYGow46GOmWqeb8g5oKlIe13upZGjA0qKL1ChjIufeXi36wyEarFBnoC1YpilvMtvJLq7X0EpC1kN2BXuYlDRgWtZWzqERpO33s5UvIuNbMBq/Zc13JnjjT+22mAb8ABFX0oAj6P7fRnxhgcU3GJbZQwjDsiVZMC75yS0w/eViw00ttDJ3f+h5/oflxur6vYrsrSXjc1ExiqbCPfiNXXvew0UePk+Plb3JGsZYy63wFIWPDD3bIxZFHV3noj9QYaRMRu87632n8DjmneYJQfHVCfcm1J9Bl/H94Zeuuf8Jj+Wb3MBQJ4GX4nk2R1WH0kEHuIWxS7UQwJkluNBPCq4DkHlqqy/l5ahgfOusl/FGxrZdaZnBKJTXnFo++sbluc1JurX2WWfLvcokkVWh8g2VyYrWk9sC6WyaXgm3Y3YxbW9ps5LvqPzncDBHmtYz+ZzaHjAEROu7gGkBW45MXPZXwXmeqBZcippx9AIu4HjnZlT8dpRBN7VkJCICo9wvk5khRptc6MrFoGfpZsjPd55qzP5A3FENIag2F2tNCZwDuBhc5Vb6hi9j40XNbTbwt6tIIiMGl8SUaeAtr5yxULhS/k3LCvmT7hDL/6FDQ7z3GQ9GZhDHFG8lINUGJubmn6A/66yrQwB85lT2X2yvtn5ZBw1glB62OEWkshxXXldCJppxag9E/U3HfzVxzHnhc2o34M9GeZCtFlWnND7Vxdapot1GqAcFu0PisKpmuYrAFYxc1muK78+E6qZII3Fq0FX+jszrY/uMZk1RUgltSQ3bMeTarYZfPsgESqSXRo9PcUJ5l7lDgWb4xqq2ELTOkmlxEEmFmMCGh+eZ39pxmQ0Id9ohJgM92503CfVrvPw81NA6VQClBjtTf6PC9LWo4dCW4uhSupxedTrsYXMk9Wyn4aIN2BpEIqbgCN3nfDflwcnJocWO6Ftt/Sox9TweZJ9jwkfVBHTUZ3jDo+hOgt+vuPQNObkQSxhf/u7/NpXD9FKjI25GLiCCt0MAM/ptaSFyKLRlHugflqqVgKqMHqPFdb1VKAwYrDfYwfmNvfUCnCM1TaZRqCYd4rEwNioE2RdghWXLVwToVHCvc/jk9JijPlPAiiSpA8R34pr86KcRACfYKjKIMp1FPUeyaDR6H94vUSTYYWoK91mtGa4G3MJe+W2a+ihPeskpjSRTihyNMsPFkGWs7ic+1Ey2R26vljzT/m2fdCSAZcq02A2bIAR7DVKgbrKQVzM2VozUYm3uCXO3Mz8T5SaAotv1caJ8tMH9shcQcLRDFE28XXv0gvHQu9OPBpcDruL3WVN/UU7dW0/esmdeHIW3eyx5IhUoAevT3/W+j63b9mKNSLmnGZahEh25FfTZRaLKu3gJ1ioqC1HUAxfICSN2+BUQaEA9n5v+zSUgDN/1jkP/lvGHTMYan9UyF4BKsJBrDKNcCLGKW7nb21QBBvKBEzV4GhfP4x3CDixefJwE3sXVaLtmXgZMoFan9KPOwQrkjnplmbFxufGnRdYS1ZItmJuRxk+4/VDJhLJpnZCqa0c+Nod7Fogd0Jrg0ACtIr8Ir8NKsVU6TXuunuEt/rG305+mHUsQk5WcfXL4tO5Ewj+OGXl2ltT8Bl0KygWET+ZIKPjhw7wCKszLYKzXZHA2JiQlfm1/b5HaYI+kaJ0HoK6kaji6NqAVcYVXA8T5gp2YpKsEXKiM6BbdkfvaxdVndd4xwOAUH16an/ScR2dOCDjPFJKnVqev8AuvR18dwC6xM2hphSQi/r0ZHapuK1O6wYRUAueh4sSTB6NbsMPLsZMR/SCoTiOj8EnAUmcw3WpufgmQsCYVCLl9oUTaYyFpYkJSGhXipLW9IbhNfLipnyToSpb6a4S5197RmIgitREG1sn16qAWgKT3hEKJLZ1ox885ComvtUKwdyA2/rymJ8jIfe1e/vFRdPrHIyA9UZMkmvKuE9Ht/O4IaDkUCcEJrRwsHQ22xiSMZWJnTUhIlSRHe44diH+55WucwkJIDUmHBlYV40VC96/ncAz3aTYHpCz9igRkSg5wn0awHsgVNZnjTNw44Zp+Ss73QLbY3qEFHvWGLNNgmlUaAAdANWEc3srR5wsBIGhJtVO9+vAffDMsIftACoI1JdBkc5TAD91BossHZYHmS5Utr7YdtbWDsNfe/3Ze8TPAAjhZEtjKj9lkF6XABrMC3kA3Ow7oZt1638HIwEcEG37s4H9NzJ6CVIDRqMw/tExGNqna5x1aunGc0behrN+/37xyy6+epy+ePj9eYgxnc9rn77zNB4rJrvh4vcM4FwKJxMWRaU64Kpi6Hmkqi6pYuKafXva9ugxP07ZYbOZxq3+Dassku2k8YDDM8tyLjkRkvrP6OjbVBgN8qFCSD0pQ246WIcP3ppT9h38Ppn2Xs4KRK5hqfouT4Q1d+pPCLKjwqYnTMqKeXWIl+XPvCpd+qVg9/gBpXlMszRU3jGiKFRpktZIOfmjsSFAQ6QV9G28zCM4EXWIE+DT8vmdyEy5Jvj1NZgxZRKn9siZ6fg27evbeRKbKt3qoIEwI5m2WHoNZyKPEuFhz+plsBWsF5HV6pTrFAP6owHY+Du52TRtXvJECUl/7rtpihrYTRoZ5DCEwdFkGI2DEf7ySoUzO7uH4pf1+tkJL9SPOECWYXGd1I5k3WM3eVLRHkUVEP+un+EYGIObPa7rLCdz9XbOSVewbcnzh8LJ7FhrdWQfq+shYOjsTMDJY2FJhwddLPasH5Z2SZ9TM24Lave7quqj9KyqYIuHe/rMGBeZhhjB6u1FHe10F62d8Vu+Rhp1szI3x6SpMNXBseKUrlHT0k6OIhV0SrXXA8jneMVwZazskctfldCQriLMQ1YUvo/dgGGtY33t7yIjLfyq4VBr2JBPZGGIEWeteNp6bTUPEBzJ212O9RLMeyQjFkkZ5k9i73SwtunfeEuF0R2vfz+Sbkbgaw4uKWMrPAoh9D/aEAIf7eE5OPv14BE1yNzJ9HJcmiRUhpsdMSsE3ZlMPBoiQa1QBxCwGvhoaojeZ/0p3Be0M6L86PWMSlKUdDeR9K75o5nWI/y+iExl6FgVOoYEO83QGl5MTNmtXhAPEINAlgXYJS9ei1YLNM2u3poppsJuPobE+YM46Ejn7+kkN3u3W0Kgj+SaBGHSr9N1YTyHMumunWP4n1zoWDzDb64mZV3vlFZDx7ca/E68a46VRp60uEfTaKBr5NMbbLeyS8A4bdmEIp+1uxi38buaXhRChLkkX7oG+J8i9U5I+s4Htwo9+j8w40I5xjO5Yfo5sj0wLvnGrnPyBVs6iOCDGD1CLN7IZfgFlFk6N+1LQ/HJ/XBtanWNWmZ59jeAD3Svu++M09AOl6K+I8LkNhOEhsLhyXffP/CUgLe+xq/hHQgWt/3xvnFrwtsj2NuiH6x3EqoR6yDGiZTGQHco2kowSWGoSqcbhQpr5k30n+1UWh61fl0AO+Qn7pXdM3UCCRADaqVd6/EyGQq7Ukgv1V+oPf6P5neyM9x1yKkcSanD67hbVtwiCR1THkGe41vWg/KbRmdxk1EN99nx6i7rmJjnb4K6T8hByEKPYo42X13FJYRiJlFelyJ5Os9jMtokhtF+e7sYAfAMNgGzqxyfN+f17boyAYHY47OOa4vp8iqT4X3p/tL+fa8tkW79ejPXYXh36tcqtVlOXBZwL36nh+OHmPZFKoEHmBinVfDqH3ea9KfAvMH4NgS+1YrogRjqVBu2y9crnkzZ0z0Wu9el3THyYLDHk86Vp/WBSpLvl/y8qaaHzYqzv8QyKoUpmHJ83007vrRmhVHn7DkT6pcH98vpZwVTKyINHfFI81H92tD0RSnbTdHmLyfdZRypoQXcxEgEZ2tW9V1CnI41DLHdmFUGIsIrH9c3DynPmo4R9tMD/QRg6h6CtvxChCg48GfcLUOTgHz/ulExMiYuf1dZPH3/BWPCQL0wI2+ZAk4+pEPAmYtlCOkmrslI0ECzritPDdW3FQf6i5TZ8LJN+Ivv9PGMyciYpO91pJ9nUPilfVI7waWc28tsyQJtSekPiHA3PkGkb4FlB/DVv85TfG1SU4OgJFvQy1NOr6xHfjtLqcHvFUVBp4Wl32JcokLbmgPwTzsjoiJ1IFQP/yNTTfxcAGeisxo2BnpwDeIA5HLIkBuaCZKetowiuAoQzt5U8RUzdQ98sxV0hhho5DaHEgrckqepIYtMD0EZPUDOXnkxLI8l1LfhMtLFpHsP+Dzm6sgOKkCvlh6WECN7MeR7bBAVPwjqHKbUo0KrLsZZjvnu4N6gOZUz2bGMmooG/eRFgEOGznkD7bUELX9z8YGxdA1snb/vXlmC4eDGVdgarvTIO3r6XWk5kc2zZPtzcc6nrXBX3+JlSn5xn2wVySHnxrOTxHn1R5VnP82vYsuOAG9zfn/4B4WCTSKt+HRGLiu5FskRhfX6Xg/grPkYgdYHx5cjaZ/V8pLvDwwhgXfE732VKudrn2nJAHsIeZ/vx2twrmQGpSqoeZO9+igWjp0AmSogLE8dFknSb2w/iU3O0MEwFF4bRLX3VYHosMv8PHMI53ufb1mVUzh02dcCpYz6N14H6/Y4myvn6BEQCaLjijUhzI8GiY/ksBuqW4uMosgboJzc6kFJtenJkieiSm3jZx00oozZVKRtrVj01BCp8FybUQIa5JydriM6GDMYQHxxHME7230X9Zhe7kYgsFxE+YmvVdRP4E2sAly0FHFwbz8YDIwKHtEK7VZT1rhtAieWMlwhoJqh0fGKooiVt9VyKExefE+p9WH9Sm80FGKgRv7mS03zroote5JyBL6mM+NNG1OTAkgv/p9mjkAcbLzEKXtJ6k1euwtqMzk3RMIHfHi8vQ8E9lXZnQOwH1QCxu15OZ/QDom3eBqS+BacixsAJXGL3qCQk7PTO7jWKeVZOQ79dxLw6/uT3dBuEC1PzedykcyfvlNh50DmDDLLmHIaNfoTSznY3G/m+deIbFVd3AZ7QXBaZzWSSWZrB9Q9Q4e2wiqS4ZniJZmCSvbAD1ssLTqIqw05JSpygSLANhEkYp+AHZ+V12u1LPL5woX0qNTGBGuJpKT8a6OrCCFkwLAD+YB6Hmdr4/OaTfyhr44KWpftd0AVflLYxv1GcNDk1fvGMssLqUnxCP3OSPVkmgxIejZyuUzDwG3deaxvWmaOZ783KGdZV726eXqu4ajJlCNRKALfDHbx37aCqdniqWDj5lW0+icYWn5nNXzHqw5OW12OwMQ94qQO4NBMk0i6/0y6h/p6Og9MHWp82lymiSrOUmlyAR7UrrZKKKGeRJgIUf9ODiThkPw4ePKArYSu+nBy8yKolSg4u74x18ZE93wE5UhiYTpxnRSK1hKmCnXTS3Os9PKbHA1YLbWDaGpwFL/9+4dctySwWmjYcVmv+Wf1Hm8uCvx5o8XlJQ19VcBSkGqjWn3qFD3nfE6ttiiN/5Oxdn2AoiNwHh/WuUTFNoH6CCsPKwftV4LHFQJWbu5ZRmxYJr91cgLj+8XZ0SX/Wb2gvIkaVAXioKS3iXzlb4bMOPz6FI44ppBqH2+oTARTp/Va7vDtxuuxGxiFr+IitOo4KTuWK5oK3kkirWIf9xLW0SjPv9Y4AdOsaAAFfJGQCzpyMMdw8WpJG1mdMogZI4geFZMqxyU4Lm9y/h18m3qwGlcnsey+VbWIaNnOijqVDoMtbcjATd9QNubb9EXvSikkw7N4/IJGA6qwO3sMEjLylvwJd76b1kSsoaqDJrDSoqvB6De5rcZ6mKuXBMlAqXXsDCzzITlvDuY1X9WIzC9+hb/aWMoeEyUtajmQ6/O8lRyT8/IyIrF77joO+td3zeSKjukTpSPNHfHCeZAkDAXnMwCw9jM2d17seN3OGqCcU2eZqBDHY80PyN4SoOuK/4MN2lwNMwH93AQXq1TEvdH8FePgEuMEtZJajLymRq6fY+eRin7j5k1sznVnWDW22bwmiQ6ZdBcZE2uzN93YygpxkY9bRfXX7mdfByfdSyIXcmPbgNfIxrja5Hzgam6JaQM0kPyugfZnGUTA+ZpCq8tpNpQx9nx18MoG1D5QDU6nrfBMA8J94jRzcK3T1j4Pha9eai/aXRV8jXzqlPGdIRG4G5V6qC6ivLj2fAX8/fg+DVtqnAEiWoNMGtmBPQNZfM/DAKlpW4mxSsfYeSj+rEz8Lihy+9UZm931XXh8jfEGYXI4GU3NjA0lK/4YowwtkNkYwbr9HgHMuVhdF4GTvPbmUVoG8C0A4kuasBHcy/+Wa0CG1Dgs9nIfN6WClIDvETJv28Ki7PpoU2sGaiE2W3IXhTC9CoX+qdW2cmpUwtKp0czUWSN4VzgMFrgWYQtz5nGkvx/3pdqN/XBr3GOQw6Z5PByTdZ/RcnM9wNUZyrDXQzakdr91AeBugoAE8jz/wppZhCLXPMW1ZPPW0gH35SuJh6UnaO0Lt0FJBLtzfCbbBPV2+Mc/WckECA/EsWo24ZZgIWK8oE7fXt8laUk3G3MgG8qS+27OIzsWcHA6Yb56+QB1yxH69vQyXLO8imjxXYvSB+RPmw9mvArL7B3kLL/6o+6NPFtBvfMVcY5V4N4/D1O7bL/7X9QQqqB701aKa25wYqYfU4duyiGatQeimp+PM99jbGRWWlOgxm6qFtwaULTEsOa6kMnaT0ZFxYqeQL+DdzD97ankqHJFdfQ8sjrl/Qc8Unxt24+fqetkxsY9f+uT/5Nl9BFvCTyXCX36woWqEaRUOaztjIIWM5v5JWlO7VUdF3gBK6kJqCkb2FU59R/hVujpTgqvY7FGpkQRpd+QBFjjpbBFte1QFvXGkpMP3U6LQza4a1hYRsOE0SIYavBa/wahrJoQ1XrnWzshuLUk3b/3tDOD5reEsJcye9Z8XLNN5cJwrew9RedXj7eVSaNd6wyKSkeu/h637BTVSkSdqrHEKJxQlQ2sRuDg29W9WGhVhLrqEoZJKsWdr47vYw4wnUdAz6MrWg+i44M0UDNklqfP1LWJ4moaz0qNLeuVe6/T6AfmzPxs1uG9imW3ab9BNQE9a37IoXXZnOCO9fBhLSl07NnOzkmuNcwHbAu2tcRxJk33U0pwplASXD/a75mQ+c+OT6GmL7V8lwN8fJQeNMWRqPHTZka09rY++TWCHqUFNeU7EmRUaLfukomRSc0icXd1ZCnmUsUYD2wY9WlXkXEjS4B644cUqLTZ+mgCbF6kHwX1yH2o03E3WqkpCgE1HFWYsUy8WoL48yPHKAFiCsE6g4kt0ffYbP4L63/rWRvIofNLP8Y6rTVt3ugJ+oGLwbjE7CzMo0jtLYzFfHLm/pDzH6PNRb9F26HV3OG9n5YXxee+PvfIoICJ/YoJfJL3UAYxN6rM8sCzIaK0C/8uaW/3/SMmss48aSh6r8T7yZlVmrHlpeEcp2FIMnuydqe4DVxookqOpur5tEvxfbS07uyzv4M1WvNm/AF9ZI024P/FgKAf2AOhFPjAaQdaPD0lg5ilFozeFk1PkfOTXre7wAjLbk6foh0giICRygSWQeJTgFMtZBwngutaw9T/0+VPTuOeZ1YbRC2t5Z0DdNQHunyD+5dUrF/t905pMlcC84R9+Al/zbWeYrE4fV+Vi/UG3xROyqF43bC+g1ouW4Lyk7t9nih5mOisKoZw6ARl4c1BHTwE0y5WZYCQ8mPjgX9Lqjcn8sxWedCMWT1hGft5AQzz8RFalBdPfoXjL04Tp/jzmduNxIuYsAADE6UJdA4BVt1qrDA3CNLEWhX7Um4ygJqMczls0yGWoyjWHDEu7UgrUDaoRBvfP8LuSxw+qxZC7itLTh2cNoECVpC2PXSaLSUmErq5nxm7YlxmSZo8+URqZQZGBjYosL6wanf8D8As5UVr4PsUJXctuT57Tmel7nThVKpLPHHEEwkr565gFOPq06P3a0hORa5mp+qZicI4hjuEG0pQqKMR0BK8P6DbmDfd8sBf+t95j4/WXG/zWMrf/c/3NPIHp5aSZ3Re3nVdknlX2CewbJiZQKu3UZq7Z46Qrh2RqmbqUlhpxCiOBhTb/6H5fBUiZOHsmVSxVwr2aid0bA1BccBL7uq4mPI9oYB8HCCE3Wr3BZivKXQ5htDav4B+hcQU3YX8N1sdT871C0p3psW+gR4u6m5EUy+cgU+IZ4FFhZk5jrJfBFWLzDgoa4l9M6CZFB59YYoYM1NnTFg1+6+9fTPsr56gB1qLomp7xD25TYQNDG0oSibSHW+ksJSPtJ1IcCoW7/D0JN2M26CrALQS4ryjkvuEPeZLYmYYLKvErWU/1EvsktyK1ImME82Y0JL0uOrVZlFn8TX3OPleyvtjKqSvs3z3MIG7ZV2OsPnqorb2BvSXZgEERnrvPJOk8W2+L/xYqMzqwU3/b2KgGBQqFkx8DvO72P0xfZES/lrCczzfMmZSGmnnwZPiOq5XiTimrWhAp7jYI2F8ir227eEt9ItwA+SyNR/L4lC3BL9gMdO/niccaZgAH3pbkQcrY8iEcv6R7HzgjII5BzNTBEj4GX3Ls9SYY0QXLHza2NQJy0GMUjbUY8a2qQJc9GyX3R5R+pvyr5M24f90VGTsuLVuJjltXua6mzOTMa0wTQdpvLaF54NtQ7jd32auobM08DY/8VBD3W1ONmyv6bv28iqJJlghX8T1rjWbXdIdLWmfqjFH5oWXKZn5JXiDC8exZf3EvB5M1HScchylBJNNa32nxk2gHP/5ol64TyXB6wyGsFmm16S88NOQSQDWtAJTs06NOhtFQwFxaT4KCs95CSCTkK2ffNcSVqmPqMNZ7H88rSC5hnvnAe2wNg6QpcHmpL/OqOjantjR/FBte34NFnjGr/vTxHcdmamtJTDqlSefiHLAjc+x99LmHwJFSiTcqfprLRRbw6HbPwGI6eVBXR+3NcVyf4vyCVSegud5yHlPC7jq0cud6Pxo6rUImXzZ9KU+jLUHCQ0eC6Vr0GrOdu7UxKqgdXNax4J54pSlcwUy3q/NerSj6SFM3KiKG1EMC35eECTE+Y3bbr5A5qeIrg6q1ZUnl2XpUCY3aOxSFNgMsTYTXKC9fwSHzZyHW1xWTobZCQ+3BBl3P+/zaUW7WjtYACamKTGqpqKKFI7gnVdwj5fPO+C0J3qRV079gqZbx+pAOgjxQPEZ6k5YK6uwzGnYK9R0BVC1QcihYl3pzSvpPsFu3LSf8zFwU9ldGV+PcRNLqzXpafzTbwGmx7WUpxA8cG+Y0gVLw8+u2GTgSRSD1DUthyvgEcKcP06oNgxeR4jp+UAZkXp22D9cQQtz5StGn9htXKnG90r5Uags4kFqIAFzdcnAXrF4t9t9cTKaFUvk0+Pf4ZHHbEdVsPpiHmWjFW8AQYmgJErS6MlHRxzTo6U/VNEkOjfH9hx+hZ6vPtsJVD532zWt+67TcZ61HbUS1OrGFzJphwaYcnUZzNySIEUmiHbYLJm/Wrs2fbpDZw7NkiODAn8e6eYjLlYjgiVKiJNlW9oNC/rZh23GVqg8bkmO8GROj6BBi7pCBvv1OREV5S0MlAT2Rp/94MRBrGkXDmB2M2lCjtWfSpOfmcgUAuu16I1uQZmBirYgB3IMEB42bFFZLBrfYsa/W1tYyfcPGGGW15MLSbpKHMt6D2MQhDLOQdp4JaRFIwE3S3imlXb24kh51fmNeX1Tew9LO2NDBsAkJsd+iTUV7GPlJQ74UXYZ7NGzGIgYRbF4M5oqRk4+JOe1bd/L9peHqaFKxTNbvL8sDjtUYy7m1ge1n2MeVP3MQyoq10IDP8VT3R80i9h4B6TMVp/hnC1FA8YP0hrf+d7l1N8AftAjuRqHIDHtigMx4mlDXMldY+WKP2eagNC/7VpB1VxY7wURUdgmg1Psvb2n7aXh5PJR+mkVgd+Pc0stz4OwQH3FhXWTV4+q/PlwXeGhfY3WK2U1Xuk1Xc5Yv8VGplMHLARcGz3ODw6JcCVXdWrQSIXNKZ2lAmSt2Ie1Lh0eT5SvYMYSt7o/2s/WEDhCGoGQecpVefQA37Lf+q40yKvyf8AnesYEhLqmV/FmzDXq1SJCgStsg5lTPsBuMDa7FYNGGxtyC/peYUxttUJdP7vSwg88TJ4KYAScTUbUWrzj+PFZfvek73Z7pO3KwFY7b3dgg16E4aOULBoLPeCCPfaNnLxJ12iQs+BRFfwzTCoMM4nbzvF7xSmQNLju6F58lSExOv3JJqclzK9DXGtsTvKHW0HFgb4giZ6YTNE7c7p6G4lqugquN1yBBu5X+eJzEUCCUJeD+QeRuxR5cd/eL2fngbRfiiwS36t/s7nHojqUSZTMTXu9p+9xtnoEMnCbMqdDHiVr2xQXCARr+YrTK/9kKDBPeam3lWqb98YP/TujbwBYuyIZcZ1SwU6/up6Dh30Ylwy9GD2L+/blxgC15SyN2rrLEd6t4qofrnqQxkQabwxMQdfcRH4oRVK1GdUn0PS26mM5LH4rzJkCP8WNIpG6MjshwgM1YM1FjhyfCbbzVs4PgWL0HXW5fgzh87U6sNXfJG/yfsYd/JiN0/wdbHSg8G4xEGwW55Jw2DmfpZmnf5+zwZ06wdVHKsNUcW2ft8OaHRHIPfcd0+ux68LrNYKDaymjUjtzyuLNXvMpMYTPfurqV6obijXIm2pU6/hraq6AdtNOflFdESQWrapuFiWtW5ES0gb80Bggap9vEg7HOd+PZMpHLGaxNZ/0kLAtmmthp5x7k/IO+m4Daxbtu0c6kllQ2/n/2RuL19GiKAt2H3c1oWHi6E9cHwIa7lAsl2szHEPSrJwhKF3bdj6AkQfe11G6I5W/yzmVHQ//XPCZuspxtdncLkGdJrRNs9kX/stJkFSMR/ktzXFWa0cJK3JwZw0zIers4II3J1SDEPkUoDJj2W7JxxUouHU+IDZZ7TuQSW+YpdVz7iKO5+BFv7wTYlzWvcxUeFldEIaoJJj2Obeh3+O1qAlbiIs+GenbucWseoSq5e7Mo0F+sBr6VVyAynMPURWyxXcVlwp3fo+aW79RKcJeqrIQoy4AfBpkh3cy5BAWLR9do6+psAht3vRxMCrLmEowO7qxlaP4Ozt/PLPwFGfVFtiSGWI+QlcYs9sCUHEvti+W2vOEebx7JpyEe2mLPXZNbkFdrsRWmTCxSVFTAs6F1qTpTOIiZo8+iQxPkugApd6A/dijjCZjUjctcwuTepBfHdefIYsV/StPO6u/o0/a/N7RiFStlrSLMDnzGvCn2+VVCCUOFFjN+U5aikxwxYcofGKUag9my1sYR/AxtD/oqAvR7A1cVTAEXMW4gLMBRWwRxi7fbPIMVEtYPIkY8E4fbWEOAS/s95ydBpAYR4+6+TJvzSRjLqmZeb9UtQIg5as63suo7sCf03VsCjeS8iCJdSJNSkmYM1N1qGAwj0gD0D3/b/B7UuYrH55C30utheIZP/4i0qEv862wVcFlgcoA1zncLg3F2dZzjEoJaBBzZBMGX1QBeTbRVjHGeF8Xoqyg9oDhSGbyEZpaofX5N8Pmn1mCBglQmGNwcDn2fm6WfqiDmZ/u02wGO8r4GIl/CSoNIMbXCO2L6lBSd4jmC9lr0E1GweKRN6MGyIoGfGdSNbwId8RKkDpVP1GWHhoJeazRkD/mwgyrRg7g06X9EdjjDa3MlmdxVIV9uxK5/zoYJR43UyyRVogV80omvLww42dZCWGHzCUuPcoQvlgYqjpq/V2mxUvrl9UsdvdHUcow4P4ejH2IsuvoCLQUTGmrUSpAz5P4Ca1T2IQTs5TbAvefHbCEX0FTjYcBFzgSah20wzGO20ucCMhsHaGXjCgWSxFSLOtgLvEYpd26sTTdlF+vEMMuHIRKJxfMdz67hvLq6alXhJbH463h6dpcIOziXNl0bVmCx0ODpilQY+brmNnm/MCK8tVOUl9v42naIeuJbHy1rsi4weH6jUqmOV4teuqzFVKeqM1FkKe4mA1Wwkzzrqi/S2NHJaTNKidw/GikEkjF/WYP5WFRy40B2qH/WQuulHfvAbAaFTLUmhbwwMoVdJ24bUjolix7hDWFcrF7PUSAnOr5pDJflNiItCpn3EIUztECTTUtUw92DoonTG5DjEHeiSpstOdSqIDETM6fEFLJwkgYwSSJVriTQiNJYN7+4bL2fTYdCQm5d+WFBN1GNIOHWHv93umC+07nNaXfu5+MZSjLycLoJg7EivgTW3uma2oqT3KDTYGVVJj+1ohgxW993P3oaC2RvKJdioZMUhz8IRefzzCdcoQxfR3wodwdbsitlsJs0otf5tbgR047AboJ5sozjpnJDKPIO83W2dlVjDmO+XgLg4/s+tAU5Av15ZsjSBmoTuXbVa301oLIKaShCrNHhK44pfocIJJhffNPvpJBjyFf5cAhgdIit4pa5jCAaJ6oinaz5a8zjYAXsMjxiyOPWsLe0B/qBER8hW8LzftZAkMSw5u1e6I7cxOZI6zvtHWx/3AR5rL0DOnBmnuEnf+hSDpQhvz41wGzbUhMDZxdTR6UFCFu9rn6EZd/rbIWl2RmYR+jcmfxdw+Ozx5vQq0WJNxHhGrQC+QTmpTBsUM+sXbXE6kij/6cT69KgPZoSZ9v4V3ZQaat6AP4fReIBcZgqu2cyNx452mEPd4vhJoNNSbWYjal7PVfN0ACtr1Fd2naQlGJg7nALVK15WeFikO8feJhqPrppLShLwC/Od42DSb3/qt0e4aMwgFBSh2RwciKJbGpe6unsW6Wab4aUVlachix5NRf9XUNczRQAN4unoc7sOAsIHyCpNdCOpyTQmTvZe9s7tnFJN8HPcOYqLqA5XMlTlbzbW7fJ3muxliCBJuCpAX2dN/aveCSFvkgrUsdfvNLXAcVhzW8xdhxUjFGzNV/W7QcgRvhZL/8CYxdGzY+yV1O2uQqrteXEBcdWfQ8T9t+0Kdd+ucvuz5t0vap5AoYSu/JwIBhv/TCiAGWSRh9Y2mxFuH2pXRoZK6DaRZ4GYESuMHkh5yA/2uV4aYIhcFDiC96UA8g03wMundEv2aV7I5hlphoN/m7ZtNmBea9tYHhMHGuLQvPupc7TGa3QAL6DKkgdDYgiCIc81gaV5IuuU6vvpI8OTLJI3loqDqy+ov5THMorDfJ/wl/D9bFM2Bbt9wR8W29Dgt2ixFksjlD36URoRgUAt0M26+uX5iTT/pCUEeibpXKFB3ph09DaDtE+wkErNLXDzezXe3Rya8qaMjUKNeCufiCT6RB+pzRxrQYjW7KipZytadYMmIskmhQwHNUERUcPwTVatp28MYOS0iv9vu7pMLgfN5fPyW3c+u57fbuNz1KoAnFpA4wVFYh7pDklKxuZflKNBBQAbn5/9gKtaZgOF8jEPXLDvZC9ggAe1ijBUbAiVjA734Z53TXy0wCoBbwVmbZvuw3EFd509yGhawTu0mKXMR82hzvXjUEnPKAcYo8ZvKUSVIx2OyKJFn+0EQKO/CITUVgfXjF9Md211HbekiKEYBVf5cTJE2hL1o4JeKM73Iie1DcxyCGPDRjH8KXCKxQALzUJ4B3v+4mhpTTX0SY3K9BBLg6r3KuIFqYA/3qObDQE8MMZAAoleOBNrIunATAQSd9v/C552i+z1JTPtxGidxe1Z8HVmuf03s9jl64KNNrJw7kPZvmfg1id7q5Z4r9pb/Rpt7r0kkFm43xipbcEksC878RjD8DYmXBq5fAI2FRCcGYY6Go4GTihmf/LXn0dVFYIwNSdectiwf+mCRlvvO4uw6tEz9leZbtK1QDLs+pjBZmHNF/c/jBub5m6Bo9KPJGjI52GgC0PkEPPRP35CEjR3CajaRYRIthrkHhpPi8oVwMDDgQtB2xKUAzm5xQaVHcKcluGnVitjwVZhOTrRXZq0IolMjoVNtU4QaqxeXLicoNhbIpp8kqjYPPVYQEUKjme4MOLfU9BOCKBgt1Ce5G+KIS00b3sm4AsvKSeJHZ6yFEEfX4E3bwZyZk43+itytfmVXBvfyf5oAFHB8mjnHVUMaIVpD0Z1UMsYVU18tXiYgkCjUIKV9t+ACriW3HcuvIJWX6hJKLiKaKnrsqTIbKuoIJPLYKlT9baEnl+2RLHiKC2ShGSbB7iU7BKqxofC9wnExYdrDv/ZYxrwnUoR8hkklVreBWBqJU5GcrbgA/NFNyfjholpj7TXp9KQotYzTZ1bjzUD4jS6oeTTvzA4EDgBFFxxYHVDPY7pNlfHjw8j1ng38KFbBAcPuhoZdy/EIDiJ+TmOwFuEs33BzeoapbYzuXOZzjK4NIK4hBndNeI8s0Kq9JbzOnvqb2QE1UpyCgCMq5YjwlZuiTUFquateMQkzSa++5Lk9jmdDBqKylMucWmZsV0h92FnAoWks6WnSINWWw2lBYp/Flj9i9FZ9BHjIJYxsGtt5L9tlD0Vnd0TZzhU6WL2XtgLzdaUus5NSw5tWgKgHPe+qJIMpYbGX/eZ6mV70rLSUpWXuY4fiLPc8is6RtpC5/FrnOw8O1yVYdoNGdGnVeNh3wjwBVk0SB4Nb/vxlLaGCcWlUaBXqUh/7zc5xk4j0iCbQ1J5n4zaHFlDvJHM754zKoDTjZBDELF184apZpfMVUpGf5JxO3Ma/7bvdfU1EJHte9drcYWp0Twmam/nrTx9ljokaLo+X6BwJ45bWz+s8cgeuAJsOdHQly9IzvCYHZ+z+x/5cwaNDs6isa8ViZFWmh6U4v/qPsv1Ny5mMLjC0YOG9nQDLbK3ymO/MeR1NFrIu5i5ZcNDHtCcpOZOdPw/MGqW/grkkgDDsYYeiMRuaIjeBqtkCPsxltHFUnuonCzPSRDeCTJAz0up0BHFVkwnP49OlwoOCF4q4eycccG94jXAsiPaJJl7snnpUpkpEuRQYm/DKKIqCyv519nhw3Z3oz86z07U6K9zz3gxvub0bzfK7iuoARt6/RMjtEc0MqU45aGDsCZRhs2uBlJ0tvJ+Fr7CSme4ThAIWmOanfQTD7cLvcXOQcKCF6tTFrA1CWLcOKaGEaiQ9joEX97CliIfgrcNKnaDhEMsu5k50eZOlkb9qAK4BUWOoHPikoU4jtZXcby4zd5bzhtekeFL2mHxF0T2Ty87ViTWt5qc6Y7J8i2Nc470hz6GOrVOq/niaW5dXnp8dP9lzT7O54j4C1reuKqE/9K+COBDachOCa3I14aRt5tZA7AAHH5BltGDdPOopLo70nc2Z2m9kikeI3+JMeA3mKARyrmVJ2F061uWC/BQstaDAsfLjlSXgXX33RowbkGPF604Hi6gphzrsDQADymX+AHSS4UPl1sUz+LLInEwLw0dmzgjim/Fxp27E/eec87PPTir4Lmyo2jPtgrc8pmUlrqRVo2uYfTHCraFMs2s5mdc5r/aOpx+/MKyMu+L1ihyo1eb+diaCJa8VYsDj8woTpat9dEDhZST5blD+J75rgLhHhCvlTzsLggImjmNwkUvYC4nw6BKZqrHcMGe8V9UzfGsmXwWiidO/qJuKfoUbbIq6hWcry7FH+iK/Gh8wE0bcn+sgfFT3/vGB5VovWgm2U5l4ZMDLy4ZUA1ZEnIN+qMr4fq23C6iGvVtCCkERyekuQmwshZcoHdJw9BV4L9pAi2aSjDUUdbxUkyJmm14ANrB3qCF2k580XOvZQnvw/hjiUtypbIyR0NOMmZv9gycuZQVQtAaqYIswERWXqK2wD1/Ju8HtpYQivM2td+kZMUDZmr93z/sUKLl1ubLmuk5nOhVdlp3XBESjBt+cCLhFd/8a54K9V0s6u3jFISfiSq1TBCOBMtm2o0J3cJ2q/PUjKpodMR/RpTy6YcjvCAPdjAMJF/uRY2nY6DJS8KLfrpLVnM86iz8P0zhxaQU+W+bA9fTxIx1BeSuqDlvbJxvoS3sdDt94x3KxLKT9bP5z7rHF0WPBRDChXkN/cRl4CNhq+8iKO/cBZeuiMJF8o9KYsIfWWfDAmBs6MSnzS2Iyt1hJ+RRmceSFowa6LClcdJ57gN2tLSXpNnqXT4Z0heCnWumCZmE+t4Jm+BQCTN9tQwj4uEeTp1cG2aFdyyIr3BLIOs7ONHWoQfe3hlzVNYiazj7uqIqXveaDN76oh9n4Di+id0b3ZCVpH5FYOHgHrVhkwDUEZXv2znhCVsFRGDbt1Ezk3scIB7e//6kWR8D1gmiJk25ewZ+lALOZmfwURfOjAol1NeMy695GOz2fzdHCJcTHsABHkvj6ZvJ9fnppkiyACa24Oa0q13QQxRWLlfD8tq3/nm5qxnZ3PgRxFvaW6hXIRT0aiIxQ9JaDXoyztdjiiGWHTNY13nhyAMvb8Kgp3qM4ub9BmSjF+X+2uzp3/MvtBlb4IYgYtHpEn5pzhrd22ujTV5UkFc5U0Kk32PvPeyhHRPodlXdrHt5rUHxTst7tUQt1ZyyoYXiHIhSQbmz6InxUQgfs39GHasFtsVVmBVNTEsd07mR0X6YDcmrA+nIikYoWGJ+1tKV4WRZQMvmeIEG6/wvH3/y/euvoWF5UIL07EPdcOCSAsSdkMwdoLIowjYafZ8KbsbmwDxnm5B40MNnM0wS/d+NKzHpgQRQx8qazpsLbqRQ0uiXhcivxsSpdpZzfvG1WoK8kDKK46y5o0Va+J8DnlcbLV3rp3LUXokvtTQhyI/7fFS9kQ3tuh47X85Og4P2bcLf/EeCr5op2wbPCRmzjGYQBC6ngAHyC/tuHeQ+vvoDFB+xp5OpGw4zX6BiW4BBcx0AgtUS4jfBgQjhpSVk4eijQQV3pvwGWz6EsyOwHF/DnQltZbpkEp69RI2AWEc//SBTR/gEiyCFDh3m2ARbYu81pltMq0BfLbA1R8eAyEcf10a0duPxwIEWcDdvY/OyIgHyznVm/0aWRoFg1O/URRWPoZ79RV2s+8zy/BLsQQiFqYAYcbUdHcfG7y2Fdq8qMqBn+8VMPobX1JEMlHTiEDZM1rOwQV8fradQAbaIXgx0cE9d42SdCSG1Y+P9mXL76C2ngcWCVv/RqB6//MmiQa0FRY+BxQ6+L95w643mil45sYNiZjXQTkL+eVQUaTAKf1L3qztvlmayKEpJapb+4ynlFME/iF/lu+5s++fRLnFVG59M6nVvaaYKm7GqmpT6Xc1HDcYw/AY1OXhcJzS120AuxrwlP1nNWV3o0+l19/7Xuq3UDx6Di+t/MaEVtmQ20edIjhqn69dF8QAfLJy0YVjhSHUryBryc7WEREt2HDfnSfULoYQRfcYLAp0RgavrI7waMHwHtfhbuE/O9cSKFS68Va+ZHX6bRTRHCOxwqBTF34l9l1+9eUL10WyKwkWItEA2LinKjd9QsPXFGIiUtMhIKSy5KnL4ob7didAAt626WIpVcOpeadw+i3SsGZlU9QyewC/XNALlOszBQG0FL3jcGlxCDXHVrphGAC+me5IyXrmfQQ7m5WNHqQAcLEGL0iYwidjUwDtSoMGce9fHnJ/eZ6sUYLOGtpM0PRFwxPzlbwm/v7TazHaoeSayl+fxJm0yxQSivUSgWmhTuMdj28CagY1euPTxZf4639gpll4//Tu2QP1+dCF4uO5zSFW2jvoVh4dgU8Ffcbbyx76w5Ym/kiRPcM7Nuv8poNzIyExop2wOv6oz8ThS6HwX729e6IMCqYs/xkz6UeWOZAr/1hYVh7GPkvy2Z9rksl5hEykHETaMOr/6F+u4OtvEAecMWFSvikdgTGvdlsJQB+IEifZmp+YhW20oyoSNNamqjBf0C2SJNBtPcXRv8BC8DjWCZ/36wwvy9dFtS5fXij+jb173o/BiSbA8IN9Apv4CkEKuY0Mzan8oRITv7tYCaifhb8fy3EEDkH+ZX11/1+nyAuYF92NfHHc2dCop9n3GKvMqB5BzxHQ01ye24+CcJJAJesgtVxNz3CozmirWjYs7n1lEmwdiWBE8hF84aUgKF2uvm5w5skZiWxWqEPZxjc48787pES9dxF91enB6v++Lq7VqeNQmiNYr4BH7mYS5RFI8t6/0DYlPqqM0T7TqejUpLKvWO046iP2qjPIDGrOhsS7q2NkFitPQFhYL8nYSMVXBypjc8zOeZa+Gba3uVh6yzRJiWBUlylhwjNNxT96AEu1bI3f4XUkAMrhU11NGPkqC7VySugH66TgxBisL+AvVnR3sYglzjXLvNWXwzBbskBmO3weBGcZgevD2MYBAOu8zb3PPPjn0BG5D/eONsQm2IsaPMgIJGoGte162GbGMcuHbuWF00VCuA7wApGY/r0s56gYzo54hrmccLi8jfk5Ija4yqIItvk1EjeqPCmNylOsouX8ew6+VGpozgR5RzZzyiIzIEsjIdPXbpoXq3yvBSLyeKSQWz1lmE5JLv49rBOGExe48DAqs29MVovqfV19i8dHhkFhbyCEKW+fuw3kqi+v2jHXb+p43oXHSqNL7G3/dFnaOpD2T5z7qdk+daa3siOP1e8wypRjfL0XT1uedNh3NzMoV2Cqd3em4j8OHD3S52oBLUfF8fL+OS8FwGJD+waFmH2Ood2I4HcqXhlktShg9HLidBDEP3FpYQX519JGI+/x+7d+O4MndQCcQ3XSL0T8+E/1Jg27AgowElUoq3EtXz/jRuV8oo0r6iWv7oULKypWE6/bwO4H89RxcGPCwsMm3352wXFySeqZ3+P4Zv7zfG3h/WRA5FdESYbdSP+s1kStrrEiCZ7DJl1gezQ/05t/M5Zcp2MM4HREnWj7PjVxbWcRndmXteHOcbqeCDfbhqkOKeNDbvAKrgnWU4PV1EjzjYBkLg1l8GfDUQXaEpSyEOYyp/vrRFTntlmRfFX2IMku3I6gWmMePnz28ENnFKqOxiJPs18h/No/Yj4gI4SKUYz++cAratjpLY1yMOi3HtgLosKI+7lAkbpswW1RcrZYqdbwuaOYt0Fn/ig4lOQsrsQ53dBhiBgCP8IXNqLUtz4SoxtNkdFMJjVajrlZ1EqqFICchrP3SnnYy0fNZixNDsU3AF9WmGCt2i4SvUetD7ya9UiPgTtlJj7UZ7Dw9rt519qVTwOXl4wYWNvLVI5t+98eD5DmyDajsuzJ3hSGrXMudVna0ZR/p3bmGumJLl+lY3wO2aVfI9iofSghOCYI5nJijlbvJaFZVlxAMiOZF9YR15CXLJ0CdrzsWFJ7obuSqWS65Gsx+XUHo4yjQAyN4d9q5F9z8/s/PHit+FG+7lA4yYsusQfJg1wb9VCPtbOGlEmWA2oVd7+6QniHG0p0JZVs/0qdWBA1oDv4+lHxCEulfc6G4LJm62wI1Ixz8BMz6ZnXzhD8oUF6sahZyQCdGUHJ0QOsibfrFStRTW/5Vk5v+mHT6cieHnQfccJB2k5z7ile2PQCmyt0Mrr7JPUpDy7tOt4LOSuscmycSWgUCV97ZOhBPJyrs0bZy6U3y9Ixl6RUdKsJsBO4SwdxFei4KaVLyZtmh7B1KbBWf1tM1u35CAI22dkZW+C4CLOVZAGk3QjmAVLo22CxacVoCp7k5vgEk9fEPvpP11vEhvlF2Vlv9j9J9gvhJhVo9vK2YrLq0P0vB7D7GLWeXkrzfgcg+1qKsTueKcjkG+/xpVmbwPTm5QEEnByesdVXl+y+PjqQlSwqzF3klj5mRn595jU4bqLcuar3yHFC1DV40xBiYH9sPmLgw/qEqjLqYnlfSUE/lBp3ow5Ft2OJg7afJgaZK+qsB/AWG50x0V7hXFNV5OnCPdHY78ieg+TjuGrIxOv9L0pi2htykwiElDL6vbk2YN/cdUkct2guaepn6IhOy1XVv9TYox3w/ZpK84Vk95WoHlXntXdl+rJ0XPy5dSULMU7jx9Jzigv9/9AsgJp61NWH7G9qJHQSEFZSoi/4pqE/JGy/gMchOv3UfRGxqHa2GnzqRTEkcAQZ2RmTrPLd3Pk1lTnEMKY+GyJjrnlx36bXQ1nBXOF0Kc3RsXPYwHT7nlsCUoxp48NiI3mXiZ8P1yC2xDBH5BlS8IsRmnLufCTEnWaNk+LAYn6pnJkMDrj/E1wRI2Onq8GBI8K8DV1HSr00YmbIcQQ/AL6kzQdXFU2l6whqEEdZkxYG7Ey/6lSiY/ETDuMuCTTLTpq8kmL6B2mXq+q8IfD/huvj7ZJdoyI8yyNEJg6dfrr/tKiz2v52cq7btt/h/JcQ18GtASMj3ZQONxAbXBzWwLvGVtd9NYTa7Aj7JnSritPvU2VOL+j9bPH4VpwC8gBAqX6zbhbJuwTrgdoaodbSwpFOkmzio7Go4mA3wIdaAJ+i1cEMeYbuCWSYOqoBdh7aSA5CmOTMT9AQIuy+Cva4jNW4veKG8e30e+etv7K0bT/Wdpl68xMphgNJoR4pKzRPJmbt+jT7uxJksb20dP46br/RISr8k2zFHlTjKlsq7lPXE2+TYvf5ZbKE3IIvZbyUPoeL/rCUQx7zhkNRCcPDCk4+CmRuOx+fLs1+k4VaDjubK6arzmsOnWLOy5zVE6KA6ZIC4jprTRBxmE+Nnb6c+j6idM/zid7VFe1UsOkmp0RdlvO+kTzR4pZbbEmOCH448myl+8x3k6s+CFdgwrtf9k8/i3s7u8+xWbTEnmkzYndliTIArUaLNPGfcnWcpEL4PMLkrLBVtaF8kvd3wsB2G3SZgNeueac+E2WBReKKdRTBLBCaEUd7oPXY2S9sIi5E/nnYlsliXBJzt+1gP/LgEQz8a/f4xjMP1uSCqvvarhV02dJaIQufoVW25lF2fIq+ByRcF60v+D6onmWNfBRozKE2UUAKDYYVZIzdoeBxusggQRqZ/TlKK9+eukMvg60cCYsOjFL7EPnb3QTd4KF6l3hArF0lhEu/lVRk/vc7FRJWlrdXk+cKx6kZuDz6KxbbK0HEKgmJZt5jOhbj1qMC7UQaDqek/wmz8u9UiUGG+ux0rxPh+mxOr8cAAe1kCDAzIvssKw7dJ8rJgL/MIdcIgcYCj/oNTR1iyAasYAAdNdOkOxhRp3XtHkjfg6BdVcp29Sm5T03mdSc2o6l9EjndbI/oIBurikULHbXk0HOeFuNfyytzJJcmqfAKC+pA0zMVvkSZ3dyLu6iqBc8t11IqhLONgu8/jbTAJgsL5wZ1fM6KekULoIfoa47sK0zJ4Tt7iAINNITYjedOr43v9dtUfPFaDUKmh8zSsrqfe0TsS1Gs7inuO94gYWz3TvMsX5kHEQneT3D97hD92Y+qJShvHtK4dCimk3sxscB2lHpf/tp+NSgVqJSMTSb72Nxuckapyz9pqcNOdMdJxQViWWAfEcmJyAGZeEXuwyC2elJ3kerbr0Oh3A+SFGiLl28Vd10yIlr/LDS3VhW9qMeqIqTYNRqTdujEjGvf9NF00R4VckhvBukNfgw9K3tL5RF4t2nhojcbqxJY2xl9x4haHEjBkDYJqjXI31blebQWZKjtp5ChnD+ObUWKNOXLsQAIU3tlcT9lh/jPv8kZy73K54s+dDbZ3uWZlhrGb7LVc1+wPki+34hkAmZbI6LRhq+7I9DKmcs93h/yvfFcPWEKzx3VYJISpDnbYVQ74GJsZTJvOXh11DUfwo5M1LncDd18w/HLujytwkMLK75m5waUzFLa5pzxXL64eHgA/juUQ343nfepZG7DNB4DfpGMnNdnXg9J1DilTMu+zoxkbQ6+sjRaRt9zBDdnbm7F6NEOJSY7Sv+oR4QfB7PUQI/wbIT9bI1+BGCVMzL0hqhrUhHAUYcdRdgSUXcMaStp3EDA8vFHsWRsOxP+46YMWAzNzSNy3+N2BhLdoDGO2ldQfO5T1OqcXoD+O9BQ6/p/H8CJhk7DpK0Vun8HN1SejFg3l0YbU/E8SEteGNVW84xzBlThKM7ZanCSa0ZtQ2JKFR/My7SU6KIuNO5fzc4DIqzKkfOUSCeEHotXbdEpsopQAOGLVf/5Xc5RiLfNlT1EDck/6IY3/ylWzWK6i0ddJOY19WAYyoL5NJFn8Oo1ggzsZKwcZT8lZCSlNshIEsQXb4JL22A+GEDeZ+geLJh0yMlS2G8tNCh9aO3ohcqWsBmJUd/J/F0FRfYBUg/PkfWfBY8jfz7DgS/84iSiGrwLaRMQjPWTEsCHGY+2HUCLVRMaFQjSDiRaxw0/ZfVKH5eX1J8sVD2piODOi/5NMdxxA7+OM20SpTuzVRRNten3kZZ2VyIreBcqR7R8M8HNS3K5UgyfDW1ZSSdZRPfkQag5NBS2C+p82/1DC3xP3RuvhHHivMKS2/VbJSpInNY7jFiSR18zZwVxiWEblBT+IbNfNH7i9+raB0yyAFnaCFeXBUpUPbceKo+vin5Oe6CI/qqawBDgzz5A4rWq450+CBzaMGNMDkYuEm2TEUQbm49yU9c0CvW70VwkFt7s1oKD90ZGr8/OjyzUjsh40DUyOA9Sf6lQIWi/bzU0SVemGwxVnDXocqKd4a5gW+B8GXkQ872P+qoOd35MUweH3UI/+BGxI222rLU2yn5wIg39fig7ciE96PcvJPlGbiOCRd0HDMQd3MbEA0T952UkHiJO6MWo9ik3JuPafbvITvGZ+zC79Nq6fgO+Q6ZIfliurT4ul76UrGlX7HEIUv9LuuWBeHoMY23Rga+BHXGAkJ0toSxvMBR3BoY2UclUgELxZW+0TcU4YPWew1nioJNfrXpCUxDAK2lS7qiC11F43vWQz6J6QYPo7PQSkecJYRYABDh2wuBkHd9L7HRFGqDDNKcdILApyAFJmsvF+zcIFcrJ+cHJ3xMyfE69n08Ot/8Vjw3J5Y1LCqcSAjgn46HpYYExFY21fM+a0aDxiifqxWWIzT30LEakQD6jkE3zNm+4daQ/vGoQguOsLF//X4/Xik5XGuXJ/yqxvU3nRPL6Vu0IyNdaSICSHjSzrS34SEzMbuEZ99WIFb0XhS5PUsw2XXCWujMk+dwLt8PBlcLxDj1HpGlf9YnoZW1GA4vEnbW/oLkpVgP1269M5oSj7yz73FE335SWqo/Yeg5sASXwbD+iU3Rhuj6MWYh6VHbOdrwaYAzL3130jKOyBfdKD6keL0GudJS7nQRC5n9uGNRgGWTtN++axSotldUPJ9xkkUeAzUgz02OX+rzd0hk/aad04dNeU2rrmpUZIz5I51NPvCcxR1jjqNQzOHw0FyfLDjfBufaayUJUeKhq9f82aKBjHzgGB7WW0f3PvrEKuu1l375fy6Vl7R8GAPobKC65XrUxKYikhq4/hVJ/K0obDLx9egvxfQbLdBji/lSq99G3MQpINvohVt03ydqbRCsZX53sibOhHOMMF+MgMS1++7+oHrIhVA9sEm5yeHLgugd4kLkMfc1XYIiUUfYUSvOx0FuXySwHNLWrRVwtVduI9MAMM6gotaOVLcMBY9VRu55ZA9cPs+LyxGtoLCYN1dLfvRzPvunNUMAJzFizppCMJyLK8ja4tDdXdk4BzY9mRbgf4RnLml/+BbVwfu/2a1LdWN+2ptS8UuIaZfU/PFxCo0as+urouBdms5ohDcrKmffi0AFBhUGYBRhmCoe7ToFWQCsyxRZ8s7v7VMn5Qx9tgDg9+Y58ZGwptJhZE2wMbIv6puWD8bIFpKDSZIHO+tza3a8WkYI95gHyJQ262EUsU85i22B8UN2Qjp47BJfLLz9ceF+neoPpwab6mQV+gI+KA+vJ8HN3ZTZPWr69Rp5Y9//aI/f0EpBxYS0GkBNmGQgpcYKL0fZnvAZ8Cdl4NKWRb1caCYZZZ5GMbP4YKwZcop1aG6pGRdzXt649ctayX/yOGX0s/K3Y3fTpJ4CTj/TVlhMwy6oj3MF0HZVufzhQd7WBRvFUtVvgPyPcAHbDek8Aa/JY3PzG4Ad3qC+fQ2E/eM5A9yE2dgunD3TQIJMYE7Ct/h/XvDH+PQZa1pbyu7syRldKXgY47Pp86uryIVzFOn/nM30aVBh17gZFLkJWWY99O6rYIN6yPiLKM0Vh3QZCMq0EbPAw8jhc6L/iAIaZ97CYVKhbGkSw8yu8h+myGequBGzKnWvMgBHBuaZNOXnwWdQDXduuRUfFem+TeWcR1JttI8F7pBvKvib+wZX/YpT6/WJ3uhjPqL4+PZ5tqrLF1fFkLA+p2GUoGcWAjNhzaZhQFuwCDnKbM5Cjo2ksbQ/pxsaDxitRKrWvjDUI4Oklq7vUufwgkoMcQqgbERirHFj8KQ8brtfZWIMbHGlNWEIZf5QCurVmlpb+eyGWgihPGLVINl2o4kBf1ZABTFxJlpvbvXYmwc13rR1cgpXIueDG9xofhp2G+RA5vR8A72StOYyUUAPYxiYiDQRhYalCnMJX03uExaSk9AaGvTFoJCqNtjmjewkrcEAcoV7KOWKibklm2XUb8yWTDQ+FaUus5ylruVDbKt7SfVChF24q0iUy/lximGFBQJ8M/duE5p7CVvfyy8FU8gQT7GXxDSjA7QzsRgk+Bm3f3lNlReAhFziWfv6VrhYUFP9bCWJIe+58/x/HWrCa3U7jqqIz/UwlG2qcG9p6CFvBgUsGp3Cozz60BiMZ8QDcZK03Ejtuk+i/YiDicMsFVYlOG7H6rjeiSp71szt74F945bqclaD7g6DQ+TIg8EFwMFdwgInjrugszaTcBxkKNgz+byLK0j4nb97MJ8Fn0i5gm5qgESYaw1t4YisZ/cw0fadqqjVRi9usk48nKMNLNshWAJ8CN3u2FUEiuZjH3ppn5On0Pu3scqqq7pxvsSptjfI+ZAOdOXZdFzKjyU0QFwZ9+Qzei3Ek6Y+Bv1O7J4KX3E41+NOtuQSuA7kgv36zIwSjMYrbv2iSg+cQTyDPLFQP1i5YbDLI8mvxtXSRXTSbwOeX74MmegWyxMowxXb8V1bWDC+3NyFAsvhoteqBMfeNINr9FB8tIWlgUQDMtlHpZ3ByZj5UqFbqlTjmo6q5YtifZhgLdNKSS7GH5hcs0peWXQXCPsnbMvbjm7gAR7ReIrxyTeQ2oKv5/6ApBZde9IT6eUOeCQwL4yrwB+7qpruJknahvqYo2lHve2ivtnb0/H/QQ7HLEZFUZvo+hvMoJ3KWtt+Vw/ehnwXVW7FqWK6sZeNK3D5bF0K+dFOmCIesFgoi9WFsd738eCyoEOybicrDVv7toOvgX/XxS0IKXZ3fQWgT9O6OZB1savMUIl9fHa1h1VMUkyqG4oDiIoPGqW8QizKO3LpxVP0rMPMt/n+vGwxCkFxHSdqvfkdQCTzfQENUEQvcefM+fP32OlNPuOxOZJItEu9FWJ9Jex+XPtJWkvPgRlVefBuZenxDoZ1zLNU7A9MpzA5fCOHJnAHhC0xXAMYdipx9ZELcqgp5JoD7K+3xGg1L8CIH5xseDIKy1rU6erdmTIpxD35hPOLTots6J+kT3MMeuEHWJ3q9t016iqL2U1zGWCzwrA23Ad9mWivx9ukKKk0j10hCfJRA+bKQKFTLFE8PMgOqVU+XuTERZBfXjT+3mS+u4auv9ws9mlnki1HWIldSWGeNcgl7fbaEEgd7cB3e4GPBj4nrZbkhIa2tjTY+ST728Xy/LtYOqJHFCj0EoaLKdjpA2Z3Vt+dMURS4gVFMGL4kwgUXQiaqI2Zzpg7YZsAmJiNYHBXky58bII3w7acVoz3/CyYXOfe2wZA4ajJG8tinhLLVYztBrOhANdX5P/Sv5e91EwPrZasqg5gVVZqTEtqDKnb1ThVJSqIONYOPrT9CGfXXWKRvMi8hDcbCUMxvuN1pZmw4BN7VkCwY0cRRBImNYYTTgqGDXD3bIhlDGZHiK6Zimqdjt+NS5qEy6KSUlvEr23RIW8BzXCn/Fcbb96NX8zGpgfP94yFfHbq078SP9ubBXef5UJHz9AwTOPtss2zV7WOkXAKyfqz92jhQGLzaa7oAueWVgKfGkOXESIvezsWCxwLrcUlC9YVVZzKQbgegmM5q50z2nZG8l+EdHoUO6w45jCXnJ/CZcq/P7Gtqw+9aSClZYBV0xUYnYRKJtKSB7756FQebYxBP54v/WLVg9mqz64goDAf9fiwVBsMlbMtHpz3ziJ/PJJso/V+xcEr+4EJFo5TOy2UgX0xlKmWOndkEl5jwErv/eYgQwKb23j+4IOlcYef/XlPZBdB20VNR6LRDat05+SwEgfCOLMrdhlUGIYdtO2BLgqWeRvFHyuJ+81PsAPsj4OdooCV4HhgMvm8b9+zbN3iS9SXK5FLBPiXbUOGwBsVoW6dHcfPAq8VtJp6dIc8hgqFsz/i1Zu6uV89ypte/U8pgzNeQyiZ8uVEXEjfRBDd8+YZc1sYak3jqSFSPuhYDXrBNkMlgVUc8Vhmk/usx9oknd3crGxxWMckAQYLdg6nDqaTCmmKg7CTZAf935xuCWKldQhOm8I5ZAhBONxMea3s+l2A7mT3AlVm0XQ26QT4/PjAzU7VIexfLIbfSQ30dFM7ncXzGeT0JUlhSJC5ecLkT5jJDKzn72HHpzjXZD2vsm7MgbBFXxn4T+uL5y3St+6HUOop8dQyaWFHdV4UIdb8F/TFLV6Y0lMMABrX157+pFveO9cBSpDleDYzYpTgul21VkltEiqDaARvZthKRMeQIftRYAsfkKR8UBhLmaMU9f0xWu9fKnGi7G4ZCzFD25gjzRr+wfhqRU5qtqvqX5edZiOGeFJuG+gf5ys/o23CYmHnyWhSqeBH9cryHdmspK1y16Iq3CJgOgOgl5YBkv+FYk+p+/itB/YigvP2xvV3eJ7z3kRECPfiPUCuRrS23cHDck2SWVbpEb91m3cL8TYxjV5oQUhfgJ23bZ7KFHu8KMaovuZQAZRMulosAh4BN/Hht9HhYHrs3nzFNop4Bm6B6tns2YX8KvIyAuWzgfKxNO3/9sfifsMBve6XjWgXlaze7KXDOOlLToIoAOP3EXeR9skT0bXlKbQNvi5GPErWRbMjW5KXrKFOpJE9aSuD4//o5fMzYutbQezFaxDAaL8WT9Trf8Ru7IcAPm3dIGsaSzOb0WpHJLMGVBZkJrft+FSFsUEiYvrX9cY6WxTt/Jc1hE3KnTtqvWREZB0BlLSWdLFiqNZ8YKQ2JCfNEHNeDa5vU6Z4ceA9E9VPZ06FcCrisFZPxIfJF7ATObEdMgYJRs4FdOm/UmWyVNw2tfBO2kLcPU/+BhxF5ZcStmLJ29Hd+b0gaa8zPiWXQyfDZk753FaJu9U8St+6qzn8Lm3/k/YOVDaXYrBr14sJU4DWGrWEbLnKZVlgjqzirx8B65wYo8kWd04EvGYOrZ83/R8WLUYk4xrkCC0qRV1wYL4dEL6dNmZb4uU5XXDmotQuz8T8RQ30hkIUZZQqIos1uTzyPwXEIpRUSRAY/k0SnLSx7MXa2W2LeejkfA//ytw43BSeqobCL8bOXtGq6XVifSHUDFdKQLFkehgRrRBI8DbA1ZBv/K4Oz/7cMD9MnyWu3H9v6ik9NOoXKwlntZLGowZHvys1FAAS8y6XcOXw83qIpdkz/NjsqllJ+s+92rwkH+4iDlr8OvoFnfWH1bUv4pbL1QkG0RBwZGRid+dHu61xFvy/pR3tczwUgMH9OYGxIaW/JmhIwMG54Rje/9ETKZvMC9a4RowqEeW0+5FRzLKKlZWyWLT1plDDhb+VTa/DXwLtYVFo8kADrKsPJ2j8gROmhXX+tVqNHzkoilKzEvPRoySop193QziRxx7U7GnlMdOUZDxkYoJ+c5n1w7b1W+Mbst498NyaHN2Cekxk66ae98ymm5CdX9hbdy8WDKb07nPM71FmTjsC2ONSlRpM0FtzmSVfWxWTtHk3Me+MFeDM4q9TlWJuDMO1ccLM/uiuVLL0FIIS8hduDc+htv0cLnmsYMlN4NocT3Cui9pZ+sI+VuY9L7X4WKirMTB8jxWysFmSIQb0Xso2xEVZNbxMhy3oj2O0nr6cF638wyoaRcxuZYnirVmV3c8ZHANZQTXKrR7vAU+RuyD3tPhmQylrZWsPMP+zIllRHr9mqgGYmeogs+trB5UKFtVG5Ae66NImxLlRW0xPbjTGTgt8DGIpSev3eeDgjuoZkxIqss/Iuqe02lpAPIHN4EdD3Gek6nwti4FtvK1F5FVrYYecuAoYWmN9UTSaXzRSwO9bhHjjujjwhRgEx79KR7Hxfuq08UiyzrVDNQhHeUaYkQe5ykJ0f9FWN2T+QQw8hgVsvg3wlG08x0QMlwOstFYR9MxMc3oskME0VDR/aYEryTdld7A7zlmI3bhUqEnu+TdwkVdNoX9vxAlJJVOkoqA92rAf0u/N+84X2A4Sx5aDF1YUuuui0vvQptV60Oo1jPAFFxXDQFn96as+Dd1YJlc92i5Hj385wo+fd2Btvt0FYYQYDzafGlrFZ/x4ea6otPvvRoHQMoe09rjL1f3FOHKPkZhn8b/66oSjC0upV1Or/EkrL0nUtXgqTnKcUi2c0gieVd4068iUonRIN+3VJ2+RXkNY9jJccV5fvKOzyPIkpIk6iv7An42R36bzGyMajlTInBccCPt/Eq3DVdjAqv6STGRcnBVMI0CwS3PgWnAQaZer+cmqQtAk5EaJd8bRo6+xIFr4nhu3VpQhNjobn7yhRVCktSn2Vmets+bvRMfrGBZnzGTPf8RqVGQKjbpl3I/rron09apRGBh0KZkDwEDwMJLweebW4vg9AUKRL9dq9O7u2900GvDo+ib/nvcACV6SLssw0B998/C85JVcc+LGOA0S/6SRelnfYQpcpZbGydJQUxwlG0audhBKMLVP6apU/GMGkGTBcIyu/uPvH50/63eRiRkGGtc1+TmmJ/pNSzDekrvqHo/oHl+EsoNF3lDD/uGSoDbgjR9rFN8//gr9WLWoqzQuW+PLxTGAL/pLp9iJnXsJnn3WiR/ojtfn2QAgSB6fB9suhd0ViFsM0OZTKQAHEgZNE+HV1dJ5iaRGUeFiEGLG65CT9wXQg41Lnu1kapnI3SHNeeSgd2Y/NsAs9IB6HLU7hUOFPaYzK0AtzPq6GCRROLnUfxb8K3KX779RcEtoRnK7qnJjKUPwn2tYJKn7oTgCw81pNnnL/HB+4mLGbsqlZFy9qyur8krKdKvBWG4mYAZpw8XPCBC9R7q5sRRosAeY1XKcVkxsEsPCHCVrQzqvbsqv6rjt0jexjo/jmz9m/XK+qI5uFn6+1R1xAyIHmjmhzekbROxYvxwvtw8CRULWCLL9R206f7OKhbgqPav/nRKA3DA0xCHV0pnVltXZGPt5rRjcSsoA+qi2vniDz//LLoPQMirGICNfjyP4IGLCmIGsK07odqJjwYV4Gfab0ihnxn4ibo5CyIRD0oembnAYh3MyaCWtSVEsmW6Mc27n3GRMPhpuG3nobOxhUftNHwPH28eI/PO7CRlycvVCZudHjhR89qcv2EssRhvW/zVRjYBcm8Cl2xea44F02WrMNsmKmF3I0FYEHKMtx1r6uUuRZdeZOy4J/pg9YHTtzwymZ15lBHEMTSYAum1rjORxyIoUYog91Cfy901JQ2T15pWnXE7I/3tXrEEP5rMpKklzU/xY4cyca+c4fm/xLRcmoPHaq/X0ffgz9dqeOQzEC4PlIj53ZdoewMXan2WxcZYpRYFu/EkEvZOICUj7GDcy2+eHh16XIyCtJ90aP9BTRcB3/6cLbniJ82xQyHqoOwazDkBBU+0EYGs+UA4vHyx6h8jPrBkyls0sRL1rvC8eiAICvy9DOvEUoMsoxaTMa2NndTrmcwl6iP6O4aFZKgPYn2nsV5ShoTdSEDoihPrmiLAuikD5c/tEEFgue5aUQF5XQ+tmBzFZF7kI6vyaOaoUOsAd8qtYP3lu5Gxgx6fN6G+8+hJVN8NYAeuepl2VYO3vei9Ewet8M16n55t4PsVf/rfEC1XvJTl0hOfRCdz9Dmk4b9I9eUsXK7cu9qRSENebTEHKvtu2gWHy6KhTLZyeSjvtpEB5xjgYvIphdrtB/WbKOWMwTkcZtmaAYPxiYnaUpszzkBBgNwWcrM6pDZk/ya9vbKJWA/f7HHUtKnx00MHFaEDvHdGFRG1KV934bCBPw8GrpumtY79qq4ZgpnJK8YyTmir/+HLYK6R41O3QsBCHlCYo9npNZ26GvV+rovGxK+v8pr90ZcvNhkMD0NKmMPGmD8Z2t6byHc03WK/V1srqYN1G5rJDILFJhdO8LIu9S4WGzSlLH611OmoOffkCOBpVZkEbqDYOHJ+2LnwUAa8XeDpMFhbvVeDZkrh8I+J5hA4AmQMFq4e9AzxQsa79fG+HvmfFLDYmKzxj2p6i/UUOJKKCwQtrvwU2pqoVhiCwMYlzwVsvLUVfvEleJ3r590QFClSwa3aN/7LKPUtxbkkmx3PFIObPGHLt1jp0t/o4aYSgi2a7S01xquBJ8J4JBc2Xa7+rakopw9M/7vRyb2xfmrKDkzJapC46/COY4kBd06bwhJB13WRWssqDClz/Ef0h/bAzH5rWYadgaP3qUZyJq7ZSHbJN0AGnIq9+4n/wa4RY+oinw1CXbqUYNhgPSWV9f9vdr/ePFXlhyqxlwSw6xbx7527KJWd2XFnoVxs1JQjiy5VoUzIRt+hi+6MFTbcUOWr29jmOlpAAiP8aWoM2+qKXwVo24e+k8coVp1+hXmFn+FNRvMB71BIOAlm1LoJk9iP4hk40q0l0k147zIhLDJabr2HpPSQEEvQFCoRwwGAQtWbS8FkKx2rNGdp7Ceji6KkQN029mIH7TZhnQEz54VaTES2a5v/qleS06f2Tw44fMbr2I9YVpvBUE3tL2LZgoDoPdeCS0YNRVbL7Iwxdi/CIr3eI18Pcd6CRnwem2RvvqofSF4E5WgcZDtHRw7ywIzV2RjQiK0GSUJi57eB4Im1vHbqey46HlWSu5JZs5K4hu2khXeRre+FfACCSGBjT86L6cX4EwZ5DycBvoM4YNqbvDrwcVhJSZAfIAKZEtYwMefWE8iAmt8CPkZghNhbg74BvLBAETkCp170QUmaCw1BDg/OTDqMIVSbYL6VAzAH02XC8y44cQMMVlj69AmhCD3HtLM3q0WmzhT9D0lXV1BiqMLMS1ARPms5bi6sWhrN+P7yftUYNJ1qW2DSWDOB5cmXONBJQOxeXCTjy3ESv3tpE/mVIITdUEoGERK1xjV8OyMro8RlhiqKbbvl6PgCsUQ1RKu1jf3LaiYs3enPzbU8IpbJBj0qt0lIQDy4lIzEKWcCj+bhS7qzTttus4sUxuG1g6HRwk4J+GEW4ifYDwuoNhAjZIQYDBZ+b07DEBltEneeqQGbQ1LMe4C5qygnHsxHLT/jw7t/liLDa7DEurzgXxzQV28rYNJAE86ofaMSZlYl6wA4FXctQhhphZ4nrMlOpVfHzTa4sLeIr/+4Zht6iF5XqzABdGaYhaApM2MPF7LhgiA+CWlcLREEBbZkBqKr3es81c6gc8FemUcvkR5K8C274Oi5JdYb3ajk+68p02fh34Nm/OgW0zpHaj4SYADfp5jr0uJ3u0aaUPTS/uuQTOMJde8BXF8p9poWaRiy5JRCupJ8R85Re/BHh0LVpjM1fpE7rdIVPOkIycGZH2ME5BNhN2B21MHQR5EGow+n9vVg2OHFUfoq3pPcefJpyMlVtfZH0I+KK0btVlBURF6dyFMzYCeTlSxxQTDd+zQuzxzp6tF3PlydiEit1v+L6poMSmYOmH8Hlowou5IG6E68an7gYGwE4uxJz+tdRjY+La/D1wSBtrGpKEb/pq1T+voB7uvgM2c1P6CLG7lONKOzjj7UMy3cMEhqupCeLNZihXOeBaRXTuXKKlrs6oSYL+JrgA3WWjBbBslpT/L4s4cTu9uP6EziphCEpt7F0qbOtSHfh5gWw2aHmcpDvY6h/uKVD/+VJz4LnHHKJ82Snrpp4/4BA8q/B8Htx+gSzE5lfq4DDHB5xvrcEauVfVBu5KCnc/zK0VvzLuoLVuHCF9B+OT/4PpXZL/GFAhr3MNGg75t0CfdiRqNtdqjAaJ2LSiAhyfeCh5RdM1PxVcX2eubhizfb2qJShvjsdmumot0AiSkxyZFqlHiOfNmTpH0wJajgY8MN4Cq/wtR+U2uosbWHcn51Uph14YedrV3zEuJQ+5H/gNtpD0oQxSSe3TY71lrUNiQv0u6ysuj91YaAI+pwpqU9fGSerXbldDtwluEyIJLVImq70UbXj0EMZ13WbWha4/CW4wPEKoRlImaZhG3WCTTsKRKBYvTVKLx+kh2ZLii3laYTAVoTiBB/u8sGL8ZvL99VSXNovDJxHv0Ro5DQd3nYNhre11NgoVSVEEYTgtBYvr/fDpH+G7WFts6LV7XMClmLx8QUcGWvftQ1hznQ8xqOqO4JFQ67QWI77g/tPRnzI+Iv421m0XVx0O/D3RPI2hMmCePucUVIcPFoskEFgV/+rp0QXjYNhBWon+P+dEDV3OTcqjbcRFbK/4PuY7liFvDpBfdn/bEZigJZHqMFE/ZXcFLo/LHD6GdTWr77O5m8NF8phsL7eyQte/lLIFY92q6rvqpqar3zz7Mw2RBoOilFI+QLtgqBYjUSs/e9HoyKqrg1vbsRKpUxvHXPFZoMDHwGn8DDjMrW8nRaJ5P1tl7LpjnvM3AUAk4OXwi5qTr4+3R+/wHgtDpNN8PVOBykgLOWfFCqjG1whUnaY65tmlXCLdD1CU0qqT0jpcJPIUBCRl0YsggxldJwqG3yKUCVivEDzV5GFkPaQkfHpC4w9qn0JXAr6sLzW8xBSKPB4ZMW/gMOZI6eK5clS4L0HdqeNeBpKT55YMkiD65qbfmQ+4Yq12X8CN2BxphqQp1XBkedpXgr2MFLq8NQEaSPu69GheA6DwXomnubOPkZwC8CcwWOXrrnOWZTRgblAwZknpJZsY8546lH/GgI1ooz3p47t3GRgP9iJabdSN2nvLpmqmnfFO99DBydeA8i8+W0VDVUioMFsEOKkcIpd//Pqa7pS1SFkDpvtpO5JgKuqDyblmGPQNoSHFMd4Bh2PPgagPuao9I7EuXtL+iPMY3kN0PWKbYQxvy8RF0jr3uKT+DCLEA0MVqaPn4XKStdRVI8BNzNIFjdjKuX0R3xm4a61eQQvdqO1m/XCfBb6EJI1oXr7bV88ieJXWu24z0vdAlLsfkGrQs8NtLUtLdAsdPtLF+NgZhcbf6oFUy3yR9WtiRzELHPRX4WNZv3KcWpZYw0P9LCovHjaUTJvByi25tTpRelVXsG7NGoC0aZlwfUtqKHXzRCUK+PtHxQZLgw/R/uvRAKOsUK09VO/2yyj9Um2eMS7X8fLRqH6enex1jwD121ThQBtIXyPPlUmI3KikHOL70E8IO6QkuuiXbMgYQ4C7D+3tdESda7iHxJpipN9LvryxQCmxx1YQ+TXg/E3DBi92ZCg5SBjySFnp8lImc+HR8DropnmjL1xnuZQ4iTXedbrneRy+9ngp1vOIh+2GGxJ1WH8hew3xIU/FB2Tji3wUWeheHaaVkSF5XsqMB5hFzKk5gHtPaEbg80CEsfrhfpJ6S01hfD44KOr5c1Y5uju9yNcbApT3eQ8ltYlbMXl/BGlEA1INlh3MW1CXJy9jU42/YgEyC3V0i/qleJCcvkB0AIuSBsE9142k0zA0J+PipLRuBHGNRupOLeqh2Kr93Ef7jAktOdPVxts4aCSrrU6NMZY3wf+prATQgpW4zM2LO40UdPca0jm6xizXF+G7Oikm0UnpGg89bdx2CgFU73q3DZsnYNloRvutaZ2t/wJ6JF4xN/q7wQuUlPpSsIRGOGJwPEA3EdVTqpu4Ib8vjO6TcYsnhrWjd6hqoZCA8G+7SovVSK84BfF7Vm9aTYDNVh4xtQzf5sYMHKB73syTCMbE0RZ+SaxFL3Cm1FUt06DV7EWF/+GAylsYfKSESXo2EnME+YkN/dx3rrHphV6sCG2EAQWCcusS7spHow8af3RwPUpAS+AihTYQ4FlrdGwYqcnIIBhAeo6IHOhqhUFEv6uw2/WqWDqS8xgYkmAZ81qCSzKtKHBFX/nnI6S6qRgCL63zHvH2465Kpa+krGQeEFM6Nk6XOm1djdASsDcloHuFG0/1YMS/D+xH8YDSoiOMzhJ+gtlDfzazKCW2QCYD4p8Ag+k/c5AJdzBZ16FaNr9SfrGwfsycmykgBNsZ5nTSh2w1jE3ErUjLa4wMc0RpIOWQRm4gnKnBEqFIUkaSfyEsJmOPn3hsbOwO1xBk4kf6V+r+2NhhqHwSxrgqBNBGeXT/s+NRj1zOx0xMwonCFRVxFsmms7XU/0RdHbNNyQlde+6kfAbpGitgyaGLo8WHyr3w4sqYpzfTvRDWEFWpaX+MBpuNB4+hsxNEV636Ovyd761pNEpf2RtR/ub9Cp8FuHUVFqaD3P+uXjzXx0XL+0Y+zBnaWGf+SNp5Cz1FOqe0j40FOD1oNxIQaJw8qUsJwwC6ot/6vJ/Ee5THFyf0t9FAiHpWnKnDH0mU2TtYXPJkyqOZc+faKQLJ4O+EVZ9s0fTcka6ZI4TcgakIXoR8k5iqWogA2GwQd3lhE0wge7V9oWz3ucWxsaYyEadwh/tMp9nf8xsfiw4FwsPkFvCbGPP4iE8LgOyWI+m7kk+B2JZzzX2G2JKQoQygyuriM13QOAbbHQfNt6qIjLWTYX9tXCrV029pka0D6nGw/z6fAdDaYIAblHo8b6VTZRlyjm1mzi1wxXnOxFEkcdAL+psWsWBpKUImtGQr/R/Lkx75r40jjAKmzd7ziU6zFf70HRZCLZoz2dRaaTtyqSnayyTBYK7eTAH1QqNMobfQCDFzEbB+Yv+PW6V02yI2XyuRovFYERYEzrjEyzVIR75pUH56EoaOh80Et8dcuHS3Wu+qObJUUofO/GCVad8fEubW+GwtCbsj0vOBV/DsFVAu9oYmrBdNTNVZSP3ijppTkE3UwLOI5872nx2thMXpaz/sywnYDOuY01ipPl1qbOe9rfIDmhwpgM8nQ23Y61NiVcGvZrfZ3kocsQU9ZL+t81kkj7ubdqTTBmBnGlIWUSHP6nmOXHAWFyy1WbBYGImMcDLvcGM6glA3XlVaW7rY0zgN90LULUlPM1van8L4KOdVXuSWpUe3z9ZQ8NxxtxE4gRcd4wYymp9Q2jUtCz5dfP6uVQHVYF+YEMsOKW4z3IprfYtxh4ze9oSBUaj6IoHRvH4zYO3PJw/ghsZVFsCq9/cjh3Qqkj2AMQIrRLr5O35/+YtcswVOJwHTwgGhGLavt+GrmGTIASdk7DaR4g5/R1jHWLIbGBw2sybB+BzwbqXPdFcnfklARNKtBclHsvAKWYA/4/cLtxOW9UCnS4lZJJpff3yMT1pkX+L7qAez3X8C6n+tJt9RZjVhhVA+PYTbQpKTOHJfh5/KbaQFUSVkDogN+VVfvgonI32XDFrg6vF2JgEkrYkbaPxrxIue3gYSVc6IPsk+28chtCt/O0zFjmwjBykRSsJ2nnPwyT8mGuMlLPBS/f07VBihMon5UVtyQDnYiZJaxGTX/M8A61DOXUGUVwPUgNyPKEKAIessB3eh6gmGrmn21YCW3UefeS7Vl8FwmmMdWM+hNsOm7xPs7FmIruJfSc7j9z/DcnpND5wmNKOBWEG7zgimVwDf7adU5oN3kNXUrV0eA5DShbC10+KNGjVsoggZF/c2gIU9tuddlkG2U13uvPXBkaY50LZbpKjxIBHLGSedxTYnKCFiDVayBjXylQCbqWa1xlisEm8eWfBxBu3+KB5/IhH1NMZ1u9qLWeRFZbRteJhom+HSveW80ysVYrzDVOJ/gqnDUVHjqtgfhwxEiTnRO1H7AidK8e1+vIyiJdgX2HSJ3an4SibK+ADiT0jYsEk4RT+plf+r/BUvsoIBMh8qai715g+zL69/8fy+B5JDvsyZngunig3p+eSad9zSxNMwDIPcDXea9vfkHt76r97QEWUjObFFKUiMyPwOHVlkWOaANh9dgsxj1LsKllGX0NCZPvX7OAASlrA9kms7yOhipRl0dhEEgVxvvw7vCLuNHtitxpWizWZguF+GrbG6V15uwoUKaiggHmOsIPm22yi7JdWHmsat88PqxM0j4L8v09C9mBF01FsOGFP7bN/1I8wXhaJN0RQQ+ZHn+HjsX9D+aPLyQLCd5NrpMXz/HQfqRDhqsgp1bjzw1e1QcTyNsrDXaWD/eEBsgum/E3N0v4W9Z+fOKeVcGnZgj4hP5x0ilOTuAG3O/KeZVzkkBFi8AmKCehDL7Nai2nvv8khHyV2o8Sj2pvQIW/Gfjq3Srmpcysj3XLrfXaMh4VNpH1TWd48r7IdlDCJ8H5Kwx/J/6hWG6ociLfavV4oF/P6HtRppMa0RcjDD+0j4pO0XJku835mw0MwpMto0VvKHTdAxqcFKEf7qwNiHnH/PLJXbi0WysoHcfZhqfbIw7mvrbTjToCeKlgr7AqK6V9D51gD8vFXuz4xL68iVC5eC7ChwFTiiZd4d+nYqh/VrrNjMrOaa466/gmknZdzLOhMk029cxUh7hzKCkm8daeWdPOheCqjukGi/3mVBs3x15xhv/l8PNv62cJ83nsaAgFT7Z8EgCSg2AJFS3h2mHhLiYIT9WWILUbEVY6L3W3U6GA9+nQqT/tbyn5jHEU8WyC6dcN3UiW6sh/xpXlEbdHsEQlP/MUrUeinJKlnnj/YlRXpy6yzmFpGdfROil+7bgZelU8icGCUZne/F5a4wlKwHH/SiC78zDmHLEFUI4QKz/pz8lckbnVPT8JLRCfipAxE+nmWwQ0hGypdtNALJNJeZnh95Z8GRIoh6yHTH0f5TWOYzG4lW8fgmOohX3n40whurMN5MYu9G3HjVy6oM+3TZTv3uh5KrqkZxAS/ZJMHYCgPCO5Vo2GQiwovJ5KwArwhzdn78k/w9DZVJgyDOtsLsj2AzMrk6het9nAPwNfOIlJxYkHAEm3XaAZi5hUZNoQWWOpHiQ+UGKA6zUcIUNhaHytn0nrVQIRNuCrDfEaQKWgwsr3wOPFS+jWCr6EKAlM04n5OBGN9ksAD0LmhdkIxM4uh5tw82P7HsQ3Mov+6JEu3kzgWd9kIFGaGoWFx+3lFSDMVs9f5k260wlTkrUNgun5eWq5HFC4xjSBaxL/DIyYntIlPoVgNxWuF1Sgwb8VaHZh4/pVIYD4n1qKcukaCpgtWRHOfrrnwj8+abjbm7ICJ/aVI7aX5zrQtq6vW38U9GN2f/miZ+SdO0F5bj/LuhK26hMSlKRHM0J7MJ+KZe6mo4YsmNjeigUaBYrUNOA0S3g/zRDZggq068hm03Vl4Z4zqO0dG0Gj2KJDlVCWMDllK1RxeCMcRre1oN8XClAcJiE3nCaYA1p28X1fY22QFdyOsr6swYeJ4JyrrkZItssP5pnBN3fXj8NpwpxG7GlMT0cnZOjys7HJVBEd1WfVghDbY3I/Nf0dLKjDpkpdrC+LbcLVHRxQYKIjfK2kDdGZuV5W2nkq/xXoCYVzX3sdviuxmlTkoxdo2X2Esx2C72Zaa9P5SlJVXdL6c5Dep7PgPtZUhZyY9YcfhnYq7D3Vr2x1x9vBCSE4sXcJz5/Yjggk63Lr53zs01Q5292xRbRO91LGTd5nSYpGcaYoyiqtCIYCUrIQ5Vpbaaqrig4Tl5mh7RYyQmg3JmKvhpnzAaeMThcz34paMaGGycuQUy246yDeF9UlzMR4i3eiCVuMmzPNrxTNOx90GaaTYMm8oAt/O7UgE5wFMwdPJWw+FnZszxDlPAbXRsOIY14t0KTWlbshosS0t40LXDdz34BWSV2MykusTVWHUEXmy+0Mb4/3qHATOwJlGMA7DzeS58vafQxjQ69RTRFlJusTTjzUj3ESnUZo9afU4W8cYemdcOzndmR+v/lLE1JTQGVou/sqUz8CAQby8A1IQIahP/xcv5LW1jvdll7vJqEQ+adzmhQGhJeulw/M5oHKIMPoT1/WZmXmMJAEtDd2A6e+tYWyO6fTg6/aIlnBmGQARlmAlkmTJjDJP8EWYZOktwF0+yCBPhhB34aEF31e5PGlgtHtGWc8JXqRNnp6/oDa3EpfP40BSN5+Pl6CqfXlO6/xOF/BZZ0WWtR+lwgWp2+JsgKxZ5YceHOn8z1WwEBpssbCi/5I2D/W7HGOa9HRiLK0p18B49uWYQCVbCFXHw0M8iWgUzUtNsyQ9wITSweg3VfmUTdV/niPp7vqCRYfAUpRnxy7imZTZvOj0j5VXAt623ix14FOOSsJye2PnWrKmhshWEDgHYh6Tl3t8GaO0dEeDerSMK2V2LoLth73nHB3R2M9TJ+33uyyZs5xysAFy5RPzPFgUNRAaLZfzfM3FmGrq9dWiGVLwyZl6muqotESi4xuIFJkMJQICnFm921/jjHx+JGbBfWs7Q8An2c1fRy0FjNkVQBYT/D34Yxj+th2uvhurijBSy9gI5YAXwhdTv0itEzCqIocFekCQCepy3bksRFc2DAjh3DrCd3y2t1sB76iLcAJVqRjVXf/nTPzkhBK0QPgosq4jErAn6kilHWjzLYn4+hi2cF6U6BBE3JylLflzgYeMe19racQ9X3dGzMH/C4izYrvtS3pSl49VucjsWeg+3vNbG7CI0a68Fln+cyIDnIAO3htM4DrR/60hUnFYVsSXE/+bU4VMacPaiA4bsOQsfUPpFPM4U+H9TELsGutrFwqZe7zzvNaZ4FjdatQZSGIOOawzKaaqYjD1KcOjNbNiemnyfa0/2+Zc8NKzNi4oGgYZMDp8YdrJayqpqm1BSp4fAQXYRw0a+hxd6k3tB0mlPvdvL803y6kfdLHIj2xvmZQ8pTp5AJHN1Y6US+7O+NCefz9j+2RrM8pJF2szePDflilkY/LIDT3T8U5nCQQIwX67NMWLdtpabWAIWa9IILgHUnkDFAisAU8kqeNwZX9G98MaS4BQQu3WBftlpmWiPPdF2cNkTvrSxP7c/bp47Mj6CCV1Z44NB/cOuRVkfx4VBhPKG+ga+aRjZSNWDj70D4gsRYMxNvWPbYqhN6DLWcEnwaS1ZwS76hkN1KqHCFyjTWj9L8fJhS4vx3asoH2gul/fu1hTAd4+Pin8zAYW8CybslK0zwpIO30Sp+5A8gPC/gcBOatgMRBLJj2UejZva6OlYPQF3w5LriWCIhqcRwojSHUfXk4xEHU3qJNGXFhuVUCXWceNavZlH1RFoG2VIpK0OptiUYFaodu42gVf/9oroPj+rtR/wYBYf16JYbs4ncWWMrFcmaqm5FzhzF358LWNs4dWkcdTn6+i14XjTPZ8e2oyf5FiifxaVL5TAnd11Z4NSUQs45/VTd6h23Xeey+ZHbjCO42ZQ2wD9cAv7nLlSE79j6ClRjsBzrWljR8QCOhPKqi0bdx6Na52UoBNJ2dMiF7QySwPwEq1wXJBhjrzzzljAch+9jzRSSrXwucOV1E72YJ5Ye/lm0UWV+TsjFjlCTmq3VWPr4Uqz2sVPYQA2yCXVG2p4izCflTpgBFYprh4vd28WOoykLrchEjG6QMyFkZ9N0cpQ7B+9JsAu51JXKYeIq9lKEM1AVOfDsFeRtoha5Pwn7F8OI/2zNTBpdt3xrkIzP0WqZfSkynASXcE1XaMy/sI+q0GI9Caz4j+ghEb2cXk0OFYFXPi/PxVOuI6duL4BE1HP49Fm+nNTz8OvbhNzsUr1iAeqk5BrIaf5RktLWmvOqDw1TuaiogmBAttoHxUqaKxy6EfHAOOibLcc+5ZBjZ5ciLHEFwlPHApIqBdslcT/DzwtTtKKojVSivh/g0TV8hVVp6OJP6weAhkRHx3lQJGZ0ngyrF+BnGIOtapf5JDAQCHBlZvh/Emaz/K7BGWjG830TDp4XfR+pJMKM6+Strf/m/tJ32cJOsocO1VATFeGBz1b2cKcQhMMPGpl0sPT2i3yGi0mZozwHzk3jbVMcw+LE+V1QrQYIl1MzY/lFaGKr3BajFTITLL79yD6i1QKV5Niaziu5m8E/NJiEDQQJTURXiu0wJC/cLmz03y4pXUWfhs/FDjPn9QrIZNz0DYPfB8MWW7rrRZvD73XgIlyaQ0ZCQZwHO/oaJH0Et2i0tcRgoRJxNi7AHuq3k/D61cG/NRHpNReCl9ewrCJMno1jv0BYC9n30Xo9GvIcg4zvkI80D7NmeBf9GCrXt+2CwveWLNYti238Cp3tLXJpgam4/DpZNCYPHJZ2sLsG90jPQmI8et5DwbKUouLlOjARuPHytrpeC/9vHFpiQaEPS7KmbQuaud8iTuyBItMy9KyWiuvuODIiKzVdRVSqHWAOoBvmL8vi9+zS07XGBUtTOWFtVcsDFzHzKTz1HoCBCrgTafvBDTmpftBUDTUOJj0W3uMqmCHHL8/oIMaqgRX3C0HCi0Wy4AdSzud3bAwJkwSbvg2M+kjSTCc9FLB7XfHCgFJN/JDOk8IFMihn1vo/g69FHePPFD2uPQ1guDcLCFX983VF9EqAPEek5/HaZp8NjUKOoziXZ5LA73eAV1sQ3BF+0lDDYWZNGf9qKv/ynEzha1B/uCxWb94LtovzMhIytdAYfPoxWLgrIrp1TTjuoU+WOiNUwLnP++Ezz2tEGI82nqD0TOleQ9Q2J4y6ePkMBh4ppW0piP8Lkg7y3ibA23hLjIMzO/6wm/KBBMTHc9TtOxytriL8u61RX6n4tLF98RLFcC4M7ExIW5xU4RdKIPtjIY+SvKbh3mNGl/SfNekHV9ARovcW8iHBr3ruFrdFMao5TF7o5ZOQgG+WtOhBklshtcHy9t4DdY71lORwM2ak33fMfXWwTH0Ph0TkPPxbVmHyp2nzTE8MUgVhDv1CjOj0lpG8OhbWWEy7QzsgnINmUqHzxVTKS8E/4aI/jE3Y1WzzTkgBwUykvN+d+0Lpk/ztMK2ObSsDIh/h7e1QoPPl/Q59HwoFchlEToU0qNAwlYNJ9Iv7oT6enWu/mzfxl0aeXdFW6gocga+JfFEHuTmAQlZABlWCABs6IwDui0cqL+ovqbe0G00vrL4+X5d9/e0iVzgQrF5ME/qapc28TXGoIBQQYPBpKr1mqVbtHqGMELrdugS/8an86J3qsZ37RvLDdrUKxlBd/8tWuPT79Khd8LdAO1DYe0kxfcb/D8wg5yXeRJUgaeA+5V5HSOIKgBb3bdHEphiB0F/VPkyfYZL+TxP0wYcCQI+U8QX59bIrZ9c89sSKdp9mgeUrG4HVBMb0Nkj/xynnAxpagEjXN+i2i/c8dst4vCwQ1RkIzDioALTZW3MdjMVeo0iTuFYTEqMk5ubL0HsSO0hC53CG4dpl14Sp12u/mC9Kg3QqVntVP6ENB3QlGdLCUsUiicbKK0C0IEAteUdCCep3PM3CurvL1gqyhil7dY58D0OwwUP/vVubIEO+bjNOBhoFgdMROgRHNLxu+yJ3MfQ8QXMvK7TGsmuWmPxtpFICgf/t0sKwi+RoznxuSORH0+6/F78PY2kcf9UmXVktbkYMZP9Oj0QoyUx9m/f08JkJpOfGelW+Os/tPTSoXGLPeTwFbNOhHArMxyxKI7jKHAJgDZRCP2JRFaBiXlIu+funo4TFzBHHLCfJUlSMI7+r6V03yrZ0gpi6PUlfo6fnQRvAVpUg9mi/OerqDkcZi8HGlFYBJQUSBEhTatmjeCyoZqYnFmD8exTtg2BISxFCCu309MX3i+9QFonRi1z6z2hmx4t8Sl9SDyVmKH4LaiiO9CWRyABFWWQ0zjQfGbFYJbG4A8epS+hrJb9D7iA+bvQ+xftBmgvKZrAzxrG0Nd+VHNDpQlA6lS1URmet5XRsML8PuPAdFadc9Mwk8rO/QTtjAhjF6z/pirXSrqYSj2orvhaMyV6q3DVJ6PAf4HJB1MDj2GnCtxvi07t0ZakkMMakLsjo9MMHtSSqx9FQJ5NLTFZke0h8gkt9fHXHT5Gtr3YA6SZUJrTuURy0U5tucSmzjADbBCFZL/0e5L+8daBqsWZM8F6tIhIQ0hIx9OIfVjtkbABNEPhKL1AVrXKlS5FVb6hKRZQt+pYqZXNY76BUJLB4CrI3F3SEjheW+2lEXHdP/TbGzG8SHjAF27uYQQL79ykaUsvzzFMooHJ+erIGEkHexBKWaoGYgwOB3n/Rp/cDDSuKvBEZvDOkNvGQGy7sJgJvhXAOg3MbBYolMsbV3MhXhGxnpH5GErpMeijbO0CPIHPA9T2prCxjx+DR/6ksdNxKpofZ7/opr1gCRqZCyd+NR8lWREzf9Rs/KlJimmlE1BhIOqJ2/G1m/vMqIWluIUNpZkilYJSt4yNFKjkbk/XWbaYv6h3p18o5bBr7Waz2HcUfjrURXVQeeZaVYCP5UjBXPoI4SpintP19IrRDKZHWADJii2CM8WwX41g6A/7UGmSVkvvimdTTd90QIRcWgFoUjk0Z4/0/DV10lVKLJsv4JQPJObkf9d/y8jwgrX6n+UpSH2YCBQgZJwDV5+IuxIAyfhD3stBDZTUSOnjxK4MPCi1HzrZgYmXJMdQ7jtDsupYRAZiqgHJmgVD+8/5xb+ySHSoEGN75uteH3oHJJFIfQLjBt59u23//bu5PUpfkZX2QSt57s53r7lrFiTGT0dkSxugsL0IGq2EvSpY9byQ5hAZmk224sj0x3xMMdY887pW7+8E0ody5KGPRk0fPWom2MZhkSw4u7psnZ0jH3nXZuJZXCDSwqYVR/WpY2Jpee6WHoghTvwxInMrf0vaxOWXjX7yoF7I7DxB4eGVG+8FS8LhM2DyK8uH6qCU86SRFw+GMqnBCuZrL5Mcum9iY8CNw5R2XrJpkhdYI3FCVdFWVP6RNw6Tthb96jnyZD70kPg+XFS/TyYBlKTADToejoseOpgZLay3pYlldfajSGKZ64EzjvautdlZTg4W2jpJBgVyoZKufrTUiHZiwMj3Tm0Ter9O+M9DC9R8tj2oIzxjMhns3JdcqHBq537160eU5z242bCk56m3/gLmFyBJOksmA9V46u2tIhhD+pWpWr8kqyjlDOU0mcBK3DPfdJGd5zayyAeeegTiSDAF7fYYZNzOwSiP2eITiNVo2elZu7OJN7ENYByOvYkRYrfXhEPlwQBHzD8CiKz60tjRdbQDP2PS/cYdP9p4kAUzMjMfwwexvhkmWpodQtApeNj9un02v+iK1Y39T/xx/tKQvv1HK+Ycx3dXDvTOcZEvC0zsE5ekFgO5bZsepLiCAGrVvzD1yafwZbjhw3vIr+A8O7uWh2S9GFRpnrAEufHtB9reV3dAy9IkTJyLLGZi8np0gF9JJdX/gl8nj0nNcNpWeI6fv8o88IAo5cNUSjTmbY78ElQ7WMf9dbpLbZfbKt6wCFs2E9h9n/SfRnqDOU3tGFUzoe9n6rqKV3naCkv6/aWkAmKWIx0EkSUT/mfwczu3gu4Aw0bjwmEwL4JvsmznAtUnoGrCe0TBL90mCLTZJuH64hjS1kkt6YOdQPmSnC58G5c6jsY3eNp79wGra5FjGulkTuJaspEL6RMGkqQ+Edm43+jtNI4bTw8z/pLaecicOTDG/gNWaMIVxIaV67JBkuK6Yvi2hliqlvrijJOr4mFhApeN/C7X/TrH20hsP5XGqardtZvF0aFmkQUE387qQYzFRBSIDfkkzTqQshCQZASrZfdokCbyTIUMT52vPH9fPEyBzVj58PDVMslXUhKPr6o4xhaXs8RwebOfY4+4tIrxsJq+4aG5yFFYolivms24zmZZI512LvRVLBrPdaesh3B/QF+b4QhJQB3/haLnNgsancMMG84/HEJTywWhOOjE0u9jo7LI/BUJptGtdgF/P0K4hEh16SlTm/wPOrxru7py+VidFIjNzZwR3/pUxeD4tPJeDLgGXPcyAUkR3QZ8ngA2vKxsFx6I2xjbQ2VW8fwfiY1knT2uNjWDIthjNy/axQRh8x6S/vGUMsPfrVPgYtqB43E5pU2w3uUyx7CRrpstgqFJehg2x9mOW9ipOHyw+kFDf/nrrCzB9q0TW3dtvsR8R7MR+ozfjUmtjnAjO5wVeQw+8ZXe113wxHfcDdKgpA+trnsH89Bg6hAN+xf8KXqbboZzCx64p+AwiKC/ND8J1f/MYAP2HzzmOSUjVBfHQA/mW9W02b+B3/nXPUi5UGl3HzcecP5LBSxXWH42OKdDikXpuuSThJK36t0b1h3aC7VHTL2uaTCgX0pzN7yhpeR0sZTOsf71Omp6kHd96dpfJ+QzZicj7yM/xeeqRMGj6V6my+lmiRR3EUI+ycZ+lEebynl/E/R57dZ7czaJPy0WKX4ne5KS4RFbPaCGcH7ZnaITYFafTJWMzR+X4f8nc2czFN6IZQwxgR2B36qPSB+jqGIakVpW02DBqirghD1TA8RL37gUWt730ifWS193F6mVSHtdzSMEgFTVi6KrkJjMGsgI2G7xfdbysVJUfMSdmFMG+/BgcGJ2w/r9zlOxpktyXGeycT9aiHc5YXft2ImV9S+cggxoLDI+3gMaKNe/lPzqjSe5b0Y0dBt72R4ykGVxq4np5MhV+i8r9r/dJcQ0T5hVgfbWI1tHFEfwZnnKWPQKto0OYqrPtIf36XO41SleDyQYxphE3U1VaA0Gim1X9asGn20jis6XZ2LdyH4N5sDnXdmj4ahj7/BNf6CxyuAWn02TgURQsErzl4kPzz5u0E4yrT/SHhvjr58kk2TvwMVjCXk56ROb/biYyDLEzdHW8s0enj8TtHhBAjBu3wpKFRb/Jv14kcauM4jb6xnisKjFalXXt+SIyEPVYWHfjAl//qYoLwR2EoYY2sRd6uhEdV1MXtfk3ACJkcQHktE5hiw0OlZ56cpHXEUwKHvhy0n4QDncM0GkcXjC9gH9Kmne9w2PDceubLD9ufjJYrTTgZgn9DyRWQ2ykCsGK46NX4RE5XPpGH59VTe6Bl3Yz7/YF+1QotmeNjWIP83vjGbh/to0RhWurN9NvxZ6WoZC/lkHWzt+Vj53ojDg0KSCn1FV5ajMmn+hY54UeC6R8MXyWxKf0PlNhLLtonsFnJ4fb/ipPrigVgotDZEQYAzdLrMOPRrGhyreueu4zVrAiNtBChyL7GOUq8RyrGrBniW0Z6UTArLkRP+8DP5PwQOCTOovkcyU5sbMXq7E6stnuS5SpdpiUC+++dtFyfDVtvZECQJ9Sd453DUAMTPPvu8bRBe5Lgf1MHG4waP7QV/4GEp9xzqiu2148rBuHZym/GOtcF0OGWtOjlGM9GCKEhY51jTyXPg9S6faq5wZ3uK0NiPbiH6Kt5vbMeZxSDXZ9vC3JQC3pdzwy3D1YJN7XU/F9lFV8RqYJN2XC7Vec5gyCVHqKZ7SZA/FKY0sNR1fc4UZI3sY4sAThJ4+uIoXn213iqQMUxrIaRYpAC62cbq7F0mygKWCi5KipMM0YSTptgiDn8KpYXgRMV3grT9O2D84X8nSpwoz+WDFZQ4XJ+NurqY5iYsXwRdWVcr2pIZY3l9Em5sBr41HVkvYtHskakcF95xop6Btib/3n7Eh0ob3IXw2HnZwDElkrgPtNtHfitBwG5RQD5I+ZvkC0ogr6tOsEHYJiNf7HDHbfbdB7YxwfWMQ7t4EeVmhptCY4w4ZMrLiCbmjvFg8mqezV82ZtvGv09kt/t0n33Az5scb4c8yjk265krahkN8kBLJOKS/0xIFWnJ4v72odm+Fi0RDtzV1IQgvEq+tschF71l03WsWBGjH+9elN9mo4lX2XD6cpSDMeC6tPUI+HqMDDBAla6S3MVRy2d1MLYypZnUyTrKY4kc+MPnyAmdo8WWArGvHpnJSYn81a+/xTCvNlGBFvRLZgSDfq4FPRME0O7anFPwxekwZq7Vm3qrLEdhBragelQ6+bAY0uwsYfhKhHVO69Y5KULUU1DYraO8S/JozbZjj8P08+KFXFnDUlPiIS3AE1chCYIrhRIlc8YofnXCJMi49006jhYrLnbUNZKW3/KDyduvZCqET/RXJh5iJdq5Tfh4VY5fWJ8oO9vz8m7cZmyXLfUxN3IY/tM55Qeg2FBoS+y6Rrp7FmbiVMqZAmaXZWBpmDR5aqEAx4qDFyEVIx+kBdeWi0LeWT2tet060HtR+kpsfeXxM9BRQCrCGdKl4hIQGu7YyrFOldwJcmc9jUiaXhOwQnmwuTivODwblCrgtzD505C3LXyqx9Z7aMSR08tWmxFNDxEXZ48xsBoheczkKsASkuiL7j/wtoyoAfOKlehH22IJARxKfLjkczu4Y9/1zkHMp75YRmqwFxELpHPV91ecKp9TBY2g86UGVWDdYLxyr/+J8+pUjC++r81OFugpTRJAfKwIJ1IxTqD7veRuAiEzVwHzXEOQoAsRiKSLsSKOZCXHcAldQRETE89bUmPtKhHi5B+maLVzXOXJ3TV1kwvL4iAY3UTdqeLJc98ezEtbjrw5AZYD1N1g0c6wpS+S4UnRNLPgQ6O573Fwqkx1T5BejUFZXJ02V0zPvG24YhHIkeIYx5UXP7xWIh42Y2y9kLDUHWtFssSgHbocByqSHm9HKarFf4nLkTNfony5iuXvnq3CIFoUtSGuiQPzSfD3OxNjj7dRp55FzigmIsIKEC3SNDOcLJQ2rhg4A7ARL+wLd6xHf0L7UMtSTlMKM2DUNVaJri+mTtnZ42t7Cu2NBimaHe2VSU5t5OQLzdHttrHSbSoaXmY9JJt0bLqQBw5beKZDzCqN6yoa/zgi7mR9/QP6dgEA7kWhx7W9VvzA2Thy82nlmCTjZJ6ygzzfxPZm/jf7UUTwecOzg/9bwOqONnNaB9HGRiJj1hepWUU2fmd84TCeEKapPZQVlySbbk4rGqwgCKdGPqjH8ujSeBC8Jf5eLA0EVD1ca3O/ESF64mDVem8lebmtmJnuIzzZjVpWDp5NekeyvzSGIKjfovLwvTt9H7ZJWXax2yr/NRa58vy6IVZGkv2oyu+u/dxc9K9wYQAy09XQVlAZGYZCh5TULPayDWKYA4SNp/Rn8uz1eQ8P6pULQJrbyy4tw4BFz3fQvL3Xi0NawC/WK/cgzhVDJnxzG8fcQZg2Xnup6PDTc/wTzvYMw0pBbGDQgq9KjmQc5+zSnwrBQfgKMAuCHFrdwUlCjQuTi1NEt+nZ9kOtzkggMNSZAINTLDhLodoZ1ah/NJB7K1zrazDuqPUsun6vclEy1yfJ6hwO8YGt8eCE4Q3KmXRQwKMn/cvidcRyEmfD0Tg5Lz7t04c3oc7JdwyLri1pR68vjjQAKn0VjYuIfLRvnbpcZ+wtGx2JgqVMyfWNW89drIxR6lQEh/pi331TWMkGaNcw1MYxiyCzKKBk6Fv8yLBuJTiJS1mygUKJih6s2PqptnZFVq4NXlcWPBHGENSPz/AGG/4vdjOP0cKr1IOxezpE97HBPs3lGJ+D7yDqhNq24f6D4hr0yYBVhV9eNPBOHydZqYtJ0rDCR1Wz22hFgk8W6cd6ot4GmoNL5BRh8b+nRZu5yvSNpKfQqYKv1PW3BXhJoCZnYKxKKf5+JwHQsPxrV72CWpBeulGTxEZB7PNp4m11Lmhjg9+b0cVmfzvf0PRJPpBb2pgX0A2w/xZordim7Q8z7g0EasPipE0FfRITRHxyRX8xqEYXbFucnRhIMXTO3mbo9DAEalTnU7Pgk5ih6a8IPqMHm9e/5nDSjvq8CZrDRx/aiEAxzkxQupadrnroTY4UKH4phrKCdB7uAST2m5NJajS6lEPnjInMteB7snUC2iwHAdGLWKC8RcIcYaxa0q519d3e0jR1kL3GEkvyybhYAoOEsJbTCYrQuWtrn/uNO2Aj57uoFCN4vt5ALtDQSlsPfalIOhm5jQPjUsDd9IAcHrTwaBx0C+XUL+S0sfcSyB2S9Ogr7liIwqb5U/UNxGC6+KlaFXWJ/XJwXnvOZ8DkZ0t2tinSkAEnDWtqPbytLjHn5Y/unqYYF6jj+QOsYE8ZWwGw8e4IvszbH2+tnApZa9gzIh9q+xBmer9D7Zam2PF/Z3tJdCfetq7SAScyen/qixvMcifYq2XDZhwlsxYRfuI2/agDyEocDflh0cdFYJWcFIBhzxVSWSknRyLld7djkbmiCGQ/zIk2pi+p7O40p0yRyDEFu4gl9qf+vi56wyfid5k68eYHMktWZCT311NK1ep8+ag6wqj17oYOrZpYkPH8RSIZjmAPvFmeA4cdIWohNAQLRo5sP4MlUh7A3pKUE7GCqlRnP/SkGNQda2tuqFEhxtZUN0Xxx+HYjCYuwdIEzPP/EzXTRrtvookY84HLUteGbjk1bhhSf3Vvv/xUu71JZ82QSMcNfSwx3Wr25Gff7cYIx1AwDvwtK1hrvyxO1l6mof0MWP65WvSSbOolvZ9JnUgzneb6eXDFcasu0RGPcO0OXPvUS7krNMTctcD1KnI96Cg21n6Hbv56fskKXWUQhCbAJ3M2E3Icj9t8Hxizm7QRgjFlkFUvVf9Yar9qEhFRldBsgjGoM6x3JxxSy3h0p+wXh/PPAiKS8ykFFGwZlFIo0KPRApCd8mEs+tiXUy+d6HHyDBV+WBAE2t5f511+K1o3jQTTe+C0IuCQokW43WxesPmC9D20UCaEzgKOiER5tzeS0zfeHtHFDZyin0bKAgDPr3KeD6nfzwJPxxB1HbI200Qglj5qhSKlkEF9pFtfKNJv0J703ghHxJN/FCiABz+Cyxyxt56WDQSZe4JE7vUFj92MuqclI/G48RucoNvqNaxQEyw6eNuIv7uP/JBrve7o1/G5N8RrWIPN4GRLRVsgoOpRdc/TMglwGxvQuOfxts4vsktNwEdcXdyOEyBrJ/QH6/qJtFv2a7Yq8pGKQclZdvUMOu2aAv92VfTECeHBFd8PE8M9fl+pKpoL7TWSXkyYV9OSmPfOabWjpoUQ2ZIXJoI+DzUzDxIbGyXjrRwxJKnaM8OAfepS12BzqX2ztlKURidV8/fvoFvzjo+ejLHdIVYXoNvshsPjLYXJwNJrkwBwKoeXcbPs6ttMCgzD1+q9xAzAx6oPogC96Bgyo/6Euz+WCEeNZAndV57NIYQM1Io0nlSUADSs5Zy8tp6hjfmI2DZKjuaxppG3MrAHg5sK3onWNOAhb7YPPHQW07BccBD9Px6EjI0wFr3EUq2n/oyvjDKe/9ChQ/lFoVf3uvjUIz2JM3iOA+i4Qz/KpHIUIKkb1ay2CfsK15lSEGc+ztl6mqNtE+/We+cpwNv2sWIRvXiXalt7rRYcIsKpoPE4vDgcNElUtAEvaxG8PRVCPI1im+O4rVUR/eDykC1oa0o5nvqZTaki82qJnSL3k66AUk9NjEfbFPLfPSLbVRyXovY8IGoQPBb52eBpX1Pit5xPcG8HYWuJKTwLhYTvCRVuAUC832yKL1DF7vpmrZ9yX7Y2JTmjYU9zE0PiN0samGN5tD/nPFNQ8YqbjHxtfyLDBbc7hjFibNfs6hJ4M9wdA/JUUy2FegFiiak4v+5zv6C5VozLOVerR0DQB7gKp1KNIz6lEcYCRzs0wWJOwFDuZUuMV12VyJTyE2EsuHBAWQ8H/yeR8FO82tYq5Tqszc0PESWnO45ee6kZDTssUgQnnGhCBzkaasj2ocbqCgfOfjNWFdeAzppHnI1gv7z5uvwRNaoDBnIxrZESGTpLfM3RF0NeCIX1xfdaa7G9EYtyUjUxQ/X0pvzDLikI/RbRJ9k0HSdnBDrfuSIZte/cVYQJHy5LQdMG1CaC+kAuSod2YUARFeO+BzkCVti+DOB456WkkBq1UlRTMc+41b1euUoOVswF3MvnT5PTlBVCCFUP5RwCmDSVcDoXGeHzQlVhfMNGx3v/V6tXgVHi5vEkyhhPvJs4x0Y8tvFE4//kcmZCHNPPwR51fZtdiNKtdRZJJ+XEf2SjK09txTvu0xidNJXC8qtKEPoialpCu4jw/sY+DXpM7X8+n8JP3AHN/HsryUUx7FNG8DRQu38xfiO3Um1ZOZIVj0hM48LASIUuep3XBpNfUMu7W5WG2Riu8ZkxVbFTg1S4JOI0bPeZv3p1aRIDC7ZTo1VeiR4Hsq2ltx+3RoXBMectH6RF4LPoobHKtQA6gk0Z8RYgw3JLfvzw7doMVBwjDrnlQjEjRFHkDbo8tdUeCxcEDaEX3FRKEOlnen/K0FkbHm6m0ctfGXzFBOzjhx94M3deYjRFxx6JZzukRr7+2ZRZy7qaHwJ+5/aRT1QPvGkBdaTanMkdB24JFerF0rKiEMjrpypUR3eAcQUA5+XsCDBK5caJqJ5dTisq+ksKU+oaco6jNudCYlogKJt0qOzd3v3SQZQA0iUcDbkqyqDF8u8Q5937hRk2w/JbxOICfgNjHCVLyGpL24V8dRUnRT79Iuy17snNIqa8hE1JA9as4En3Dh63vFUtyh4B3lY26zzyCLO5jFtJuDQXBtGorrq+Q+v/Q/UiJPmvKmjXFpG0wuKryMcGwZEr2y3FT/L1O8foA84BTnUBwh6BgafbcUkxGMb099YkxNtLKpWxu3WeRaoDVl62lQbYIjaEyyaeR64yaHKKa8bmYGzdjoPgAoWblhCdHpsMSQOvNZR19737Gd6bZZ3/MvCf0Hjn9yjTlcGIyAEZLIltgKq12tMmie4yfoLaqq7CvoXvgqBcHnOAlVPwCKdOJW9Vdk+Lz5PnOLV+/wAhTY0+O26UDDCk9t+ksGsGwS2OXYT688XJ6FXwDZZDaRVHIuLiykEhIZLYPMK6Bu7SxkquJXrqBF0WuFlDDZ63GgS73u/YoBxGfpvrBQOnzdW3gxsg45g0HIiKCSGM8NoP1Q35IQL4iWP8IcDNGIcJxZOMgYSFEQ8LGp+mEAwsLb3yGZhZlSD9mG9WqNLftTmO+Ci6Q6BecwYASx2hbXeKgFUDXudKLOgSZI24zLBEJkD26dURWflZPryYPumBbCNQs8uW8E9UvaFHgGfZh/wMgb6rYaCj26vC5uqxbt1FVlIj9AfrP//7yWBw0xmMpgb4d8/fKih9hcPzLebWySx7bYhMFu2W+qZcaWPqj82tuucT76nIXA9zTCji0W/6z0ekbv0Vhzo/jBTFuD9f7I5D/+upzx6BE1KvyQE0erAqridBDbF5FK6XMwDjJ4obJFEoNu+2bZILwO0NtnF7XiJdQxrswcZpqDD5Ql1ZCAqPbVpl8q5/ElvSRSAUKroT9rqH6Hcae6f3FJ+yEqEfjT+2+ieuVfz//+Cg71tlsr9vOYxyFH6Hml8Wygp2ScvcUuCyUAnz90GisTuMeqcXcKb6jyQ/642l2Shek3LRvc6+LwYimQKD7rOBtnIyJyP1xMPXcad+a3POhPSVOZ/3TEJfbSLqM8v/5HIOjksQ6ZDrAtF65XHa56JI0wdowXBAsCIo8mshCHyCleIUUl7aDKN+DTnIvrUJL2P4J2IoWS+uOKm8FPAXY3T68eOS1Rr3ppzTv6rC2hI1P2loyj4GrV+FomTvRLkLVD4Vr9duJ3m/psl7qX8l+g3v3wdS2Uf60aOG+xbUTjUTjQ+K/+4up0ON/4Epygrq2AuJPRYLOzpJNOBAkLt1R8z8QEd0c72s1l3eGkFkOeXGrWCHo7XhRk1TilYK7ubKabX6wWaDDaA56qRmurpmOQj8Kr092YIQ0SJ8NqLeT6Yyebd76qXkp3/wj+ssuWDwpX1iwAyOQbDTRNlIVnuDxFt35bnd1thcXFLIpIBjYRfvwg//GoQFYmQvVjXcKJ9EQmIJq2hzmiJ32oR0BtEB/rHI+QftRvh+LX1jqeOXnnERfl2JIY8+VzkEe3aRZ3F8N19Dm8JuaFLiPUqL1u/5ECEbXw3lbH9q/QPUL5YGTaW2QoEmhzyanQOZk15BWYos6RJlrmdo/2wDB7vqaPRKRtfvGMgG1YK2tn5mPY6P0dip2vSKwFrOWYpRVLV49BJaqkdEfcD5mlP+1Ckp7WDm/mTp/pp+FQhYELqjNFblMbIGjTLM5/OHAFwJHi8KyBi/YVjEeg3XZzRV7EH7x65z/6OEkxszFN+NZcqh0+pseHpBsNgk3430C/hNHIjM9w4w6K3AXbWbLAirZV+7aLcCDyYL+JY2zOw3hqwC3gKPe86z8z6uMxzrC91gl5+PHVJy7sZWo1ijZPzKRhY1B4mCa44vCOw/QeamFW/MKfCM8y3FpieNsZ+EVSKMtPPuKsF/hpNR/c6FJCz0VLYb6jsLsgi25zEKUOwZB9llwHK8vs5RBWSGml8zki1Jezmp/5tUU78Nsd7lzZVxSH3+7wbAYeeH5hO9Yj1wY8tFAswl/WdsQrmXTYHms+ORFOlVoRHNqFKlLidD86MjZrdME9JFRM3E7SbHRuRfNlfBYANP7sIrSewByjXRCyocoHqISun1DsSwViO771fip93ZP7gednrC2gHb0/GnjzWbi0lElh+TYH+ChgDrefZuxqMRY6WxYdLSBDBPk1vQlTsgweegHwi8Tw/zxJlslH0e1uYlO8EdDsdBzWitnTfqvAhlNpuWUVISwykm7mqN73hU1cMB3KcVZ45ibshRsfdPptmHw2xtun0B57uJvHchLF16d5Blg3rOfn2f03mRUFWFnvjA5ZZh2JpPcvP8oX1Wj7G3TnNtVtJoi/ck3wAmnZD5AdeTuswG+4370UhQxg8z0KC2MXOC0oayroPoJFKjMVHj7sPPZgpLkEfalrg9BNIzvkQWlv2BwLkNBCnZ4LxQIiwFDfzaDddHvdVeqUaJcdORcKmCMpWg73UUQoooCko7BqZO9pscxDtGPcJCPMjPjPQFkWDvRG8ccmcsqIntqDhi0nfaptWVuZgHNJhCcACKECci0ssWWx4rhYZq+/+0EPVx8P9HVjWeE8pSbDCvWL/cNht8B1iZJ4hy0fX/UAwEwlWjQIvrVpUJmFvTTQRSe2H9p719Fh+8OQiJ+lB8lgCIZuuxW0AN+AEnPtAudaEtuMPTGUYGzhIQbxXVKhap+UCnmpCj9yWPODOUgRSkCfLvvDkRf+uBLresQ17bVyOh/xjQ9PLCjD2GZoJ8dxlhQgw2g6FE4v3vwVy/8i/xw4Fp5C4PQNmI5aHfHCTM3A/zbzR6qXCrBwbTLaIcUY7louaJckPIUmKlA7m4OzF58l9Az18Edv1PB205gE1vieQhE/m2OfLuFBleYsOejPsuzd6Vzqg5XoNgjM+mW/sO5LNGDE7SzA4WDwNzngzyRI4LSlf4g4jaXumAIbE7bh2hdjQuF/uaeARd8/R//f5d5bdWMBAlT2/svaQ4SAoEjm9vwtiYqyjBACAENBfBNHYDVud2aYpODt3ahldJ3zMnxO70Lfy1F4cem8SK1oVsEY5J4E/2N4kFEEM0UkTIlZnLNP2EPHESfpBzcWZfxdeXpZmX8jN/rM/IUSj/2EGNViBuKMQV+167YogBfykCCWsVsO7rTU9O2Cs7Q9iXEtTk/99Wnljhpr7xr2ywZF3o0VEcP88s4B6yUUcxsxaiNDOWWYtcfUBHiyUo4wEqQB3B6i1ooZXi4sgtWKZmBCjpc+a1ygpEiDOt9W3CQIEV9a9s+IhaFxSjHA+6/TsviXheQN2Fwi0ygWsevBIE7fnKLojSxAqSuNmti7WqAPvkzTtVH6nBYRimsFLK/gTHTmuymRfiPgm+FuobA+VnWAg8CXxMRo4z1CwqUtVb55RKN/DmqJnQq5/x5I9luhajGfNuK+yK//a7AXHSd3xjyfp4Bevpkb5T2hq1aqyZYYEv+6ahLinRCW4olnP75VoR5PL15dhCKkNtP5xCqA6aL7uRNmcAHVdHbcU8v911OMWJuBYG/ExRz2EFsQ7eRIZ6/DacFi4yESed5MQLd8M0kQstq7z8eXSoaRkYAV/dqZgA28vq2NeknLqAnEDoh3O8AeF742xa1EF6jIOF8iJgfkm5W8n+R4skIwMyohAmm8itfbOTVcJmhRlDaSPLEch+3Pbcqa6DqDYj1hzT+0dNRNjrJeB2FLOJW+iisfPBsDXU5vv4A8IoJShJ3AVipxVkTNX3sn9OaMC/eklQ63K0XnQjP5gd9UiM7/Q720DRrw7mkU09k4ciSXtqXOrsPZ6pKOph+dt7EYNdRKdctkQWTwhMIdpapALLqdUwW1Kn8yBOakKGk+y1E1/NVRNWHSmaG+BqP4tLS6ccD86UusQr0P1002KRZGdOHs9hlookAkznb/NvPR+9ukIOdUEh3+4JDoshULH8fsn+Q87J9WPN5thWP3cHEGG0MgRsE5pSlJR8jF0cZm21hrS+MeWPmcTgX5qBPA05d0FAl7LxEgycGJHx4SLVLRPK0zFdW8urQ2EcHNnZC2ZJoIMABViFXLL60OVRG89lw7mg4eB5/GoHMDhUY0Bjddpe8gwR/FE7nkKVN+zwi19yiPjc/ZYFo14qGnUQXWcwbmdiaqJOWLujNRHbS7OVLQ7eTWxy9e8wxd9xhNYSNLagbEZsXuaM0qKwe6Kw5Ag0plIjEKulNzdW9DhA9UMSs9B2VKQFMomMoPpbZYkFEugebXEfxxixaw24mvjypermhOjghWvLTwYqo0+wQZG8DPbk2vfdTdQ/44asVapHwsqIgeI5jaJ/KqThU9ntpdh8hXHEK/9Tsv+nbeMwR23rtvX4jKhcb/xsAvLpjEk8KcuNwvCfGTCn23r0rGTIxtZDhx2ZCW0BmYZ8FIQtkUgjXlX97vivPj4iMw0nG9feLPijENa0AZ+rVG9s5RYL8m/Ed8yyx1eq0gySBFxLfxo5YVIA2b/gU+E56Wkvma5JxJSd378il0PHvkoVfiogUz0oIc6S6vL86UYedMJGwIxqdmiWMl0+1zLIA/Hr2rvf8N0XXPqqqoEs7EdL4XYBBsqKeh92an+xyPPg3p6CBL6IZyfTXr/mxnfmcmKElLT+p5ThrYSvcFkOFL5PELsiItN+r3oACMUV7HCJ9BuweMbDoW0tWkzDrbuwf/kMJeByDHsrTSvrEDH5Sj33+w2Y2xcC9EeORDPwEAQejWKczYwxFnTPFDyrQVuiCpwITOdB1Ix/hiIo7RPuMNw3/Uy6Y+jxm9vWY4zq+zg2XSMlzBKi655UyM5LkAEFT055TivW2TmnZ1gKE2/KD/gHCjhClPvqR6RkmdxCd2Svz6psPfoKdTrlv48Qs+BUt2cv5ywXt3+v3xbZwrx6oS3NGDqysCEcHphY7LSf3YP/O66eWgFDPy2V955x6HdCHEjouSgyetZ42nYzO6atJ99Bc8TzshML8C4UKo5WEeSbr3Rh2N5aRgtB9YDAeuhnM8Q2OR69vcnuYjCxrzc4+Pnk4cvtrpNoPQTq8muFaXQvNzBk7iEfxLSxx2mKuGitEFtX++dtBVQeYAhv5CnNqncljadp0TfmORxxwZkptZQIvGwbL5p6NrYfDRsD0nZSf7SlVNIOjpc+wIEV4OIfIDY/3qOfEAipb9EiJwF3XIo9Aynj4QCGwntxLnyu88WJj2zYvtZSpGYDjJIjLPyWVDpm23UUqEw+YQvgw8UWpwOWc5Mma4W6VOoCjVrkyzY3UbUPTfWdjxA2n5FLrc27NcMm6ClHhoSTHPn+A6tqHwCOKxnEWjCyCdNCW5Nef523Z/1h7MiIXV6qARNQLZX/8njoBMZUyRKl5ql8RlfdpAxe1iEoasF3vvOkHISZwKwORQdT2KFGHfu9LhowXLy0RtINZD4PZCpZzmusgcj415Q9qf9po2eruKuwLxG6OCLOLG9vS8WqjKIxHuEc1/Racf9rbAgXe0VdOhacn1OsLZE8pHVVlaU+NXWWB3VoNELSpidEnA2gu63Q3kiWQGYwEYq1IKGY+AUW8iUdGaHFVFiyGBH9bVxuW/x6sXmHvb2L/u9JuiSvcrGKnrKuJ5CS6N+5n+EnWneUPEUUaklWkRAbZlz9fxSxVelcM809o8x65aNb46hFQRyV6UMb2DRMRv2oC4YV1i6TUJ8l0U0/Yvd0j63m8RGIpjx3I5od/T2TgZiLoXQXv4QnvOgG0hZv2SLWVKxDkOw8wxqZmgh4N7SNagET4+srwsmzuaD7o7ZUXcsF/6Xd2x07TmE1LxLVWxTd3nFPVYiBfNKrHbGbaEXsKa5m1OLSOlK81vBNJ84GRvlaOJxwqsaVF7sdHmfirmkX4Rd6iPe1lTO3VDQF3S0glf9y8FRq5JMCcRCpBkbqJmADY+zZhYgidEyQG/HXkoY1Clre0k367+FQd5cwD9BVgq8bh+gUzWt2foHn7Sk6NQ8YCj8uJTjNCNVABq4CC77/4z/Gk4HgrQKPRZjsgGNpFjrc8SL3sfuHQGjvnFhausXU/r9I4yQY27BrNAZfGvuHPuoATlW1uIhYw+qTWincnGq1eaXhs8KrJ9zzNMTHUmZY+E/aV1JNK4f1N+BSGmVOe4eNZbtWBW0XSgFec1Oj22tf1QS/x0zn+jYUJ03ZYwXEXe6f95RZwUXMwGMDfVKPnQ7Fm5rSGOiqiWij2oqCHLssH0s6fdPm0SqG5jnCZr5mhEDjD2UDF4wvjs3AMtmxjyECYIei3T7YCOVjq4qtexIZN4QyJjIocqOc6kB8rn0VCTMeYeg4aty8NdZzO5tisXhoq9dMa8MtJnUZIqsgaQawRiMaDTBRt90FAyTGdeStV4yBtogEjAuzlFyH0L2iSfJTQQWbn0XIpMl75/wjn6wdQvENjEjWlIIeu0shyr4aqy5YJAJJV9zx1EwMzOZvlRc4GXlb9uWxArtKMy1DJYQm4nMH3olkLNYZDfZHZPAVrvyg+gFzqxPmIB7SWOjKzKIPQWEku47ZhKUO8W2WGtgmYRWVE0f8d9AnfSKCpICOlGpjr6gOVof3BbOe9fAWLrj0w7JOZHMxkGYt8DdV3w6gdqu2v6/yaATAD+gbnJrXLoW3HQpZg8L1xyWTTTdSwAgeUsohol3GBwbpZgszkK343I+ks5aIUryu5Dwwmp+rUW7HtPjdaLsfCsQQCrGmR66nNNzHbvbqk8ZAOvLZ/VNhNcjOu978LWfy8tkUtsypGyPDbBBXx32GtKc1T6BS3mqAC9/iG9KrFcW2i3dqzhKHGGok+0/f6Z/8V4ctIUdK8SNUMSpkv/96yypFFqxSkjvcntqxC4zgkH8jH59ufuGFwPrYTLXRMRu/LVf4J2XX59XPe9T4uuKukdg2mopZlC7SMulmSjEJqyqORCFjl60ae4ge0S9qX8083+OeVPlqKSxHmqGcWZO7TjEiHYZeLcaHKzgynwOvjv7LqaFhMVN7196nsGjnxcNFBs4dYwvAx202fLf9192DDSbdXHGjH7fRy7JzJeTXoFG5gJThHFN4p2zMzPu2LE4kEeGqCegf6vTndTjZABdA5u+sexemLnAZy+n74EdQ2jrlzaQhnC//L/mwp+KdzO8KyYJ3Bxb0q8GyTmcwH8zoIm3Qs4M8r5D2N7h3HkfIUqY/DRidfapGoEMPpaA+f5QtzJxwcMfsxHTd6f9zfJsjqnAIRhu7cchuteHRfYM2mIsMEDlZogOTVt0RxlEelJPzgLIif6fWhxaTyQlJTcbyUV8GsrObjXcRiUkf02+N/z0cYkcCIAEIIHenD2BN8RhtM+M8fEewMww/KxPtIcce33v7WctP+hSeHM1gBwW9O5TUed/CFBaqNsgyL0CHkTqWppVbxKO6/6yhgpcGjhqvYWalqY2Oquz/3SsD6rvyn3D/IFIEVXa09o7BMqci0KGJNMUKxNMFZ7sbPDJhynPf7gUTIqEONc4xGvMg1F818R6x15Q8guAoNusgRgVKxejBZrk93zedo6Kv0ZfZU7d7EodsOLUAx8xGwUcsrVNz12MjNDtZtMZFrwH643NmkW/3PGcs+cdF63b60qPPHQ8hmdNhQn6yw5Bf+3pqQaQONZmdxhHRy8UN6Na2VmpfSjw7V9vXkLQTLTY3/TgbnpPuXLIgKVV8v8hSPbu05F2IMLCdnvM0oZhq1luZoTq+k/BsM49WyGo+Ofe6tUBvWnTxV456PBgCN5hKA9VrG4VbPPre636QRUBgwKxdJeJNVKg2i2iT9DCTfuJF0BCr6cQOPvA+ZE1rhPhnzs2LqVI203UHkMzYGRmrLBEtAkWwj5S6g0c6RNtR41vABPTAsgB1PTGXSL+daeaq8mKa+m4E20clBoDSqCXIWtsMgEjA9WMl3BBZ3nj6qGXaob6n0uQCdLJYJ9sbKpIcu9l1b2JOwk0/SxpRf603s7LPvRXmNtUYJD6qvIY5oFTHlHhlidHNDe/fsw+zqQnnhA/1/xOEU7aREnP/tR82+9tcyTnixn3DsQg7g/BBa99rqsL29+jZaw6wsgO/TfXqm3zEjdlKBs5K4/5aXXOa4dycLORNsD/XIm1E9P+ik3b38qXHZ4CZ1qopTpv3as3gVMF2OvXH2TnxTah0n59qje/X0rMMqanI9KztqN+bOtEAdvFB9xfGccnnOg8DXb5OkM4ePG+fkRVZj1IZYBurjyuS++DCBIGNv4VVBZ3DaGhEqCQ05mzjRZ0mMq1T37DCmHGHwVei1GTtw39uh5ATTYed7Awguyxz3QfqDByswiyytxk3ItellaqNdzqIjzWJz6Q3EjKAAvHEZ1YulkKt2iGMJdFrXzv+pGROM2bjgI4ezFi9ADE67BK384zcGDHV1h8e27g6LBZFjt0pYgNDWjcHiGxLHiTrCdh9hQquEtHLxVmOgRpU509BkfUbDWR1ak/XMhDSZeBeW6HTyN0CKHEI0d8ky1+NQJnxQwxH57DVFfZjaWlJDDz5KJ9iXJKRzZ4rpgfVnox2vcrqzf6wHuXRjbm1BmkYxUR5d5nNN1N0X0W10fbxNOnSHxiPEnAleJcFgFkFRTSDTfouDOBxL5yvAOmJ6KxPzLg8FPPGh1jxGstdumDUkfpTN/Jhv2lge3sqCWIkYVBw1bA0K3Ef944dtMahEoLNqDWxFN/htYLb1LSRnCgW4o0Rc1MCLmN4/MaMSBrmPnKyaqka/1EEBcTUNQZZt+4/aLY9Ws83MjQrU2WxXcMdlFlSUs6qo/be3G7d5a+EQwdiFmTDlERcJVTgfXXppuKOPJN+DcAYtCbHQseYBP7SVRy4Z3lE5WDJn0Tqwq13YMhOj34rHiaRDX7L+iMpFh1gRYww42iObd0Hpbpye7dn7oA4qLGC2v8MxPiQ/QleOTnqFaONK9AMW5Ocrk+reXbnF1l+8dWaKWLaVz1J143Atpm3a2866g19Hc5DSmQdxCY00NJnWma/u/MbM/npD0Kt8Pp/yR28W+AgxWFDlyYAQ60vxAjARC7kfA3Q4Hu6QrZM+5MagdYmw0UhLf4I08qQvZkj1p4bDCquUSISUFYLhxdUOafWYaKQ3kK8pQF1ZliXRniaKiKCuOs/CMN7amu1h4GmFB8g3bgO3Eidxm1K/4RdMVvvjigsftC14cP8xkMhR+1JV5AizwMnjI7ajUyb59w+Pr5VPofVxhy4QVrR47ycmBg8FktpSQlYxbRLVhclS+466EGlhJql3W+1TW6f72VViFf6xqpXhdZCh+qQvPHqEZ2YsSEVHS/iG1sU6vBGohnujJ7im9orn7m3LzsFeMqh/aUdiTDftvdVB9HOCQ9AAVj1mVZ5T+V3BLYYBQGlUilOHJRE+cxtBeaihXViWxXDfrdoDcjFayFoFBcgihn0ZNC81iNjgacHAcFOtyU1XBvCasr/telKVuqQq+16VWVCD5Tz3dhaW0prbaFimFGJ2rwP6b67zsEK8vW3YMDJBoUuDaeCUs/HNNZ8cuL0tKQKwr18o1JT7/4/+Ri+Z7DuHzSm+gL/KTy34oLf7Rkl2LCdDNULOlNV6jB9HCUX1GYO69rP1TSmIo/xMq15U9FIyfBIfO83GtizdUtZO93qh3KBzdZwDkUH4YjCpGcORWD2Uxxe7AzXNHpA9dWdX7tNCQcpNfTLSqSJiKXbJmwVd08BWzRE5pzlJHHXu9IM1Z/CdUGozw4KKBTlW4A7bF64pcFY7KRCCCUqQb6HxeddKskAFbLFq63a84+7lSkL8xnl6+Adw1Qg/xyW4qYxsiw15tDwvnJKusjWDwtaLdjTGk3Mx3euUHLNf99QJ2wUlVhUgociKhw9+2pIMrUvi5zlCDc0bosDbw1C7TrC7zU2K+lf5bi+gJTdhLeBtBLRQ805q4LbLCI1G3rV766WGeA6mldiOD6VAYC8Zddu+pF6nz9KDlvxq2sNSafXukIcUkB4AL2PllTaMW8nqMhvrBUN0VvohCKsh0vmgQYDmvsNyKbe//NcZQliZjSRhQhj947vU2tz+EKqwplCNhbJZXOEmXRp1ngbdwhS42sVtcLoNEwmnTBGKpKYgiy0Nix2kihCdS978eLO8Bzx9ad8aXH0dSiEzx/WKgJNm9gnIWJUsPl0PloBM51ZdaSMssGy2m2JWD7+XOOCAefRJ7kmCWX5sHuRb56gxQEqByPC4oFMN7DQAk32u1Sf5mzd9H0ytfXAbWswuAgCLdeY6HAK5z6denvg7n1BG19F+K1I2SDsrQ60yDvKJwVFDNRsutD9M1uZ3KKbkfb614F1/ietK+3o8nyaCesYnThLhR2DOgH5iNYHTAzUelcgJu8y8LgU/BA6eFWR882pdjINBe9vBk3kUc3fT1z4UknrZcqu+IPLLF+SIGT+kCWNtXjbn5ksnIT55X5No58XtVFltYZms2JpvWt86dXGEDzEMOdGk80+NIFC3xsTQlTllmA/lQ+Fe3XApw4zqd3zSroZe3cj7RBcouAUoDSfl5lpidnOqw0Wnp42QYfUG5GwaKLs+easCOeiLY0xZs1/Ocg2wouL6cjOIX3jsFcMZ2Z1DpEqBCelbxSecCjfE1NvLIiTrMZsfgV28ZUflPyS4ZZFquxsi941ZJaMbCS6eOjxJtSB4Y8o5GMyQFKose0jv/QxiF4LuAqSbO2+6fEKUDZXboNQW6jVdVycM8cB8/04wgBma1AoyyX/nkFtQQiTqGU3oIsX9gSnIhWh/2qK+SWxy2821dvxH+Ye/FfocGO2XFX6XlHbBtbD1gp3Y3p02m4eUtwS7NJD9o5Y++vomSC+Jz9czTvHdR7vY0pB6HgvFZ7Z52a6i/kvZ3kUCf5XfOJ0VeTjv4p43SxSaioprhaBn2DWdDKT+ANjwrlTlhOVhT0I3cJBl6bFGgy7SYQZL849SpJ7g6oxNNhMFmcNKvypZLOCC1KpPIxvPAs6kK4wNCPq9vz/Aanj5bgHcC38n+q/JjPEak+Firbb5r4aj7NgQhnW4ltEgDDm0/YuWvb2BEnb8/6NvYQxGBG4entptY+0rjn/E2KXQLSWW3XAD8UGePs4KuY/HR9Htw+/X5Blqz56Oche+UXxYHT3ifd11YEqGmQCRp8s8XtrOKY0CPTI+wnrmyno1Nzz56oe4K4uxJpuABYcQp8CSa1HJ87x4KEOuoGlT88KZpmG33pBEUPMvF72aIJuiwgkKpxGqcD8kxHmSlIzap0M2vyhTaGnMbEwGl9F9SQaggKAQAL5Ynb6D3Ko/NngbtwIPQpBXgvYYE4EIKc6CA0bsq05bXJ6HMDMKH776UQDexKYV7q3mmLsXlspt+6+4/nbtxKZPh+CK7WPnDrp4/rZSV2qGQD2bfLSkZqcaFkf7uNUsC9KdMzZAnyog2KMfGnHpucQDCJoonKbku02wSPekUIERkeecxDtxAI8rv/PxdU8FAXc6udLUn93uL2ksWeeWmRAOyUmXgfnBpbNrVgx/4GtwDM3+JWLCTI7+YzJV0tBTSGRKex6z5XeqZ/qWsV1rmpoBH3oideoVqecBwAwR9NoINlkZx7RoOj4GIBnAOp55UUluwm32XzA7ln87lg4EV3GD54frLJomyvcavMi0b+pEERllqwbR/2O6azcWNdoGm1v2x22Z/XrDl3aMraS/poApXKqEUK07TqL6MSd47VUAwDJiLkV2dcNAaBkThi8bt4uZHgFeiElApP1JQq+4HoLHwTC3GSd899GA1RylQbvBQkes4R43bVOTHUl0UNs+mrhTz7tRZn2OoKcUeqjfhFOE7Q3OkuOFq8RLGwn0uLWnnHBRrE4ZbFFz/HBjt1WcBH55RAA7wN+aWA+dfkgjzDJbK0N6CtYF6JPwk617u8JR6kMa+d4Wo7fKhezU2lmY2mAGjRHNtjJd4jlO5qBcp4loF/9WwWQJ66TdqnovgVfQrf694K1KgFrGApD9mY1FdGvs67xd4fO6AdGN1e0mGfmBVHUJm6lvQeLxAuJGpgiyh0pLiV7YeUUtL7fcTrnOo6rJBlxwWLGVTkKsm6oGe8KvN2zFUugGXT0uHYhCOese0a4CPgUVICv1vgDAmByrkJqfpCiWqxGaqb+fYdWcbiBAFbH6aSIKUVyplTYPQLt6oZyBMN3OXHnlkyj+uMof6J703CRNWdUdgMx7nq5v+C6XywaIWLsTmC05Z9+Stht4gmP1CSUBiXCSAfVZl5HcM/amW1IWRljPNP4zq+LMeYiW3G1LzqyEgXvTPdJpLywrYeJYihDvOJTLYfcjBRkubktZbch8SjX0gCj/ewSimYBzg6YU58elsv5oNkdhHtUKbm3Lb49kSJ9iuDVo/W2a1FCOjcO2xuLmHL1EwbPSUqiD5obnGXyCBVJB2gEhuND9naAH5125XnOVa4/dXjnwkJxFWCLZOoM0G27PghFiPuPnDkVGVNUAQQMYMmpdJFUq0HF4xJbaEJ+Dv10ox2HALtKFEmzv+KcIqHuMWXPMc3hJtQGjd4Y2LIKt3N9jQX0YO69unzVaDSJL6oX4/U61mhM2C90iXbUeHdEyKsxp/TzHIhl+fJL/sARMvECuYnfTwmcehn6fil/ISJhpZvgHXPc6h39z3Fs6kDR6t6IIqj3DspXTXNHf0yC1AICAN8gGyv3YpYiXXRIT6EOy+0/tupNSIQhcBYzIIS5PtPZ6THnOycIf6cbrVGQI0o5/7LgL2ClpSpzIOqhlXOel3j/gVuko0tPYZCNQlw/iQwTrI4T3SHxybVh4pA55gn1lMXEav/aS3XrUA7Wfunl0H1AkxNr5Z/sfnMMXdtvf48NVFpWwv7o0zLfYjXCpOIQb3EZcpu2nnZUWFXg4Wex/PyXfn9QDnKwkzJRNDL7W+UlCWawUT5i2KAsHkuwKpDEqVT8EadaRuKfOn541luFjox2HqhI9y5OwtZReJE2OVzl7yaSLtBvG7vDWF9Fptf8DdBfq55+Hes38p9l/wBYtONayPauYSHqQ91FlVVVEi3ELc/sbEVy6w5TTHeZAt3nfJ3sv25JqOyf46hg0IzqougKG6OZ7XZOBF9M3fnBjb+tN81WdLKdq6fdITvNCrSXdFLn9Q668jActKPNzLeFneWvlMP/KvYntQzDecAaOG1Ru+EK2dLxh61ViUG9VY0dYtm4GiuAM0C/JUoUz7raG4Y+nuoKQ6PyUtCF+WvrJgsosr42X2B92cFkMLKEGqZLk9hejVgQQjW0NVFsrsahBmKRvyFYShYVAoUfsdKO0bXcQGB+PnRi3DCDsVKCATw5AUyCa43g6kz7I3eOpz4e3npVq4VCekyEsuotyuxLVRIzagGZt4JOPm6JXtA7OORs5YSuzDltjkyWaYkjU6Jnmm0eYaMixmTrrqTmTsmhQsoISETbny267bdusfMiRBigAq0TcCETUbAvghHtcLlI99x1e2mzt5rMPB316fxHdYoc2AbPqx6QVbWq1OOf64nZkMxpE1jFkfUy7E5EaIup0uz8oz1Xx6JTsiXpdC6JYWBAvDJPIviBMiXig3gGyGYR/wEutESSdTVN6nONekA5hIri0noZb5CP+ZgecJcGWQO+Ct839n0EoP5YiFS6KZUtbPQwfcbF9J8YUr3jglWI5BQN+la8zx7DibNeuN5Iid1cPRPo2RLKv+475suU3tYJuJ0vMgF/6SSEMX1FDbMYP0p/OyRHn6ODSSe35lBMzWVL3JDDeke9L4otr9X/MUo1U12kCX+bcLh53dWEsXZlu4punBBY0O0mb2ZOV2kr5SMttHOFZvAn3bncbTjnZZNJLET9EMpdAtmuTIG2edx2Bn/rsh+glN27zetfV8FX013/enaZoOVT5AJbcCQ1nTSqK/RXukit5NP2kojshNX93Z0nZJ2eSqIK5D+XO+TF/Z7cv5twKHpfqY3yDUjwZez47FWEbr3kakDy9uPYS+TqD3/HWAzOVcB8TKBn+q77Kv8F2OQRhseZzDQzqLs+C65YwRTU0OJ4Fpqm/vSudRToXnXmJkGDPA0pWi+B3Mgd96kQHoME9412lC3l/cr/qajm/TxgaBbsDK/O70f2sjdKyZOqXlngO+SyOMvarOrKSPLmeWNoqtmICovUUQcInUIBenXzSu4XwWET3WJljvjsuXnEFvYAiD6VUvii/wQVwntrLtm2wMjEuANPaRvxZGdS/bbrRGJhpnEbAsFvkhweymLWjbTr1En8poWfe8xr+/Fm2ct4QsdTaenZNhiSVCJ7SOIRfaoZdOREeaaB+LPlCWBbdbcSv/Uv5LIjz+XvogfV2+P7/XC5q3rjsfnLvkr8d6ySBrHvY/g0u/TW5JBscRPlPsJKOW/Cec4TTSKrW6rsyU2ZoNV1iIqGx+cT7wywqY1GzEyhttTWTk1fFjBu7t0AZaP5uQCiL0ZJR6dRLoO3KjfUCgTtUs5X2O+NIYOnVAvCItAPFbylsMniRH2c6Esods5kcGlrr2XNiXr9kzMSJDpXugHjkpagXheJ/2gA5ttKlYrf/M0eroVaBEUYETP6DckucdlT9bn/XiK8CNAPcxlKXAQKrVflWDlQ2dLQBXJqjwaT9KOLX4REFYzq3J1lWbAfh0kOdHUzEoYxaaDvJ/pcKrpnZjMJ1K1z8089q7B3A1QeaftUn4Zje9zQpxAYp8UNDOb0LRiamBvhVoEHeW3W34pRxxAQ1lVOFYUegCtw2J8tGiAZHiuwFfpT64Y26u6Xm3wAtHVVRmMqRmsUKbqUBlefP/xmyB3yF2Zd5Z8SZCxNrC/3V9NJjaQoZIajpvwFRP7zCtd7AzYu78BlKj2CfrAztd+FZuUwtZ8IiZQJI1c8iYjkb9lXjXuW156K+ryGgbXKwq/t/Labxe8hulssdwv7ZZgOY3oQb+8RgrBvePahKiq0ReJ9Lufg7cto11yDhQ23C5z3WgwZYTtmXt8NIOSa2NPja1Qn4lhIZHtZcCbak4cL/dk0uXhJ6iMStnZMh/lkeFXRSQRFEXJ939mDnSWFbatqsa2k+iGyUxr/2P2Jp7dzkhWHBQgaXGkG7awCMOyWvOsjsr1R8VysxU+DFNxwkEifcxAcCdVYsmnCZBpKfMNHz8TLWGX4Rd2VwjiZ8e21tYt0f/DGnQgoR6BehczMff25TgeMifVLmo/USgwhNdYWnsnk4YnAbV4C/YRcPBqf336a+4LQIUphyVL0OfrBh/IkXM8P1iB9nUH21iO0jhauXlY3xKau2/6mJgYYgJKzpNOAbTIXUd0+q/rm9AdbNnL4MEk4460e/gFUGImUVzrJ81hVEsvzDng0ufc1T8hl6ZxELQoi/0yQoKwC0dD0B0mohWYf05svcS6Zm40ZB3r829evS//ke1fMMhMxd993212rgoo8WOWBQgAqSetZXrwoxVR2d6imHXleLaY+heyG/2NP3BHLIzM3u8DhN6GssJWm43OlgKjemA4r0lHdfVZnZaLJghxzNb3udOJF+IArCxI+agX7UOs5D4/72GDXOx7R858DWm9p2h2vKG1UYtZucS3y75mBWuiXGyKqcNCr2Oo8IB6OrcTlcHJenXgujzhLsxwtL0laI4qD7180XG3px945gqOcR/505awD66sE3fYsbqJP1LOaidutjj/kT/TDKqCDMM6GsChfA+dLbnApxPDDKohYkuH4a/W5TPY5QiDaPMZ0MeoQfbG9n+R/qTL1IpEtekRZ52b0AozkqZOZy5InaICIEX70100RfIhwI8sBfgShcuOVaNSEYKJC3es/DOzPb8wNNA8Spi8Rg86LlDhCXJQ433f+JZmjTxDA6vu9w5lmRPoWao8riM19Qis8IaaDaQzWakifHACIrL5DGRsu6mFL8km4N+UTxWEPih2X0IeCjBjd/jGcUqf/vmollTBITaAIuvegfPwzPDD7kiJpqyxGKdTeKk7bNJUMW26ktzsacmW66juLWSfj1FZGMnWAxeoDIyr20MEfS7SOZChPQT7in+Sh2Ik/6ldNKM6ggWFsyQut23yfZrFLwW1RZZfu4TFOvgC+OENZ754O0W7FqGeDXP2ZVqACtP0/ff+/+wAPj0woJj/IW/b+CcE4htYWazxqspV9+RuisivII+zh7/bDzwUnLccW34e+95KSCh5kl4Auc5p+wfq2W0bJdIeLytPtStUfUoA3nSMCreMc1mgQ2yF8lQK11ekHKURYs7XAq1RvIH92r1isT3Udw6FnPujxdt/96mtP89Mht4p1VAx2J3WfqaK1OKLqLYrJBH0BkQ0HKtJqJ+qI5W/94bP2vKDEuQhwArHjSJ2HJLJKl31YMmudxm+OeZBiIgktouSz6/niSF8gUgSdsfdOOdO3kd480bKTmcMC2J/rYTye4Ft5xxM59Ocx79KmZ4O2ppImh04/8FO8RhVumcq4qNMbJ/jLwNhZdZr08RBAi4awrYwrJKsUpsbxS7T8Am/ZbblQhVen7kYgIIZbK5k/ZAADfxWygtq87ftMnTRfAYSAIOskQgjL7c2z3fI4b4QBLb0uT9Bn8unzcSnKuGZEbwE8SMOsIGtoGMduIV5qJfFprZ+Q0HcpCYG+z3S58c9KqIUnGyHjhKAv7IGA/R7Zut5/x2hYE7Ydg6esKHA3wAwVZo6rVuhQHfgIf4eOVGF7OogMR8vrpfhbrxg/0qUeWRa3Wp3HBNACAc0QrP4Gsgon1QvNjzp8NLXYCYKQ7MIgMGm+DSpK98V86O5GHz+HegFb8HCgx+EEz7Amtyhf6tU0vHzcDh5iUz1w6EteMuH9vIKPni4i0p4fQ7QPWfgAVlUUpXl75Mj8c+ChkWwYJt2YMxbjqqvmIvDpWXrNvC7Kil5KGOH/ROLxe2b2eoqBKATzsdI3G4zk0cPP/wyJxoCMN8YexBna/0f390orEc/jBI7Sna7acponl1z7InsHLM62cLN9OJJD/99KepKgZWWzXSAvkmwGTRvg3bcusExv5fTzH6AZWG8ULX+IPHoghgi9qUm0IZm8raiqW5mmHsu59NxMvJbhxnL5k7QBN9xxscKJ4gdqjLzPSzf1/vWCsqx7TOQekYGPMXexO9cWgN/jTkj++RpC2/pjzONy389zoKR69/uyzI1BX8ewGlBzWLxJ6HMtsRHptKLIEyNDj3GuxAtio3NNa9O1sc+/2+hxpB5ooROS0gpVCzMx/mQcjgKskn7XFyrePTK/fmSLUL32yOASyHJd9bbSwHw/qv30DKdLsY93IIevW8PNkuVUgGFrRKpaJ5wJwIF7sbHztHEvk8f1YdEdmXhPX0U/BnvsC4SskewxDDLuCqKc8t35xVQQVPIE65ko25JF88QBw+RzFfL7OmsOySZeCiwolrlq2KS0fFXfiF8Vo/EBsTHJwxVTUxfAJJ+xIuhVQeCsD5oeGHUfWl2aAQsNNG/J/7YI9ymeMb8ZWstK1ckOAnbAzd1SHlMXIhJm/PuKQFPkoOY3tlnbqQxMq0XUotPFgA5MY2HeWFOSZBwxjD/FAl+p3Q44Baaoyv3af+Q7beBBI/XsjtUVQ0ReV+jS9Yi9v0CXAV4xl9AMBpkDnXPveSlgdPV/rZ2E/FYtXNB1yiRMFcSpMaavuaCQ9lxGd7tHW7qDXNRXAslOOXSBuGXQU0cRBstFrgEwR8FuqqQAk5uMDgADru3+dduTqr5yfyhy/3i1kanZJXxMXkZ1hNYdq/c/KUS0O+mDcx3RnDK2mIfHTXs+3cpC4jGDkOhmqMvxX4Jwmy7UmLGW2CE1WHCQNVxq0IvGMcKzHd4g/N16w4tF2IRuHYY0EMW/EW3BVomAeK2yqqHpqvfuZfgli8HFRJYmA0rqc8rt8TLChMRb/ifPyrtvkhaLYCs6BEE73CTdPUGD10f7oZHmd5q+2HdbE5AyXssO3zN7OIbZaDcr39YN4dh/ZEEPohbhROgSLfa0hA1dlxNv7pwy5SITfz6d/3qO5mNuFQpopDJFK399cFVRhoHzp/yDAtOnqQtLaNLrPM66jgj7CYJLrsgqU7MwivpKgPd1DNbZo+RHMl8rBmLN/kGJvryOxCr6Kcp7SPbQ2gaB4JLdbOjSVaVeB6/aJm9ntEgNaGowt2TmolRxALdrWLZszJDGMl0fz4rECboz38TzKj38KYiem/7U0uiof5lFZl2Yf5faS0D/Gm30KpC7gjabp1BLw1y89oYpQG1jWF1Q1UnJ7FNuzEJ8eTjeTw2EGYt8r2cC2Wpr+Et8cGWT49tt6qqvvJnfHZAbSpT0DtrTO9lASTs1yaBtNoy/rGWHmzlRk13Hwxr1lTm2ZXUahV8Gj7hUt2h9/8f7qbGn9spCrFYc8jLlvEeqKqwHjbTgVRRrUGmAVQWUSKnYYY28zHrW03MHT+73DnmHNOOv2QRiGOZmZg6csEIYWRTOzHOtYEo5Se0CYxLV1ZG+TQSsmXelO3nrrHgeGI/76q0nJfuD2UYrj8dkMOLfBuQvgLAUoPiFZSh0FdN55Ak7W4v569+3IVQnt+kAdGqgRt5Jt8zuIuwIzCigjp7rulWUus3hOjTcdBgylv711K8EvoRAoFIbh/YxqSDYoXvGxti34u2iOWyCaxpIw4aiob+alnYv9CncmtW541J29Alo4PNIW8fA6+GETm0T//X5cbV58Ss081YwEHGFQGojGGHhUwUN4SukYOxBXtwRbWIYdGBx8zk/XU2Xk4Z6imZ5lDMlEbYMvC1uDl0fBvoDDhYWrqOUW+GidGa0YEgNPIhdVEQVn6tpfsknYiF4HWeUCDvsvc2Uk3Ae5lo69uhwKMrtOBglzmvyrdFDlOw+qTd99KyISlt8+RqByEXqfh+g4u5sFCXGNjszZPGg6NKoTwkhqls7OBZlZ4lwMgDzeAHnV3YjQctdij+F5Kzh8HDrYO7Jiko/0voUIcmpgVt/AAIBMG5j0Oy8eiWIhhDwM3sYetFB1twFwXjr8njrcfQ/3XJb7EqIzicg3fYwOT59U3OGAgjtnYN3K/zR9j1xBlDLmkhOrz4NjOuMhVug/9j8jFf54vWihGTMMAxtzKjPL4Vk8N6oh4myXFJIePhnAYd4HBNz6J2jvlFUc9CwiHfyXH8bD3/Y2lGkHuYdIGGJttgUbcgkwDj7OiBPT+elbhS02xeX89yznxfqQbR2EY0gr5nfn9I+nrCkbI1CbOYS/UmQAn4bTxrdNBL+H4HPw/FjrfTa0TIogAP0MWncjFOfAcBlNQwqzZGQAUNaVf4TpDJS7/srgbKZnV5iZBU7PI6KjxaxkcPO3CL7SZGNeCzE2xNQiIIXkqBkIjfCuOkAYhhOORGDBNQrkBGeM2Vri2HC82OFr29qsyKBCH/8FJE70ajj0NKnUh2vt0EQkYLh13su24A61WA2binoMj3P/7MY2OJO4q0viLhGF7guiFCpfncPWiwS3FNcAOVy6YPy+x1Aih9d6B6GTQSyj3UMokXOhR68/NutHFOpfPy9Pi53a8ALhnmvb4aghKCD7giUwuB7/TyoUoM8V5iuILHO8sKOFzzK0sy0uykFrD2XLJJo64wM2oohn+qoZ0/vpP/TYtVmG5uSTBIEFeufe4R8kl+HyL9uom0bO39n6VbY9C0NCJRM9fZne9TT1yveF+0qz33aq86q1yOq8VV3OfkWkOwqowqt3tK3WNiyAFoqZE59EHkZ8N2vrcJ35UDpwKFYzJtkLFTWxZ1epG7Q5sATvhBNMaVZF7WPm3oHOZB2WZAiruHwSJ4yoyCF+bpED6HiNoJNz95HMWbDKqGBErrXgBbYKt+5w3nAhufNttqQtD0SeX9Ir5el5nO3tG8Vv4hC5vqIxecxXfJMC1tTwmKEyAMQHriAxtPp9fvY8KOrsOvR0GSUqTtaYssDqO4OmtncVrldsOL7FLlLTvuLrzATBizeLxeHDpLFBEme5n07yEaAhTDw3YO+6QVDkJCUizNT/JGGlQ4YmQlXWujTRPVQOS07D7NHrWGw1SVraD5eKeflS5X64yu6U2pY/KKPBdX9ZFIkOJNr92Mr3yJNZSx9PLwGTq5+7APDU2o4b6MAjqJ/kpgCFP4Fvr7ZryQ+8nVL1ciONbydEP0rG1ku6nSHfMlHtDc2btx6HLZb8l8tQ4zsugTA5q5nstYub9hCe+t2yxmirybthO421XrBHZV3MNiNYSRw28yrylrGkwBK+JzZQRbAhMKgZGjKWBpejw3ORutMpogyRPgaxnQ2gsoGCVzVZGiWb2Kge0swVVvIXV6e4rpJCQuTOyQq9G1LqW3RrpFJBmM/gGszDMBGzHZAsWS4BejmKZVHLCJ9OK7OPRmwYEnwt8vOY7zPENDJ9ZGJyL60S3c1DiPLSQ0e38KrfsLEmMfYo2wsIZSa9dPQjtQITKWcvMNdOOBa6zBnfJGbjAph27BWfCAmEAxENyxT9rTOHVJB1c9zvqU4gEhjJYF/BKbY/7A7q3unZ9O/x58VTZ+UfuXumnKT3LzS2NKoGvd9bxmsCszxTsQTqHJ+FQwIMNJBEBJXw/sx9HKc6r7gryQ9NKHUGXaYoN/73qSOrSuF8fCFiM05ctp/GoDcuNtZzYag39p56gricrACvjeUYlSL7k0pzxVdoRntgPiHkpswZCGJ0B2RBA7b2sk3CLZbDc60tQvyMQOC8kx1RtwuwYYTVl6PyZfvruUsRJR+fjz2ARPYS28ta2u8YksX/UnOiB04ey3hfYqWZo59i9OZa+ELijAsjFuQmwUYCrg0VupzTpRiezgCRK3UTVJnOSKwYieefHf7EKv3fWJ0dpUuMmlU4Tu7RYPRpU5GkWIDZQTg7NVWIJEivYN0UAXPGeTeBGyCrSLU5gjDjOlfzsFimiAWuj+OJx9dqDZ6DIOFg+0+X24VufUAeV+sgfSpPkBGdSttkQ2hCAE5YLTZpH6hZ97hlIpaPpEXCLs8wI5Ujsngtitf9WYvjeuXiUZoh/u3bFQJB6YRbuHgth3+Zr3HTK56mJeWpblZFZ8jqU+zqDVXJaCpRLWTPdIjjq6Yf5BoRfaj2EWfKOAkaMtQT3Yvujn1a755LWoMGmTHAIXmpVpAI28tpyFu7yfYF0/j65DWb2haDGdFQKp5xwIObj+n9XyUSlf5/AwLF9bHDOJvESzXCLBloIChoQUx6tavCsYVDOdr/CWEEY7dSzvpy7vGL9CO1fshzzzhBnzlf+9knX0bJghYzG6hziwh6xOwJGjYs0v5fn2DG1mdc3fZjTRipd5vGN6aSSAUoNBCCuMlN10XmzfgrQpAqF0BJd+6/Xhawo3YBymOnq6M7sWjZlCYmQIz/2/4APNVJzYaNsRfJlelK796SM5U2SMKrZ22qSbOW9Kz70DeT/60qJ+wzOLWxowHY6eb5leH825qeZd1SsHoPw+h7eSzeyd5QiivUgrRHo4GzKZA/odUH0wpi/yYLPX5Er30H2xnMG17OGbB07SDtcHMMvE12ygDJbbLdQdlUCoI5U2fQdTAgckfk7gEXDBykfcae+nDz4kKWIedrRMx3NedrKKrQgWBbkyxMfypfojvNFexwoyS5LTtc8MFuY1FR7gQ5Fgvb266nPfSBvdCRITc+j4HFA08CsGwUUMZrufN4wDaxoJTICx99zjYCg29sUXWGxpRqkYAdpH3WVMSVMIE6pPvMDKfFx219ZG8RUqdLfEDIK7Ybg/B2UfvNDepIxFH3H+/wE2wvjO1I9D1cTnbS1h0OWyVlj8P7goZGM4nk+s8D847sSXhEmeD8q9Lk4shm0/8JaBrlQAKA8iRG1eQdZn9I7IbNrRde9sV+bDXh7UtJWUkhe6tHcXsSibpwaZF+/pznYHf1o3qTvJS00LQs8FRpTfU4rzez3tEDf6w5s9JOkOrz+/SmJ8LisjCxp96mbQO5Oof1WoLepoquhcfXCRqzkGRZAOwP22ZiGjq3mVkChIdTbiNce1lPAMjhLzt1srEMsBgN/tQkV3A1OSw4tRBgJw/RWBI5hpYNtu2KbsHIAM/OjpwO/seBc6Zz5ssERy+hP0OLZbDZw5PV0u3zra4boVpQAQ8VPhGVhcFvQIe7kLyQ9KANVEzTrnOIPKGTbXauIUJa8eP7JxY1G3ZQtHRseUwcjoQsBCBdSMztXPxRyZoyLKpBGH7Qzuqo5CL8kKj5J2Y0G6wvgeknJP5CrtF9/hkOhUdLH9h59uD92eMwC7+2epOIoD5oXU2RTO2uaylyn0oJb/PXI8HFQFdSnxc0EjUggqUCKGPpuxIkLMPS5sWqsoGHRLQAGLPBjMVzwx0BUVolh56eZaCmDA+3dZHlj/Nm7SS8x9bg7CeM6HNtydEY5y6nIwtGMFAplvSA9GcMqlMiFVxC2Swls7O55YwRfptduV2XqgIJ5evoye74xh+0YI/OWcEEWLA46JyC2LpyNjJIlrZRk3vjlV32wAIZcCNjgMDl73MbSsIA6yiM1KJG04GT7DqC0kZt0FdThobqYQUhWRKbAFzsG3Vd5jbLjFXWmC17krOAt8yYERczF4Vmaz19/PGh0o9YJt+4vQNI+WkBBSABuv4qpVRQkrUMlP0x2kN8Ru72DyjgS9RL5zCKeUvn1EfU1xEoC6gEQvoVHrromoSyIP4oW8c4RiYk8a+63MXKQ8oCj1EmL+Z2TktNaO/2gTKRmhPiFhZ+zRT8QXZzqA4v5Cqp5kf70VE9XlJzIl3iTCYQGMOX+gj574VPRbvk8hBs+rT1Y4EUq+g+8mA2J8nEVZry5mpAX3/ArBe2JFlEPM8W2rHaFNMPbBPaS4CPSF2++QwI9+PdzpJzzyRn7cP9cunJBPVOdWCe6N/jULo2qnAoxJ3TcMemnbhOLSlR0yRgxmiDayNl3NQahWMjonGQ3qwlvXXk+8ek5xatZSWCjd8vUQsZ+v25TXSgQyiieUIMLOytsl7hUYvSnUv5JuO1Zn6khE5onf/yE+q7ikQM8SAAt/sg9m3QzqxDsut8NopMFPtftiGp8a1Tz3T7dgxHiHWPWuJJ3Twt6YfNVPf9CL86R5hD/edNFcvpEzVnKNgHJL7qgNJBW5+ipfHwEe0Mxnypf5NeqPWJnIQLDc9nnQ8PUgCCNRtTl9PQFZFjtLs9IHKV83X6dvGhZpQ56pkkUV007mm+v+v3CHqhcMC3344K2+jo53Vtr2lU1bRhbRqjqzgl1ntRmKpu/mGlbPkixEhrkH+O3bddroZYnrGkL4vysNveVFdxlGx8JgN4//VBPJF3a1WafmmXo8nFB58YKL7c7Ys3w+1/Xw8KRjmdxSz9GO1JC4l74eFi985Zwh7mz/53szTtbFJlhqWB68Li+82ojnwKfbOfATj3I+tYfQTxcDs8++PdnYQBQGFRqsFJ1wlkg/efu8AhI9wd5KoafLAJUs9xKHeE6EhPn0zEWc2QaRg5S3FonVR28tu8Z4j7xAhiFYk0TsBe4ICaSkIEfWTuN5XUwUwGY1CZdTYvmmXcq16U8DWmQbQEdlJZBB/txTtP5xUjnC02SBaSjNlTbfqo5QxsUXpNVzDr+eYcOX0QSi1peXWsP1jUIIYH5Gw9xwwfApePZ4Sos3VMRW3ycvAk5in7xcvo3Tg2PFgIlqCq5SAgUzW4cqK+Exkz2YbKrLhKqpTophhz/hQQqHuu3fue+MuETiIm4OE+J01QKZUb9lWaqZNS1jxB0HLs5Q1nrzfyBhsZKqlCtDevIbTspIOT5AoL6kJLlpicN7/fUgvsVq8qvyf6wDABft9+kSS5N7W4NktSI/XYj0iPV0JscIv7MbDHLP/BwU3hiK0/Vgvt8TSZFBhOgyjW6ph1Xw+IkF5wyJMLCh5/uRPUFy5oyektsWFq5sxYeHre37eGbllmfP4c7RUCEFKqccyhWumwLW2euV2wuouTwwnO3MG04KaIAh+zBRtX3yuEVBR/8kbPywcxC9fW+gFAIwB9/pPdcFVYP1WbfuUMUV7o2UQ1QLble+2DWgIY+hGd0XGH3on+NxsCok3NLLTDC96TJ1ExrKTND3OE9RhVJBFiT4qBnfdbFqp4oR8BvZf7pV2mZEDpFOsWQTouweC2JlTtJ0VoWwJuv7DqdAPenccUoaElRQ6mjpLoXWXeW1wzuwbEuSG0rEsfCsP3VvsEP0U+RrzAnvJatCL0dpQrFaW6onMY6dLrdhSjkz66jj2oMS65RLI8nTCCce8fgxhrX1DoExZNKwSEVyRiyXuGiS+/n+gevb+G7iS7ao2tqe8NNe8yivEBbf/wmEYy0843oSuQSLlfMmg2ZlKZE/36wtICwB4mpIbWdVS/QL6wvVjBZMz7nfQ4L1VvLidcz02drZsiQkYrurfTSQklsXovRpZwDTsJO4P9GlMfts16+JwIy80Egd+5kob31rPWMlxHvOTasJlqfMT17Y60IrdwSyTovIG7MzK8QZxs4R6+NSDRw/AHVuFCJYo2IftT0wvcggm+DrA4Jv7ewbCS2uC2plpo/r3ZngDshG57ksayuShQdlFnrQh1p3dSJV54MzgmHL9oRSfTPFlq0k1elJdUWWHLl2UYZzh6WzBcz4zZLm2+kZnbob4gjCnmgquw12gse6l0fihVIs1yVjIzmynnnPpbcyjADWso1qU3heHhgThsBFBMS+8FnuPeKjGC6oSr1kOmRcc5qSr0vMXnKYP0yy2Eh8oiUxjPRRsYoQwW4Xvqobp1ruzG8tKHblO4FDnyCL5Fc8/HSzm9pzBK+CvCzVCE48pfRZw1cpnDq7aUuzau45rQP/PevBQD/pTKAP2KwK85EfRQ7PDtrMFZfNdZ4ugie6yHLLVbfCQEkSUyNYbdqhirTR5EjEZuZoXYtFEkWheDNEt9Fca4emiSddJz7xHNufSaWAjM+2JWH8jABjrM0p5hhpJjJNxOk2SlHr18KCznpgh6hWpRb+f97g/v6jc6iAjrRvS0WQk/FsBabNu+Heef5AWjcsre/+sTSWeM+/+/v7Rl84vpojD5rHTeMUKNe0FjBb4QBdRMNF6VVeMnInk5tzCnSUsCDsx7o+sTr5hm0PPeSHLp42UYOOu5gibYeBOZo1MfM5BRusSMbLdS/ObLucwaWDS/gCwIG3jjJJWVShbJKk+iotEfFdyrLqRtsx9Hx234q3w8VdgDDuOErB6rQvwTV2yUa6YRitmJjGPKH8eSUBxRkEoZws/+gMw+jRzhPEm93a43IvdKb6JwzO0OYcBwhRTbWDtzEiGQixrGHUHNb63zKnSuPoH1M1pFFYRsFwTMvVPDAL1HmfZp6NEBaWZm8hyLGM/84busxE+T27SIicSkD6QStZ41ESQJEBcVnujBsA07Y9Ds9moDe3WmNUzC7msRjzBg1dpgcyx0WMyGw7q9Ruz0kVV11Dk/ju5BruXYIZaRqLP0vpdt3N5xptSE+ctUJndtk1EqBf3j+jLVZbnjrlLh58fTieFJP01Q6TXFnWJ/HtCeqqCpK2J0yW++KVBc3kwoFG6N3l5+2dgYeaYj+RNYnBiajc+2Rhayq7e8HGRilSSAh9mLvIuMrSH1FGNVqdwHGPj/32HqCu7mQ5FWCLsYToYJMFTV1xSfmqmtMpdP+KKWO2zsw+3990zA5ZZI7B7yy8yHGIz2fd4iLTEltZe8o4Qk9dmQlCRPbAnfrsYFtKvmtBTyXlgMXTLluaycB5C7ABFqIyX5h3Jmn3TTKWXDNJCE4nKq7aZrLdH0uc9z+pfjeJaAn/e6V6AT/J5QnvBLRBh+pn+vOJp5pqwFGuQBEcQZgD2gA4A8RDF/RIxS/A1tE1aO+9nopXoFG6EWO2sZJZb4JSYYGJ8Sbb7B8QegmgEep+R0f98nWkagKbaJMm2br1/lYQJ1AnA4QdGiQGsBIvsNncJmmevnenWn3PKLKKJOQzVSzVJypZbp/BYOgL8VDbRNa9xOucilpKNIcb4/2fA3a4BFKU3JS34VEMEmBZdER1qv6UTLQbfn8Nc/Vel3CIT9cKG0jBeQjGVY6XJ1Or5wZ2Bm567o+FttpDsoJlgoXTnCazknO5wQpTcudzyN0x+25J12U1/eJu781J68KGYF7/TbY2Y9Pnpt4EtdUAQ4YG3HLQHCO3iTC3FUCt/SxOa5PccH3hlpyOQu2NNbeP5fwH4LUOalEzh50jpXDVyM1qsrTQMfgT0oJDwJNoz+9/TM+rjbPZFbZ/nCo/7zZhtz2KyaBgNuMrpf3OSQJJAtWY8eV0gn9MMZbn68xhSqCaR5d9E5Gdyzro+NGumAqXLnROD32d2BF8p6DzumsaIx8xPwkPr1n6SJ7wkTUWDRb+nzYfXZ3IrNHvKHvcSCVOHkRaOAKInGbPQlcGq1C3rhWbxToLdU+rAPeFDSIyrEvRgyXPZknEV8z5xJn4l0l+dVMmJdLS/XtTdey+OW8xpR54fzN4vPqhEloG4FXhIZF3zzx4yKBJ7NOT5enwkv+CxCWXHyp4+kTCHkdRfNcnFAGPZ9m0YgvojAyEIwTkpM8W92NalTXeC0O2WJVVX8S2hDa6kPMzWd2ovz7pE+n7fMnZTVoOR2ghQNwnQZHrtUhZ6jsFab3GhUDYb1u37txuJ05ZiLx4nYqIPLIGveEr4LHb18XeBgdiybrglm3INs9BXkr6y2KfGVCxkwytHpYCC30thoyqnYzvNc1zBVky64GhIm39VwBhHt+OZqqg0fvkrEoHBdJBRg0v6Q0teTkoiIcGJLFZZ0/Jjk5nqzkw4rJMhwc30cs6EddafRh3b137//t3fpBhaI7czb9zsMO0CcGob1f5FjNa6y8NAJCZzItrmGdorA8ijCmfJ7cWSbuRrAQhZanc+zSYJk/XkcLbj2OoscEfnnLVhNWf6/BlXsF4DqceSpO5p13ilykPwfgOsEKpy3Zwdqx0Ahq1VHGAN/igO46U0fUdk8jLk9FKybz1w+Kq+yF9l8EBCv4sUVGHrSqkKitvee8ddx+OzN8S1y0tmyZ43iboG3Lk0mo8P2CLQNfPEibzCqE40zurLTgsrgW86V/tF4FhCIzXUWU3/JSLwHilcRLaKCx2tlQOTnViXjmopWTxcSof7nk1BCisb0K5eBOpIrEdLEAiycODwlpj7pR40/RK9X/rkGgha+sMQx/MdjsjQwh6+oY1tPuJIGl7dIrhAmLre5zeJTBmrOoEL38fDqqD04Of6nG73IRiAahLi6tYsDaTji6ghizn/yTZET2VsCuLJSjG6l93FeyJt25ZI2Zf3Iq8p8vPE7NmFZh+/WUh1FpCbuPLPSTx9c8YLqqTNX8HxiExyfReLVClfGmcj3oUYPUT/C/1QJ1CLXDCh/h+iJfuurikyRZFmk6xzz+mMplvNNRTD+X5HVkHN8lRgZBcl/tb4K0Cn6C/b+fr7c27LlRlBHcGQdCetk1LXEXjkCEeS6QysPmlgcMWvhRhEKPB6fc8ETBVWkeBAf1UpgH2mLASNmBgZpo6v6dMVMp8Avi7/r52ktYnrLkTjqu4nUSOEVedPRZA48AePnXzM8eBCOwKjj6md0MisY4uaHTGXajNTj3tpBU7LIWV0qNHGMEh9JH0i6x0ODOe4Dyv/L21DA43/cKuGkL2Q7QturMxgUrygahERbqAhHvYYfBDP8ISTEyogPMQzYdbRgk+BTXG63TcdTM21eBoR/47V/Vz+Kp+4ENfkyPkU4bVc9RVbNFPSVqkKT8R3oC7VZ03R2caCZ0hPAnHjOPzhxI6gii7aXOCfLbkxiUrDG7Z8oBfN/4vL7M+NkWiQYimNRnUMPpNOFIuJ2yMSNRJ5oCb3jjNDwfwBun/2zrYz42Yu3GV5EwHTXfT3OaUJWTbmAlbJxR+Vnsp2pvSLX1xtmp85BzoJm6N2qmlEYVnwCjONwgro1m38oG+gJ2kYsPqqpCZT77nmZXGH2ujjtu7wovsim1RN+V17hmx6kbF6eiArc/FfwYIBigB0RKjtQ1aYqbuLmf3FBwL+6WfKEOKSqyKaHdDcZNU54YXDwpLJFWyqirnb12FVZB4Sy5aDJtvY1uc1CyjTIhIvAiShQZjHGaiSv9pM2zkFgAUjXxHv9jkeC91HZ8jKohZbIy9ZIjgCQMN5rhXMIesQ4X1UiGVNqU9tdQH5unLLXBHNTkCwEjndF9IX5W+HC6Om4oZzWzAYqm8ioT7zZbIMvGVe9O/oiMbmUyFNR8gyHHnPAkvZa5wbeiJLvZ6spRfRlYOXZ9h6A7r4E7Pgd3cr7g3FC6Jay6drpMfvRIO1/FniR++HIb3zm9XZClmsArC1zXCavybUT3qJfFShafG+50/mMK13nPYSGUcG1NN4g94n5ViAb31SZDtjjbQg+dJB3X2eXdU8Rn2zAkteUXzT2GYR5w9PGhPiHCS5z2teZDeGOV9DFw8JEp8aAQPK99zKhpJuotn6DB0mN5+qltjB+TXxJXkEvEGhnhAIAMTpfw0cqHO+vDEvJUn32sqHSS1Lp34yTEB+z2rRXJvpOAoQEM2e5+oxu4u7BgtKtZLOYgrQPe6zyP4kwLM2/u2IKenZjIFnsqDuCmVnildukt0LDXO/oXKA7UyfcUvWc08vGAmEgxS9fuIHSC5qyrJUmKCD01yFTmwqV5IQDUsq7VWNw547uQbdjJq5dXQn/6AePhT3D0Q1LhlTpPFsqq7U1a6/CwwAdrEy2PSZM75/cmOQZ8wzIK8I28E5NHecGK0J3I2vMgINGg4FMUhaBxDmo1szvAQPSuMB4/VSNfy1UPHkDpYz+LpLqtuZIhJsF6mp3E4Ud/vmxSf7jN5nWuL4yN3BM+cm4aYGA3IDyBpYgnHXonAqisMpHdGIo+bOt+aGLKWV27Brv/uJdD5qvPYMchjnFae1fIIaBsfoN9o8UiOO+SsM88G/D8qWBupBW+TsJz0FUSLRHaWNTWT3YHGx0uqFgNasNWdmSv2NyTWZ7JVF/66mP/pI+HVXtXEcFGfYHkbfcMNznAJgZMBejdd7bHBcyKlqYhl4P6rx+/WnaLnovEGVoU+uE2IwKhne9t2QMSfCsZX8djdas/CSWr0PsechsrdEpwDdu6++5ueROFFmLGPcVSN6BzD5LDyM/W1LnVFTHYiy4Xrg/D73yFzF6F1i9UdSnxU89X6hOSebQ8lgszZqOxyscn/AR8zH3KznQUJ2QmAz0GOTWAVetsPvKFRTeRbQ/Q24v4mosmJHg7GfTmk0rJ+IQ+C2spgMr/zopxVbZIg86dVnv1zn8Lqzu6QtxE4WjA/YQ/B2qQf3SjvVK4sSRVZG0J59tTLINrDcpezWT3AuxwFgMAjzkPdTZHa1G0roni2VCHY+iyxxxdm11pLDDyTI8IZukJG6/PHeXAmNW8/Huj1aOG/0nUAlDYqp0Zn0ZkdZk0L2PSnhsgIE/HnJmifMCQ0tjGGqUDkBRdc84TAedomvtxsqJdapUslh+jMy37FCLrIbKz7Jsi82QBWcP7IIsQ2bQyun2InauPTmY2BnblLxwTmFaMwXNNxC1iw6fM4HgzeIn89neDC747EQsuysom3Rpb6/5IaxNfOor4Tn1crXWxP0KvXoDJVXPGot++fU7+9mzXBovmJ0FTnViYaVHE56BLXaspAnq6fZL6jeIYMk3x0Tb1cfto7hrKgrV5nZA/efnsTh6sBN3RdvZZQmAxaw7wwnjpiBs/FvfAwgK9gELb4wIrbs7R7lqFTtoOGxxTmkhm5upmOplNkTiB5gtEnA0+uJREXyfVN5yMTCcPU/3LP/rqnL080NLCU7CQfMMzppBVtwyfq+QgZt5sNszKAjGF7oc9WeSM9c1em+IdC3ZbSAAl92uhyZ5e7dUlNp09B2dJzkOEcPYF/NaEIKLM1yfUYhtczCEFO8Ico8uoFq/YgZn5XJrHIPMtsHUeuQESbbIaLXDZSQxjKQZFGi9+Pxx0nv14PV+5yoUwUR3VKsxC3XdumqUTYjQBw2B81QhUlfqdOaWdaeICbuV3ix4wxMrtGNp3Zs4CBykLiXmUK4yUAA4msYHQ6ABx9BDnreG1B7mraoDUVNAHGr1kzsG0Yq/lRSh2mSJHKfSdTg55lClLcJPCOS7gMzQtaZU5UkSC8kBBP2Xv0ObzIOD5MxwvPtU00ejzNrq8yh7iSvvNge+aOxiZYRbGgRzeDF9RY0IK9e+qZczFZFqbgJISvh+Be2vqzNzOjpahZGRGMKJ+Kz9tmytxp0xG5Bgq9T+keSbMG5g7Wgaxjm1CUTG8TzARNqjC6SinB129GrJ1iC0ffTWNQeU6FajLTdfGzGtQnX58Oqem2XbwhNSBIgDA/7hnTits0DShu3LcdMnkZT/OnQyiabBF7+QoegOWaY2RxEwwH56zIOu3yMgoWJWudtzPuNWZ4f+rJEJhP7WRsv34hgYQwZSfYqPVGlIIeSRyBW94uqrD8Z36jOThoGOJFyhCQpeFPjkftnbvTqixq0S+0NgEtWOlUwy9CcoallKOd+MTq286bTNzkjpHSPRCPVoudyqfzLeLpYdJ0vxKYpuOlQOny+1+Rc35z7LcxnjaiWkthfwTYPQ781bdin8EMha3gqNyt2Sp83oRMQaSlqiCh/BIzRmTRPaI8mf639JK88K+sfVfr2Ew2ue8rhbOAWU//aL8m0a88bItYEfyX4dnRuViU5SEvgy07lR460fYjn3D41D25MEEkZzNTac8YcPjOgmWV1ANKKJE6vPpmvm+ocn0V5t+uF4ZcheoJUQ2lS0PmODlT6ycuTZzPh7oxOX+/u+WkRdMVya9ceNNfweHQPZolh+9LR21yJN1a1nRYIzLeaZZRI50sw7M2cKjg/hgYNvwIzLQXuPt2IJoN1KALgijZwy81pzJM9VhutzL1Bf7JRHE6913F0mnalO7s45jdtESvs4mA+depgtwv1Oc7+FovsV/DJ9uc6dfEAq0C6Cr9g9Vg4hAPe/5SUqcyqY4Q6qHS6OSHvqp1CUC8UQ5BQoUqQoqX25HajT85MgT+XbfkwDBBgeqSV4AnLtV8iOLgl5lMJUddY2bbmdYpA5f0HTKZYWft8ZpNSRt95BfIvSHQtL0Tov9DpvgVEOEGkNAU4XBO8uTH6fWRg+uCG3qDyW5pCweHZnPeBwIsYoUHX7xp9YFbxG0lPGH5cb/UbNXbXjZP4qbt7p9aUiQvzSuTa3u2L2tCScNvF8eAbTq+AlJjl1Rj/fZvzqYF///lJ4cdXA/q46iWfHrrQkLw2KZ2epRDWf03FcWi98UDK4a0WZqafr70HP20Zu11pxt2tC6LDgvpqhPk9tBAuyNvLMy9UApEmDI3yf7e66ZxMyFpfmwsm0K7l/0rgHXK8oybYCNS7/rrXUcddxkuU3AB2tUUK/rcyQyCG/UvCL7Wof3EagSgJyOjKF+PtN7CrNuDjswxLW2y3cGn9ASV8sOy4kCXoV9KAkVhh3KGVYJr9E9lwWGG9I1Zc7vrIl1cbc7QpxluIkHt2HSD6N2fkgM1X5f+1DjcZk6E/KxLBKYxIhoes9E4vxE7xZE1AknsyruqxgyobbWbE+uwFidkE8406u9J8adeA5Btxh1rKJZVKdiJYDA9KxOFFrrVftBOeG1qBWaiRbPqdrhqJQjUyqpUCKOenL4REGUsaqCTvWV28obuEQPSrL44FbOui9zDekHWTR62iY52iQITcGc+oAd6K4Q3vxVaiaKI2wiItu2k8JF/o3898ZTJuYlumjLCrpUU/dE4QraLopUem0pNA/7ZuHwO8hQoKl4bA3t7TyRUr09QsLjY8AMCFRnSm6qRbAArYNpyyqgb7Xhw6ZlKM7oOFTDhYyz/h3zinYE1Elk/AgosQbobix17uaCWiJeDrJgMjN8Bu5UflZPWhw+470FhnfKgOfNbfBHtLhYi8IEYVUnKKEPDpGkLm1ghYDM3U+I7GIVjJ+GIaGHCRNRuMUe8HPA7QICGxIOnDzRO7SoIIl/wEF7XNRg4DNPrnOYao/yFd+RS5mhH1N1eBZ7eC3LT9iK2qgBKgo2auWHal0kYwyty9jwRTNV6CmsZ+Z+y+Aft5eHHqHLeVu8hCOA6oPefNZKjBDK1k0nKTPf8OC0+s2vbk0a2vG1hgEUkP5CGBPE3gm1MXoKYgwYJDbfNARWAJ3sB60r6dpxqfCRFBGpjys/Uyap54zaqL0V3rw8IIPo4RHwaY3qiCs6W3XmqCOBFWouuC2jYnLpogpJETHjbUl9YoDgFFA5Qp4OOrgTOfMenfrPz5CqH9bthJ9Iua5LdCaWLeAgJ+U/ai+JW4QCPC6TRItY2F+5TVMcKHKNadpJJdqyVqYLQAdU7txn6mySo6K1BHKzdbPF7OlBlzawzrmpqPzlSKXgDGxPb/nn9fzRzdXKbLmvbr+Xao4p/E9YcNiciIkpzccT5nFYGLv20hW5oHhNFlYQt3MFIQoRnaAYHWfgYdsX4DwqTETDH5UUbcEg6eBTfQQeRgD6L3iQuphHbIUVyBCkUbN9NV79H5OP2J4zZRChPmtKPOnON6aFmvDMj7lwFP5AbdQqjxdUiUFXD747ZDzSI+ptpaFkB7tgGX6J/XeJt4c5Kk/kBXRHQF2FfPvBG7fDebZ8yHtaeY6v9BKsxOkFFuQUe7Qtfqe7tVeQuaRoWHIfod8zbpFhIGFIPcYPAvnqpZgDsQMpxiUjiSeJR9h/FT3F0LiQz+RktG++3R/LhfuF1wbq/Zs6qMTsoP1jrmyuhGG2H+UkHmIuxz4vklHDKEwncBhNu/M1oozl35zxYi3fr7BXIVFCxW84jfpU6GZEwPEFghRtgWf0oYeFdqQ/v5/Tjikr6Fl70a6lhULdzx17Va8VBt0MFtpHaeqWIcGTMLYneQ4Tr0w9uH2/Qw/Mg5GeKylDYr2gChyNPK0H5PxKJL4aPIxGBIGSJNPWNIcmYW5hk8q1p6G8qQ6nLDeUcql7qWjtcIYyajT8/mpCTv1d0wxfNYSPfy7BPQ39cDCM68yVVRhK7WjIF0ikOxlIfl8vWFonBSS4NGAMt4uDvfhuKHLwLTcP+MSmCzPJ/bhxdQNj9txQ4k3oDGrtTJCihOAXpOG0KX3D8gDRCa5FkzgCZDhS6aqdr0oMRNGZr8fKzQTNdf3SWqc0jpFb6Ikpsf8MoYva7cF20Ldm0x1adfEntcoP1Ex4Y4QhlKYPp7jiLyi8eKh0uikbYFu64ay9Wrs4fbn4TmQebdRhZ999Khr2bPB1h51ykTWj2iPTFb1Ox8yHFKyiNQdewdWs0/fhJsVH3xbLOogD+OA1b6NFOpRH2p5A5Qj7Iaq66ba6JvWNHFwLIw4lwaoDKouvUPkFxA70FhHTyLvAdzmwEKwFxPl3tUcophufUTyYkds5YsZ6GAv6RzVQHgIbXkxvd09E0GVAMHc0i+lh9qb0wTsxp/PlUykuhVOQeFmeQNb0fCgRPznajBg3MukWe9DjS5tqlmj9LoE2AKtYxz+QOBbvrS0Viz2DvQuGxuCAq5hSVdVJarA3NDljWf1467nRt8k+ccY8dHDBHbvrUS1N7Kpg4Vcop5D5t12F2eGUHXYrAlBdMyCW9q6ALiVBBXpHeHqVudWKbqh2nIhMWo5KccthZfFjy2LQOYcOoWPO/o4j3+J13oMUBXeQ3pehJuJ/Ywg6srlN72S14npJ5vbun+yS2UBlTmqE4n/uVtxn4VQGfB9opF0gFmmIUqkJMT1J0cD8HtCLX3Yu1fTfu8vP9pPgxlxs+ZMdEWPxd4Xo9QRV7QEfQGitfrioVmwPOLGH3v2nqXNXUU2qIq+prvoQCkEkYrykDhm5sg+XpX/jQe/xknCsv8FbjkYQVn1J/5+qOC1Tr2KS3Yp+0KHkSy+fuTdnEC688xm9c0AyBldwFOjvQnClhHH9I9+mlwySNb0MERlSweJP6BfJjjV2IFFb18w7XYTK/lBiYX1IuErAPVKRJVtAIGRCXqIMnbvD5ZZKoWV2RZv5b45HK1fYXU6n8WlbXRZn/W9KI6NPlaa+6OuATsxeHYGv/4aBiVNdCORBfLin6Y7mV7HwGfkyokQhR93FDRTXWWgcN7pHP/zwbRBqvVL3ZoZIELAmjk9BX/jcJitNe5ZyaSQyWQQ2tS2NRIimRkSuLg3v7dO3SoZBBhpMDfArIK4q0Y0Jl4JQML730RmKbFxgYzz2a3oSSuCGQNqENTRMEmnaNRw0mGIho8bo3pMZZw5MBuNxcxzIS3I/PqHkM2/nIuA72BoHdg9hDE38A0QOcc8H64RxXd7Huz0nO0iNumAOzgg48+usBFjMQLgrIH5qB/YLHwgbb8RRFb3HMWNZDj7NBldr78/HRejzMkNhSwH8mmTQh7NsaNffhOHmNbDE4UWpreHDSJirCpman6KRW+Gb9V5Pvqr9aad7ypAt2YP4+IpCZFxlU6/Y1+a+3kt7DZSk1Re8pq+U/azsn9VNh/dJFwscOtrJMQJdh/bQC6qfNMjInTCMyQHso5vENRR08oFRMjOXr8GWPNcqmufaDbC2yelozGIKJ4U9aRwj6kHdwYsGliogo2ST6tBapGidAGfqAl9mHXI1gfe7NOuc32fnmiWDNUdUb4zkHFG/lM0Nyor/a+QlqFwD8eZt1SGmohsofyKHzupyiBAnuw3s0y02p8CnMrW4aeJ1dew/JRfYDOil/jlihCODR7bN2K335sG7r/LTI+QcDkSam8kQoDVt7geeVlp+79Nz4lB7a8grMmS6dwCLzJ2p7UMvw612gTqM7LDEEDjNNUPhy58iTlJMxhe6lCeKjQPfRXlDI7MBI6XEHw9gfMejVPhhIOHJT+aH+fGRQ1FbE0STTv1nkVSxI4FA1jwjleVF54RRtjSeqMHOg+ruxAxiPTPEzX08x1b7s6yAj9E/qArOA4RI14xOXFJiwSx+nPahP7ukXNGGbBULmHfG6jmeJrCO6WA3jJKEJA3o2yJd85UdpOIdF1vxYldhc1/RQYndMXKTFWEGdrNNgc/UiAErc2OUis9jECPJZAAB2rggLt0jPI+nF5wZ/82KlGAtropUXuTm1sUcuJPmIfZ5pWtLCDoL10A+tcmaxosG5X1BQLXsvVpwxuYWrx6Mq1KJNO3Fm0Vw0+n1d1DePcHNkXp6mmd7eKzNiCrCgoWxLXYV4u1RKMjPfx0MLmYq+LOdVlgmK2EVoG1rcCto47l2WvGgjPWQtaHSxX/axeBQ5u1/Umae23u2zfuiwST31WmQaXXBFbl2Ic29aNtd/r6R0j+4MKc/cCYkSdpIkfonWSTzJZjXnlaJL0qeHBIIqnJuJvbRFmyh8Q95wyJT9Kw9ZnzFmZojDvh0gRstC/8NTehbe4lRUQ0QgGkLj4T43zYnltCfsnSmeJ/xbppoEKreOS7Kqc9V785mkn5X6gejagGn542y9S+rl13AObVUGdT78MN9NhEbraw6QYzr3gYHx5+nZL187+oOs9c7zuYvFtMq/U22KRtfJv7A2hbBHWftuYx5EoDFD1ovxIAEqu1IGscKE6BeDB8Krvi1cMbx73wmQmZcT0ieF/BycawdhMmOQKoxCEyLDd2sXO28PkUncLLmbs/zzPSxa192/Va9vz9K/nK67uCya4R2g0bpGzG2f9ifbLyRM51ijCylq4nbRPQL1WLtFLfQd5hDmiGM19/2ZWzb2SLrCtm178IsHau4WlU1RcSyZuiTXtbNtNj7w+BVWmCWHrIM7MJl4buXhVa3ItDI9fyU/9R1XKlM+fjb2dt5rMuRMuW0BX4s3OgxalSfS7Hmca4pW4AZAXOeWKqOGBl8F/aU+5/zBwaf7t0BMded/5GwNC9WGHXhoLh8nN/K2xyAT2tRWH0XZG2KHDxdwMlexDR6M5cdnWVs/0dTu+Z1neCF0m+xbUhO4jI0yRyWKj9/wU4UJiT7GS/1sNxgX6FP18nv4QxECuSDZu2FsmSiuO7qAjtLVfIKgVnWVoh3Xyu+4Ld9+S8aLfLACbwbEN/2cI6xMAQh1c6ww8EIQyeWVFMSgkJqqx18zV0Y+7MGACFWZrK/N9IU2RHCmWT78yTCKmc+VZ4tquueD56eZf+AKh8mVjdqg8QnHPESleE4w9eq/Sitwy6euhVrDDHpj7nJixRgmO4578PlSFL7ufeOkRLUz2iO177MwHD3dwMrSGVCsI7QIz7gTKkCMR2lhNF8lsB8v+LwutouXqiVahYo53TkxR7vSuiY4bC9geeZo8xR5sgwieAt27mXaMYW6f6U5lo2sTsqDjO61jModMqluzKfAV+RP1pxZByZL6a1KNIrVVSY42fuQa6NU/xOTM3UYF4V9Xb/UPUCPZM9u2ANtCetPmJGr7cvi6vuYNK6N5CN02pU7ngls3J99hqduwf8MEEgfDaKF1uwqYoNee1CGFE34a6+1e9llzbAIlBI+j8O3dvrbMfGc8A+68zD+RrEU8aeGOisD/NezYOTCKx+VBfZz6UCmqwaLdKKWPZwTNoZOyS1FZEWBY8ShG+PErMNbA7gxjTQN9InlJS/PeykcHairDtROp632aOv03fCyuBOGDU71OTxwWApgHkeec4Gf7PKCB3+zqKiSBiBSaaJNTg4MCztThhJoqP33nTdTIF+5xnwOpc4XZa17XkT7fwREGkqOndO5qtVmEK90gMMIJETLieJJyYyz2BZ8zqdk12z/8CoTJfHGGIASqQKBTjsfvx+gVXtyOLc+H1o1CZHm/P6pLPKFqDPJEqDw5IJPeCXFvWckRJk1SQyAsEtO07dP4H3PFSd2PuIyoee5dR9/hcjS3Uh81AemytSN2vYjG9La9jjX6l01qfqk9CaWgh4fKvk1JLdWqLemdh/kyKH58QPThtdVexL7iV1c/zhmB+2+t/mXZPessej/tXZGDsqXYZdRiP6XExDXIO09B6w0AJG7G1/5Y+SZvxmNpSuJUcQn20SsJDTYQPBozuJc3ES7egdEquFsqO/2atouaXFlhkki/Z+nJXKZTrqNjaYJn9TCA31IL2hk+IPp86FSwQpddMUVSI+Z7SnbcW0Znri+48oHSiN9Xfg5mec/FZtuTNHTewErp2s6wmnzhyfMlnhXxjk9jHtx2es/Yug6rKeJwZ3rP9ubC0yYUlnbjtbyPApwFiTxVI3TqAbsve3p6EAW7S1y+gzOOyzHmjWvgcJ2OwFmIxaN6TqO6BaAMMCuVw8S0FBftdZmFXuinp5RPadAXxzH8dpgOYhik9uaMVx9aEhUT0i45wlcRnXy0bDUQhGvMdLiV4Ob6jwtysRBoxMcVzN2D/ties+ok0jIJImblM7nETmOneI77BGssvPwhCK9EUycT3N20kB+ig393V1lJ7IjL9vgYLlVAd2dGOOKOsBz3E0JqWsKKyMn/PoW6BnOt02Fq+u7QAIleZYead3n+wiXq9jQvFGKUK2opOCa9p0p33GJKhU6CsMjAKW8rm+NsBZUjjSKw3xA0D4hM6rSRU63wssY/aFZO2k+cls8hqbmM8wTFIXrh5fApdkMxkMH4FXKdQRcblPKUu/41mD4rNg69esVICocy8LESGJ3jjoMGAfD57I4dH3khfsqPF4cpVJHe5DLBjP3PvOmKGNDy8rSBm4Hv0dRiiu4Kx6vrxaXXe+AF22YbUXoCSal3/rkx3msYpcwWvTcqEdCCw+4fPyZVhQrDHumQQTg22uOK4BXbKzEuSVx5wbZeoz/GzsnpKByRGCkvUYeaZcaZttzpnVSntZ0yfkIb8+oiKuRP+BrZ0hq1fevVsgqJMhnUQfc3k3N8D1abcfNVvwL74eyOR4rRXw5xJ08mKXqmGM14GnCbO7q7Iw84N8FYNKyrn6I/GFELoYZfAHQJmTN3HQlvQC83iAQ9AlKyzMlkGQUJK19L3y9iOuh0k24ADIppNUKRzMuSvEpU8gQezF95uGlDV97TPwILNZ/R21GNMJF2ZZQt7e5jxk3xAWiMc3TSxcq/ZtaXT8jSrIhRdsbVmb1UqTWqUDn4pxEBghaFFQM9UMLDLKWXNJA31grxu95e4vEpBXNzm9rr5UB2opHDoRWm3OtGkUP28vvWVRBa2CcdukZfo0tQtjwO3Pr32Zg7z/Gw+/Afybh4Ge6de1f7elHYmPCVr37ChHAi219yUZKc897F+PET2Nbj1VkVW+oaeh0gZ2hGSV8KmimZIEzx26PSFb7gtSjx8yGdpcPe6ityuaz/TW+tz5dVqvNWHfOpSPW95mLjwTSzh2g5U1lw2NWPUjjWaKt5jNwJTtoTzeiCv4950Ecyj1kOZ0xilfJz6hX4R3R6afCRZID8D5dLPWVGdEekbngMLGmoFcg5hUPrrnvCNlDIdrZiufBOypgsykyJMU9oeoK1P5gBthFZAdQoLc4EqRuIS1gzfeLDpzgoumc1hm9suiwH6NdstGHmz7kyHd8BXqVqAwSYqr4ukp7shpNbXRTUGRsLSgb2vHEfvsKSsAeRLyOH1Sjr0FaLa4AIUTvSOh9h4UE/T0jicKcpfMHqhbr6IZU8xyD4wKvfU4t+HGHhaAanflLrwIxx9LBmk9D5DUFlqgyBJUc2y3VjvTOcY5Z1+DuBowqL2uHQXtqBGVa/nGCPAcdLIAe9VTYnWvfReRz+C9e9ZISYlTyjtPOn5O/7vghjbaijedLHc2vL99sLX0wZg+xB8HOncLe+uC2Sf+gjjEFLn6m5xM4QAcmzoK2jWJZop71V4Z37Rk0LFEA9kIdQODEyLuCDshXVBJbb+HowA/Wbtk15KZokz1gBRk98xV79Atkm4UOE4+mVzdncdzIvJWv22fboCfxoewCItauItnEu8NakeNdgj41zN1BJLBUb8BDqPP24bSPUiE8N72i2IzEAEQ+RChj2N86INX8bUxDIoDtk22n6DPvaqH+WIezaZq+9rXUxOHls+orbkvioMM4hxOBVpDraJz3CxHu0GvE2qRgTaDCSCS6sqYW2v3jjPC/g5LcM2wy/r77pz9qCRre/pM4/l34LIJ7S1xw+bpaR59bFGWrLdEMDa7wCS733frHnYq7RJwf11IsL4cnbS86rbpa5EjeMoKMCte63dSkE9hyGpuvATwI+ERN2+E0ZEI+pFLREc0a4XqSs4Dn4ZksrYiuV0ZnBZyiBByBDKHUH7ojKrWi2tjSg+q4ByuWpFkoUBO9w3h9NMEEqqaOSabd397mzQP6b3kVMgKtx+qkV15B4XZ1BugI6JxKZyqOA96qfb2ECGq/1WuTccX3NOQAVknCPhYlFf1vPjKAms9wGO/GDSyVPUvPMurwsmfwO+P66GkRtfLbQrya56TJotW3FBJRa1lG1buFB1irjEC63KjO3sgncL/cXaMthtKBIlPi3ypstRAz7Zqb0YVQDPlV9LI9yahCY7/DFQQxLTUSKKflG9T+lssqjCjLA65gI7C9ntGvizpefP+Ao+GZ95jXXhbjBfIQlQWbc5+9MLKNczcPoxZ/TnLXw7vEye15tgW94t02xdqyIes+H/yEYeI+e+Bpp/cMXKd9xH1HvV3t0QUzVrIfKUH9x6Tedg4XmqmEh4DuU9Uu8D+Io7BnB7PQTsWmhbzrG1KkH2IKhp9wexnbKe10fjVBjmqOVsta6j7NhuMptlOXjoZPHvKLA+Ma64SiwBNBCqG6se/X5B0GS+2OA7DYP3XnOp98tafIte7eVw4n5nlZYEG0NuYGiz3ANzTtP90NljYFi+cP63SSk+vsGoLBooTl1mKq4+Xb5JuDbhCpqiYSPuNOfx7tYO8kuQ5JLiEaKLnRTiHVH+a9bEG9G0cOPrvdaE9UZGL3VGqUmAuds0JvOt63+2JZoSZ8IoU63m3YqL1+dUPfU/CUNdPcUGpkjMbmjPh6pemT2X+MRpi8C2q/RCIoi20E7gdW/ICo4DADOI+Mm5TwvPZywJmOkOwT3amdDXlGayuO3BMYYhMAi3iECjTZhNJstT4If2ehmiNSpaoNN6/bZHd6E611m2w8dQwc1X/3S2y9JBZpuYqhWO27qcQwtNl1Dd8M4v79Ih0unvfA9RwvWAXsgDWPg/eKdq0EdMDhiGRSWB1L7sSJeHPwEODwd3T28ooOW2xWHzpCyoJu+USMkSgDkR9TIDL2mA4FjUYsb0vo74jjDgxD48C6ZVQeMJVoruIW7qjC13CfM1o+AGgm27Vu19nii4WuglFMbtCY/hxh4CG4oAGVAdXFyUN1XrYsIuQzKpwwWUuYHL795Rl0iyvLnmmUFmYV8IMU74L6TrB5EDOEi8XmVvspt29iBNAdiqy9YwQUco29RLEFiWW1X3A6XolexZ871B8M66tL1DYW6diCYY1+AHDKjTZofs83WhakdFAVswNB9AiWzB7A9h98Kuprrp3/L7kneCcNnX/sTPtIC7GsOBHmykN4S1V9uAJRngu3qpq8mjMEBqxLmnsZm65Y8sSOm3C3w4OqvNr8zYsX3SnQpEtCNZ7cqdStLFkk3c08RhDSpevc2cx0YiIffgPwpK6sYqqXoS0YdUHnNIJ3q5a8PBU/DUozUrIW5lsTiOwnDS26CP2x0uNMxzdy4BkxL/Wl6QmIDe6dDVAJnngyfpNraEQeurE4irGmbP7Nmr1T5XzMhqlWeRCpKKAhzrtZgqByJf4brpwY1DEfkAtQNn4K2pB7roWWchkE4dXuqBompc5S03mypsxFqcFMHG1M0PbMcBb9TKWRRdtd+OlJduUN42CGHnrXifJ40ohVZg08c9hRZFHFQ2bzsTH6BttcsQNFgxkGn5hozVOLaM2mKTb6nhh2lWPpuuGnHLrLUs5cSzGLIabtB8LymUXxT3waZsIeyeRB7jH2D9VgqhmVa2Kzt+58lBgyXVjazr1MNEmXzyW2WgbM/0XnABBfuPoQAEuHTI+pwTVUMUBFzS7UASQnLK8BWDJz8nGPyApsquiQfnWJ5ZDdx4XQHsdHZO8IoxZ/Jl6pn2JHMIvmqgfmjo3rDJEs17f5jMa8eYFqwcpVrI36oViyEumIlCIqW+GGzgp+C6jLIyzVTJmPB1p4KA/c1kcwj1UF4688c1t1hnxkZvCFoxeFnosTNYtj1Q2Ph8z/CuP6Tas2yr/qxykzB2/qvUgT4GchZeKjH2XSbFDpnvJhno0GjYybrtc3Bp2KuBpkTA5N7jNrRdg0BGbAZ3yUCC0Wo4qS2Q8Vn9gEKJwAce/GdImjrsotIPVzFnq4qFTgGurPqZRQ4escgTO8bM9iYRlBsWpJrEtyRcusISxpWEoYDwzr0XWPc7z2GlV1mb+OgJKxLxkhH33DVogkI8gdB1reBhFPLXOTMGGO+whyL2o0w5ee5Yj3ijxTxeoyM+nwmVSyoKKMuQjXx06qPSWuaQESabM5Ja8es47apQ0sgouT6QoKex53uGQMEGZ1OHxjlIvz6MQ7q79yYm14xLiQEHqBro6kC/qhbXV7xG7oCAH15QP8TK/SPrUkh5pdMWM5M//0cZRoatOZroiNJAuc9+tpbyrJ1i9ykrjnXkApr4zT6e3m5JNp0Sig8Q31b5UswMj639wT4uMp+BZ0nee5iq+J9XJJxE12+w7fcOJKry/esRJakabbJgTwEO8R2ox5cj0IXISateeGmj+QIIzvBAy48qzCiBJmHT3ambbOeVKieLgR8uCWOp3Jrm0QZ2o3ZaUf0IL9/44RlVKe7iNA3VYv/3slMxZx5LP0Uf6i5KF0Vfaxlt5ut3APO2d1xIE3nye4oAeh6qUIs2KwM5ciQ9CDIjAeeUz2fJycERwbE5BSGz0T23+vgvkpbbQeXqYtGHGZN8OxVXDZmjiDFyoXXQ4HEojuah1/Kft1VXUWcku0esdRJ7/HFZ08BYU7IsCs6JiipmHn43rSkz/3QHGSFACMLgieex5oZhOWHuJvqxA0dGKPfhOWJ0JbJP1ibtr/q+CEXiFp3QdscNmhDUi6mhdPpA1Bzrmd4Q52AbR7VOOjQvpRHzN5TZiHAdGxss5Iphca9phuGnp7xVW/gG/k0CJhcTDxACuu9o+hFZE3tC/M3OUXCNVHXdwHeNSsqRJP9uG1WYH6RudEJvA4RFsFxIFyCT33lDtP/fcKhIIEI882UbJ2StdAloIOmLCBpS0FqGF1f2Awb/3Vel4pNtiBb4A2L9SzQruuEcDAs2oVsK0nhPThcxuI7C6d6HNZ21s7U9/+BDmtXRFj5+fW9Fca1DMgF7cTPYTDO6bomnwZocHa0aLton/4VNJAmixZFcKr/2gfy1Itix4TYJaLENLUG1vbs7i5Rl8snamVjATPHrMxNjp0wOKxDizXZdSsT2iWUuUngkdvE2BsWaZSref4TKn9SuPJ8KdK88Yat81OVsKUNJ/nlUdQHFECPWZSHmSmS9yXPooFBEaxq8suhVxjAxoH8QJUe5jiTxhXGe4yhwZUMPAQSCbx4WOYblEbVZCFf6UiZ0527FhZ+uu1u3m6T0NkD8KBQANLqX+/ZJwbRu9U53broqa4ahkU+3WBjek3KNGkthK3FcXgDFtWrJaoejopvxZLCZ+Gw1XpzDeaUZavlfHzC/e4kx9/mvCDl0cv9+wNY25sYhaAmnBxY08aWEL3kVgY20gkP30JAWtpOoFGsC4HEtpRXpt7AYFRyxNtclPn4F4J7fTz+9ng1OeXy9Fyj7IxpB/gLm5U/+FpGk3oCsPwTg08X01SRgSOi2i7dl+GM4r5NnwusQlmDEmKlP7uXmiyu23xrz8qNiWM93fhvf6CYh2yarUI3FIgeQGHRW42DELyDpkZyG0xhkWAKfF/07xxZAvcdwRvCj+Q6B+NJwr7ocu8lH6FAnHpslFCKt+L6JiWexpgr0xKcO3vUSoFdnbpbfTVYJurigYpqrsrR2vbaTRovMZlDbQ+pI0zat7kD113YFClXnb7iReI+YUxGN3OuVJ7YrA829CeNKlDB3+q0aaDJgRMXKOF9Gl3BRvwJVDV8reSxO+Vw/O/0wTKmB8A4gGbw9OlL3vy3jijopl9oKC/xYrnjzHABxtNlLdwj6O9EC8uTk1c4KzU5k41aFqKqHb8AUbCls3JZ0W/cKPr1TfTcYuruAguWQ0AZq3oak8lKP3INTHibOWWB8dCgY8ewpdKsbeY/fSQu+u/sL/9YtQm3x3pkKzmzl8fWWfVZsxiOUnxtPAV5uh9kDoa57SK8dacNUsdydxLXs8Z6AQvh5WnfvGxon+NQ00A5dj492ndlFRmJYqJxZ0Akr45JSjW6pDWuoORclGkqQCaVm0S3jZWgn7rMIduuPr3/vlFa+WSXm/zBRDWu7eItwXVOiryIoMrTbYEHxAxJvYioQDkoZC6EosD93WeTDiv4LkfnTQBNNYkEJ5/o8SMxXpP0+bPqb7FrXgIHoNBxprWME/oQgSBa1lDpdip7ED8kUfbibNBG6CRSFCT0lPDjo30xom25xOH4kqodIUqPTsD/mA0h5AUTpH2vT8AKmV7TKgJ/0Z0eKlDHw1Hy2FE2myxMZiVJSmn7u0BD2FQmDUZN8M5hK0YYSeKrFPFibd4ycvGJ8E0zZCSbkxC66s3scrTk8bCCDvdAP65Y+iOoB1mR0Ts404RDR83zgSEErsmFv5BuvwHrMaT7VZ/kEUqsBQIPpJ7RyHUW2SIzWEuAGv17HfNyuRrGGwrHuQLuEOI8uXEh+SUePe+gDJApoa3KpKSMb1aG49D6zNrN1SnoMJQ1Y7oG5fROTqslGByrTsy6Jk38MF2vt8JhY8uneT8IYptllVgKjeK06c5P9hu3Dv0i32FIDZyQpkeUsUALmmRwyhfFQpvWtAH0gKz0p0y7QtWVV4LykUlKpewNakA0+KwVP91fmIen0+yEKDNAkN4EY7CfrkrMN6pIrW6TMLhs2gK/qjsTiBD5uJBS6AjgX06tbUhZjcrqIaxuiX3Ad8QcBQTFH5nUVCYPtlDYTDcTvlCUc+fiA3P+rKCu6E99G7hEqZvdb6JpafDi+4gx9FHABTiz9d/JdhlC/HT9rL+VqAeB93QE/v0VblIuyGlnUFy4cEcbiV/NNvUv4ch2axddbEg4tKnuMor+v7FCNA69VNVt/J/56XB6f1Th/W0e2hLKvbYSbaV57kh4eURkOuKvAYgRLftS3tc3hdlRz3zan28AuqYeUdSU0TIQ1idxd3qOx8bwjUmWdwQVAngQHaH0UEsYi/FlkcKxRupSgr3TvxqNqATLGxSi/Cy1cUWuaYrqnvph93cHmEtaM8kHDKtTjo/5RVk/9OJxuVJhNtKb62T7hiZcxrlm0XLCtpfDZatagtv86E/OfmNKdQVo2D/+2DPd+h1/CiU5fZNBCKym6XrFNkkZhxY5T/L6WodLHtr3gN301Vc5F3fvKp1teLOK4Hh2D00Waf69InOfgI+T8TXbyKagQ8MEOJFdWDdaAIwtEa9QmgwPl24LkxfsL9HgU6HBrrZeGWKKjvHqEiYTrOjgom3yxr3opzKvu6HnAvtqC2NYJHD7zQcFA9WWMMfqUSinhMSlH00gGuvL8FWMELqYd8PA+P/EhLLd4Sx1SC2Ab5YGUSTM8gvkAeuzyDml+IY0lYM8saisXkOOhNlrCqwr0WOOukw5oOx1IHPXZKApPRip3ol8ndO1U6Pb8Wenob4YAUI7/uCkNgnbWYaVu76bupmA8uO+++V1Mpf3uz8NVzwWRN5FUprvG1jblV1xrHUJeeDrLEUIiAxcHgSJQItPkou+TOpWgxmifK1Fbp19b0UidTj6vvhsA5zCc+fuVncjiq7RAG/kPyfmjBIeefb9cj+UIRpBdcUyXIQxayHn1xsyHV1MbFjWxw4nxNYdm2lHVRUQebj6fX5/HvbQaHhZpA9FYJbrOdvaU/0sMsVmq+LQQA4dBWhICOzLntWril/MYGpY7g0WKsoFceQexMpEpTJ2+Kuu0T3ERCnTCooztosEsL2BaawLQgnjA3K8vfVA4DK6AvHnl/YF6hHbP8WyegPm/G+pmgY6rBXD9Q8THZZYgH5h4j3vvjXDNQXqjOY5bh4v9BA36ty/ZXYdUK49AVmGDLauEe/jaIQIyyS5nb4ebSssBwClngcYB01JqW8u83qEnhR9X5mOF6JXFFoP85SVJ/Fmqqw5MzeOrvpzYMGNLdPbv03ifbPdD4es9OZuUkYGMqet9kPHPck11Akcrqabfzw9uNJxgAlbpcuGY3+hSigG2RHMbL2JqtB9R6XhTvyF4WfqBmIBpDjt2B15GdcbHXCA2jvI1U5B86XtCEieqMqjdo+ayI/rqwMseTJ49cA2nORM/VEAh1p0YFYFwyPuJgbV5/75NuuTUgfBAx3/zUh7DHuasO7XbJWjUzAu2IaRFyoGYK5EQV1ltNxdHerimD0SwyQfbJlHGFCnzjkmN+Wft9ZuswPfykKMXsPe2Mc5PEU3Ks9CYh+uI1w2wPpo96JNldVNrXuMbKuV+z4PoHhGEhzFxTXvp2SEcghFxiaOLRokDAGxXhjbHRJzj338Cb4lUi8y8tRF+yMRZExZdUBOHX6OCAj8dhX3qMCb1TJWKiXAsm/ogzOpdfI1GJc9bPvB1MITntekEVmHetAyBx3jK1kr5Ee7EIBuJQ1WpFxjiX496wwoyM830Pr91vUrAm+5L4VQYtbspn3JtnOQ2YCk9VtFFUyvNthFfZLpr6jpHKTJpfzkxT+5RrgnkSVZpAjqhRjHeWit4loYpC3LjOLZEEW0184D6dYtSFSy8En/ppUTp2vS5/Fsemd8wdCixMt01CX+U14dmSQ4PPsVo1xuo9APt4PVhgBGvEo+ES2MR2HHDyU6Di6qV5j1ePmxhCmOkMhXEGpxDvH//zz7AzkC/b27RqYfSHkb/0TNPjmo5Z+aDq/RJaYnxjZkYo/D5540CKrHQ3C/ROgOS6OUeEqvRl3zMWZs2s2//Chw4bzRl94hMZJmCeGKkhy9wqI7b4ZeKkhMcJCSZ5oEeqSpyfpysUkJoMsjUq3Y/SVB84mzMmj1VIxByWBxAv9mxu8wak//C7CAsCI4VK43zI9jqWdZ0W+lzb64dhYIq69/gOBBV1WszJrRiolkNhLeGlUaH77n2Iqcbr5rMlcP9DXtR9aH5H698pIlqh4qYcT2v2zd6heWo6c3gH3Wg7DhWBotB3eVJ6dY7id4AHqFDC37MEIlWR3oshCCXtRVfvnTVC091fGXzaRTIK/jhjjDuBSXNSIq1fkTHFfJKDu3o7fH32yYd9tWnju2zE+V4noQLBtEPC1uKuFf/lUTXwIW/EjnPOgYzGrzcfH7TwEFJ95HLicOsYKvlhbM7dqrVmcu3Yu4TMd0bsZGIqr4zlZ49Txkxy7FNLZnwHWuoxGglauWJR/vjGIu+8jQUf3bY65tvXB6sh8t8VRQtQwi0DS6q63vj3A+78f4gYQ38Y47ZOcqugC9svbsCCfWwe2Va5BpjqN1sRdxfKBGb6SaMNrOeOr7dJXbkW8pW3xA8Yoe/NfbLISBDONzsmQ+WX9os4LbLYM2rwKCOv5WFhAOcHuL002Oo9vsMkvwXqgjL/h9rdzdJl1+g2SAM9Au1rn/8sx8LMu9YHYCIvVYOqu3m4N/hmzCnqNz4c+c5hRHRpZTZGfOnT5O75ofSpLtB7lKEA707qgjTqIXiRyJn5mUW/sKqr/M6VPlpYOi4ufh5cJvOBLz//u7v3Zs9p6Iekt7JDdfJYsiuFYvPXU15RIvZ/GTc0g5CMCJ4MDApztVxdeTrR3HWjuLKMrCZLRxr0DpmBM9V5MBBON5Sb1Or5uOlQuSXVhhekWyI9cPgmnd08w99OCIO36af6NgyZAYsci9GjGFuTvqy+iEbPlNY4LYhoFHTNHh9eU806pVxP38J3M/eWdz7Cx7F87e3bo8Vw7nCm3xYGFc4vEuQEXBy+E+Z/ADkXCEtECRE8UcIFrPgBH3FJxPQeGALIBo9A4io5/0eXYf/bGItPG+piCPDIDgCs+l/+iAyDVuJrxm4I/0tqT8o8jdFEKwJE3vm02lXF+LjhE2A900IIiZ9BBEtTjcse9Hp0Wq+ilVlBfR9/8T6M6yg3o+RfDd5i11AjIzIIGsdcYminy5L6DBpF5mHbQf1NFiHfeyg7WcOE8hGqq19a0eh5SA2GRO9024MAYt0bD0ySHCdztocx71hUvhfzvkF5lF9uhdXHe6nAe9MMpwi4kzt0/X4J/kMIDlXIF9T7U4BXmmyptWlENwBj1DKEP7DhD4gMzuQ9Ff5yKzEJnwgOvEzXQHVaXZ0p9v+Mg7mUx8P8F7oUQa44WGntEDvSgKUk/QslgfTcMGB/R6tlBYubPBmGtIBtUL+/dqQZRJ6L9gByrtJ4XHEiIQT5KC4HZ+Y/FJJzjMILIn7cZbX63G5dnJvkcNydFvvn+8rId7CfBh4Rl8q86daFDUtzri5mMnLtLQe0kbYczEKp5fItIu+oPmEUKafpX5L5NyMLURo7hlb5Za3GmWsMxIJFl1bqkddl3i/nfcZb+CScxjQfHsObi3iL4xUKkcEA9tE8lIJyLan7sZi6hqDKXjLOZD/63sxRlq86H/fVuLJ37mHqgR2oFpW203LiF07K+LmIka1VL9q3U8tXpv+nmCenqnDtH9L56UX5EZO45aq7rxedMJSvJC8vy39Zzd1Z8LVX6w4YrIwMYK3OOaqsjUKICpujYqU/nBumwMHo5Rbt4UYUAnlLhSC+jG0MFXbsSsi0Zex/gjHGjT/xZ591Wm/fgX9Q5eiZxhHu/T7G1RygP/d5gEmXpYOodi7jDTxbzA/yyr53OpVrLggNCeYU78Cm48C4ZfTS6Bcvo19mRPKUVnGZaN/Qlg7qzuPiLzl3Vrr/vtjIA0O4nH9VT6sA65th6CWuwNzSS6kGjkYVYneBy8lqFzqotkeWBjcuUPrREdBJVSFrlG3kDIpHlzI9eLBMqSbfvdDLD4riq/VDRzU9MenzKuRXN0PMCgdNnqoOJVhmXwu1jKWk6CkoEDPW+g4bcUwhesV8BRsJuTU3gwZoTiDS8JEazx0o1jrd6yBQC6S8Nc/EPPwcmguvNU5vwlMCqsm/79IEkgfi05Z02HqlqEcPk30HbRt244owB+f8AKCe7OjlHQjnhf7Psi8ZiE6YWRY2+w23QJJLMNQK7bGvBvEx84WcjoFOEZ8a9ABbVgSz/+IxmTScpKREaTLSL5mSY8lIZV26o7v+hVYLTl+m7tQDUy/ezKhchfuqfsSiCv27GKML5Hgc9Qq2yRTms+0l7eJpPo1wfiN4y7AzfEYTmk7MqxtXF17Uc6RP3/PpFhIUDnjE0DvEFf3sRjTIAtcEivUi4ZcowyBVgPIfrEzpappKuU3GrCYLsjZ1BqylG9B6YO/tNEu/IIM3ZmfFFlRisE7CLshzWnVWVi6u7TMwSDXU5S201pZywyigAfmMAJTF36BAbq/PAsQKRG2GZH2Qv3+VKx3okpD5E6aCoPuxGtiNEWUkwryWMJF1DupXqPA4Np6ZHaHm/0OO+AnHNYHjg14F+Q26+MfYk70z/zyrQChAQBLo7/PPiXX4jcING4hnQnzSco84fTvxKu9bxpwZSXF81Ymm+hy8JgYDYuMJJOzawhDRGBNuuft49dQw8CLdjKJTMpmEvG3I8xXIwtnldXQ343V3BpLfRzEnSrix7TRV8qKwtfUPBxubF82IQHkhaqESoSTxeiwyEWMfC8dK54rMzPsaWtGq7YFWaMG5bQItWCUFkE3i5uGVbBpc90WUkKio+8J26X4PBkyWjzcrbaoZUMIXvf3Rug2LTDJ53gyYsRPoOQcDqlqRDbXMCK+p+7ePoyh4fgtKaG1IdrGS2bF0TBtQgD+pbI5cCUDV9K1IN485NSH8Jla7pts8XMgRZzDl0ckB53uXcK6LjdyajuJJqLRyvZzWDmm+Waz6vENLjEqFQNb4M6Klg8TLwWHlL1UYEEfBDiR+XNsAqjFDQbf2KOztAPYhhsTaX1ITd1B6eaXSSzCvKHxUIG8PXVvAnxVpe2miNo4IM5tZ7xTEUKxB8GgZOLtl0P066X9dKYaweFvqnUC0Tco/KsU0Myn1v32TYVbODK+W7bg4+k/dNL4EdMSiq79pPvagYR5SW7mAUP87rCoMr5eYGJMh6lorrlWYndr9CxavE0Q2tvVeCwRnaxKjLpt/0OHyRiRpV/z0ZaAEicvnb500TpaAaES5mTIwfQR3SitYUaa1+FfztAzZulK/cSYsupA6gAxtBDwGj+RbhjY0tfoPMvBc+Br4JqPjXPaswX+OLOO+9JrS1Nx7yangbu5GQK4xNCHEtFCN1JtBOqE//Gch0twt8eVdYd16MhdLi3UWWC4+w1vKOCPC2/sA0igdCVnr9b886rqykoEPIhw+xay0nsQvJyrgeMdxwHLGYvDMc0UELPYmNy6zdfkfNLb7msY/2R+g0pZUl0BYOUqFfmXuB1L/qbX9xtnMAyRxy/ANjKOHyAeNutPED/6CunXfbwEmcv4/uwQ+wUoQja3MzA7cUjwzylybk4nYRA3hfXe4NR99w8RG3Pp5cWpozYBd5d1GTYRyj/rhRg7aPVCjhHTd3ntkeFKk10DCwuXi0iUDG4m5zg5BWTkgxfmRYm7siHYD39I0Ae9JBDQC1kIVrkHrbvJD8qwLTJmxFfHhqn0D2Pn+Ko6LxIPLzVnDjee5G7MH8f0jvdsKL2he6EDOOnwsTYAtRhuaHO/ewbtdknvwKBrCQLjlVq5D0Jo8RxZ8MMMEE3O27atxEb3HYvFKUavRhDa3Co62EWMXB3jRKlmCqIA/BAmUHOOTOznVVZ5uOAwZoW8cQswc4lDBmPQJAfa6EgcO9dyw/iRISCju53PAhQegk5gjb6IzAEyNG7B8/XwntAo7tjj/pgHijRDRVXCbP6zx40P8+akPb4agRbSkOx+VgbsUy3AVLrYwXIMLyLu33ITeY1PU6X8z1NRCaLOB369W7RHd6yAlqpJPFfWtSOdstV+CPWo92Pk40J0Jp4YBSdBpQnbCCSgEkvJFKeWESWKWpND10lpAMN5maGIAS6JhOotiZP5r+5xA/lHyLGJws1hn68E2vLGX62leHxa9Dx2XpztTbftrsBx0a9FTu4+E0ZhyULcx1Hw9JfSNUUeiT1Zb90I28o6g31CLss/G+3qT17Vnn/RmNRwu5/v7icvukjrFCRqi9u954TK38phNJYRXEykQPpnF5xgZuvEqpDNh+cwxU5tUB0uSWAD9a6jwowxNw492wbWUjHt8rOB22VqtNk98VTS+VzEYY6cuxfP9eqTvzzIkcpq265dd6J5JdwUdcuHoLGaJpgF9lRRWCHXIoNdZ6Inqkf514WB7RWScNcx0jmJVd0MIEj1XXvBUmVREHU2h1bKs8wzGomdSvhspVdkq5JYm+ONCmiOY4bVVYgYvf+bDWNzO33orc1gBi4fBDkedPKy0aS4TVgucN7/UH1mwtpWrvONGAnJAuEY5H/RstEWFsFqG+8LTnbxaDaxtEzDZlcM0b/8E3aXC1CW2jmowgrRbigKOgYz4Vvun5I36LHtDKW15z3LVcpexuvxFYlf4XfiIJ3FbZOxr6I0aBFa48i5XC5ttsd0cunLoEKu7eaeA09p+eD92oorV77Lw/SwdbKbUDPTnnF37dX97k75RIpSp9iR19SPEXunrmicv7YaVV76afr113mcPa/98Y126ADdgAdgkXd4oVWBq7kwm1Fq+FbZR/BW+NfIFlj1AkXBrz+DieCkGttJPZF75NWtBNBq3frn5xSPhHGcTBvll3Ls1HE3/wLVpAw2MWwcq3kdfhpUxFy9TEomCg7i9hIruGOxyazZBHq55QcM7sQXI3F3DcDS/SgaIcF+pp09BRisOlOayXhBHCZhTaJQmxvNtysQfJyGG6zVsasRQ5TO3qbdLNUTjNA+OQZwhVZdn+VHI5XvaQvp3iGR3ujLtRdTiHoGfp2sxePxzEhF0H2IJ5DvTZQGm88/YK6Q2n6r7c82Vg+JhYbBDpqbQEVgKNKfKYgOfDv1H8qGNFVmlyPxfc0Fiam6w2/b9dAshowTUv5JFst/+0c/7bJwF3CQQHtvx/Pb6b7agqXzmwLJMJzhRAC6Q33P4hQlV7x28hhi67fu3fMxPQ/95og2AEm+uXTrCh+kzt09i0YGMcAU/B8qrS9xBMOsyG3Pate3xWqPwIGKr5RvGQFetcnn8UiSzXYfDzJuHWR6QdsUZldMSLVlknYJk/kOki5tcniekkzkn+YivY0jL4prDwRoe6wTAl4+B3GEjcBDXBEj0VEqXrBt+etys81C4HFvxWxTh4CLjoIYfw6+vNS/+X2llVqi1u068gdSX1qRU/Koqb6Mn1oMKgCuL1Hl1uynJwOhFm9zlT9uigssbX+heDdn8FeRwEdpRFOhVUfNC6rYzUPv3cblYSarPki2Z7vsLf+lWsPHAgcwEY79RP3JVF6zbTH6QDJk7Se4l7DKTSUZzltX5wIN2GYwCAYgHIg6VCr55A3Bf1z5NdKVQ7RughI2FKY/zQLTy6DP9V60qsw1kOXLZOU66kpsH/thhw6YdIiZ3nqu9JLLdPBULo8BGAoVPZP99OQouqkeoMSeICn4OG+WLYFERY6PyStdLiMcKYjTidfLgbe5CiA9ZNV6roykYYX4hbdhVdkaT9ikmNfOlcFlkSqX5xf68sYp3KhtN62ha0oTD7J7OmdJBIXszVRov9+t2VVONC8bX1RjfUBGGHurQf85jkd4Z5y4gYwYyOLKrGVKYLYZDESj0KFiQ6z+Ku0YntvH9h5w8Zuw61S0jDa14Pvs3YDsYrzChyGgJvRfSbtiKzh3zoZPgvm4ka9/h/XGySYY6rMmVRURLeGhzv2HAN3CFD7/a7IZpZaGEqNGHjFKscRZx2m7Yx4AaeGDaTYH1J9kaWnEfVQY3TB8tWkaD3ztM2HY94aI4SwX88YuxxhZTtaii/NBAO4xvWbtm1yolPsL88pYQ++iS4UM/gWzEpSrob8AtAGTjS7gnMUHAnydKxQFuLBumHixSVCMNssYeBwRLmj1rlp48+GbeOqKgDXjJ0S1/RbTWXqqsK+mYZdNApBzbslkWrH9HRn+4/xq3xz66HzIoQq4Q/HTIoVwllNj8FibURH19ibdp/6hzz6/QuQWypXWKjpUH5In/MItkjz7WZuodBYmjKqjm+3kD7g4sVrLcKGNmT271ukAkC7mWWD2jwaL5fwG4SLpVkE3D8Gr2AW5foceWbFi9sZYBh20lsmm/6WAX2BTPkfLKkWOSnOMb3bgZf/PLttB+vTy6C9Ul8nUzU5rKtujsqJT8dy7+fc0O7W+n+6Z/TDhrOaOAbQ4bvtfxjNDWJS+O4ioznUyICuLwWcA6sAHqA3xPPOLgSItOjMotwTU3+HkZCowaYJPL12Qz0AL+hHOvkCONwxnTzN3/unbiI8QJgwrESpbxEhNs+M6hR2f2wkLmrQo/DRDm6UrSmZU8TrSGE8LK5GDhmdHSDOxNA6eS1t6gumX9o8lo0ThQHRJVLvnBqfWNcFLuTAmc1Wv+zckksegQThRYZjLDiiHiWxVvoub2p16b1Z1HuEIQB3vnlMDZ7bhiqXF/AZgpZJ/6WS66SbAdLibw7yGNDXE+d43zqF2g+fVcE8uKQlkx8k/sWg5/5iJq97knFK3KlUZ9o/0LfTApgdhbkOP4YHC86NGHKtAZmXNFUZFkoI+qQAiFzbWzR5Cy/ATSg5w0q3uf59EUO8cXGibYAH5NOZX5FPy3qm0KA3tJ88nry5EBZVEhw1iVW7BgqjIm2fEf1+wHCIuFtPvCoXCINb3MVM4Yy65v9AOyobbWcAyC3LbJkMmgBdjrd2tI9vfHnRGLFT8/3apoH8rDMPwXeJo2Rz0/iwwAYlONQ+3u7+JMNhCR1D49CLaew+SooahQl2lv3RzXUBgkae4X/C0+OSZkH91/lsoFl6HnQ1QglLxhdJL+8bm8N5NWH1VSvqSnIAt9mxJvtO2lvW/uQBcYBmU1bXCGvmcrpJW/NKp7XptD1J5g6DXn+rJB1Vm2MkiLcWtN4AXV1P2vmZEOnCc67rC/avFbRWARYQzvBv8TQ3SAIOPObxT/dZWrJJJ7YNwevcw7uIT7h3cTGnS+sRplaW4hymN0mWEBvQMB6uSZtsgLGWITbVPQBs4wF/IJQdT1ZFlUWD8F0tHWuQJoUbKgpyURjA08MDYfYs6fUVc32jSlmZqwjsF2JgukuJbaB8IVfbx5J5lGUPUScdO3cEF33H6HXG06sAa+aZZYJyGym9P3ygN+fbNtgwLmuug8/qhalPGF1Zl4HS9NxDz5v2ARYrDBQHFm7UqVIuVZxVGT54IW0+BZDt5RyI1B7F/YlPp05FrWVKZdkvPX/Eulwae0rhyporIP4O/AGRHjglWtOIduhd9ScKBtByQOVRIHWv3GTGoOKbaDz+/Y9LMx+oG4sggeAZGWgAGfNxsZg5SWxBoqbjvgk6dXyhSWDQNBTF1Qgj+LDbtuYZwsCUiDadgEA/czx4Pk29oyDwM80n3Rw4p/zp0yTll2o/gRRz9S+iiu47v4XHv2GXSZMh17B/y0/4M2cOXFRq3elYhKv0DNw1AVs+JYi9GhSQNNavApoYcC1Y2+9TCRpwmeDKo1Ve0EQuaiU1eH1AMRoILI2EnLDnygQgl7hHYgboh0erwUXOuwAZTpiKMDtI+PgEfFH2jpFxEoHJYJPrjMnESCzwIOK4WhJL25Vla7wv6sW86xCD4n8JI8QfXdx+KeDKdSSKKsVnxztgSlVUtMtMCoaK/+/ZMxWFNkQLOakcQfwoyxLAs36dZJ3UXDyzzPvou+RXCkckFRPf5QKTc0+Z8/GTutsNq9p3rI92BaCuMZq8UPIXfmj1Ms5z24gSS5qxEUG1odM5HZOhiP33obsSOsgt+fuNYvwCpsVODRjUCCUcKxoeXsRWluirMc+OsKjySdJia2XmxV/CNISYj3ginzUTq0uOk8qED+e7eRKIl18kK7wMR1VS5WWCnS6OxROXBmjh846kU3Fjy2aefBvbXpxwzySW6xD28rz/AGMRyw51j0TJ98Q1n5NtFi9McgrW1iBmkKkwiCzqeAr2gVRXyo2/vCBTpLEmk4dUJCIRhxGo1sSgMRVoAlM0HxSDgGZB+kSccCRtjouPVfD+XqtFECjc8yK7gFu8O1RZUrNOlC4kh0sHnOpThz4W+uLmUQtXSGWokCQ1UhG6njuOlzYLsSi1WjDq4NJvgf4xcxkEfx9upcHylHO7fpqgS9Hahy0Du9JK7kGK55SiePuAbdte5CzmLoEtYu6WV8/oLVWbeheDR1vUc+04DkL7LR7UkBSHPwyVfCBlGWDZh4BSqfFVtxfEZTtxHv2C94usb2PgQiqCTK1YfEwE3tGEppiFs4ykyDpr4SHyrKcXa82Z4ypj5vlN+MeGiAIHFVnH2N1xpCo6XyZJ8QX2//Wd6Hbd8XP+/vyVsxz483Louat11xGiRLIsraBy+0twVD1nFkC5dAHgBmhsluVoeZ10YiU93zvIRGlufuUhbxpdjBIJKe9cdT0dW4KEIfX4qxrjiPx69HlqCXytq8uh6BEgfMVfP8M1LewM9UDlYmKCA8Znda1qU3d/NJ5Ki0bRXf18A9crCd0Bn0wdTIjUmxqfDV8BKWWnkdyNTfr1y6u0JMYaPhxckQ4SKIzy0O3rhrRWBmKaHZrp9KPktL7ncxo3B4pvOb+5Qiy7HEmJyewjikqh9d6TgNO1xfCF2h6hMPAM0SGAwrm0ZLheMOsUZ3rWRWECq/cn3OIITkmiMQDUB/wK5lfQofKRG9jWB6R6rkfNDeBp/xh70Zl8R0x9L1Il0rn3pzuwwkwaCB5bGqsVGrsHi8hNQ4zOSUH5qoU1bc7U9/tTE9KLQh69bjA/XQvviw1ZHtpzpjtNLtYC4EodkOr2eubumTCAwNdJHkeh1yutNEONl89WwRtgH4i7DOHuxVrMu49dKg5L+vjNkCKStm6d7M5Rjk5jwSfBaMj5Ieagg6l9NTmdxShqv5ovxWBhRvvajgby9t4+rww+VWvv6Zvbov08zy3NzGpVEnVqCFCHx2rEsyePtQ2p/QlHx+/vzfshc7x8MWaYb75A78YOI6TpV07a8QS7/aJha6jGkGO92suDGiJU/9DdN5mmUxPiEov7xDxVypyFKitHu6hK/XwC1D9v3qIOhtPHydZp4Kwf8MG9A0ejRQyyp11eznG4gVBDlS8P0HgeiphTafeDcKPERsmqmzlmp0hewrKrpnhK5uaI45oR0Ey9ZSGbL5TGjnuXmJYibDNI5LuY1xUk3clHZ41p1Xde2n4jXFenH7s70JRPbRjxWssyaAhgNDPyO71yJyZvYAQegTiTQoyDR/T400wqEY/L7AJCI4MxXMQjlCVspnNOXkg8WdrpffT5tVlOW4k8zKNEA0I3zv5SQdeI97qeHncQmCeRtPtVFUczMQDDPrT8LU8oU4wixnpdtwi7SwuJUOoPrM5schu5nKuemVV6tlRlBz1ndUSTmn0sStmnPKbg2qcJf/glGm1JjxZKph5YTdtxr1MNxN3pdpBxS94ljmj1YAmCMLgyBd4V7MIOMemsE+WByhOUAHiW1Wrm6jyT+k3bF/FF/STdmzkE3RRm7Bt4SIiNXgoz2WKZYs6h97eZlKsrSM4tQtCXINxvlQ52e/ngtv6BYFXAXY2E7MAwG8nbwSoKt1ZKeAhJeVafoC2ZPFMVaoJjw8XeAYfSlnvyIK58hQui5DFsKC6K9obl0zZzHgVwuwOfuROmKzxqJayrv0REyOHQCfqUnNdERToee4rmu4EfEdc1taWU1CruJ6OYYMloUc6K7iD8QxerPY4+EXQj3AgqelWWsev7Ri7acXpR1NbKrbj9xZDSXcXcMXw2pbqGYVSgSyCovLpbLXC3TwyJ0GhGzLoZC31MRZ27BLV3iTul6uIMTDHgrL2y6U4oq8rY8BZ5RbuJn19BTC71gQcAKWjdFDq4xntjwfI+2pRUUZP7oElxgouOGVAZQbMfHm2cxysK9QkRhREGUhz4LZr2FZdGTlB/7/epQkn01SZ7ScNi3qGyokbkRPHGPgDxxZHuQrul5K3hOJbjGqUeft+3NOsQZT9rkzn+YYu3gYR8L6ru5LgiHrxzUR/SeQ7YKwN6ZjNK2SsKrwpgFjM5+3nyO+nZWxyucq92UmGq8xUaJj0o/E378spuQatFhw+QUvgUSLLfMV1HJSmpnb+xiSR8v8jT6VrfRvy8ean1aPF81jsXcP7Mp2GNHrmCLLvS4j3l6s12MZTrytL8peZgs4V7tiZsLcf1AxHT4X+CgAG+aK+n2SKJSzvL1eooMapokwy6AWIC7kx7y2DteenXjgrVsDXMthbEyCBFjkfsjUIhpA6FKw/NTzaGyug5z1yq5ovtyGKKHwXIReyjcNCPcWr2g8e6S2uAZ8xkbzInzcv05D8MuTUxG2VyDLrlGeeIfgnEKHrSwQXWAqfnVrm+MQ6pqppE9E2Uul904+pWiRryamxCjiVhKh+E48yH5RPwcSnluRGGWommdaMG+MpClE+v8hHzNX6LLKQwzCkF1wUMvSgF6FbVXOB3EfqSqKKX5VIbZmvbMyYA6rpXkT5cDsOb4nOMyY/O0DOD/sxi7511XF+83OyiTdchw31f4Pn81I8BkcIy1+vQ5FVT4V7RiLJwnc/dY/T96h3gflZjw4rA13GVIy+MawWHjF14eBF2cuKnjuqP4HkXL9UaI3q6N6feI0GOrPo0mxZN7qIKcFizzANmUzLTRC6kLcKZyoJbibeGPoQWSlZ+RnNPzfx1bBkcqR6j4HBueoz7ngsoLb0tEapM/TZ3kUpSvj1q2Ze1VhKq2MBWHhRrXT0vCoifW1jaM9ObYY3FCT0YeiyMkm7+wPQm95N60IasJ2ZIAHtCrZh5L1/K8ok5J6GhqcKOAAqB+L+sE5N1f/uaygwoE10Xh8Zza7bm/lVUHtoE1SUKtxjFOA5bpd/FnpVZ97/83tX0K61uv8ryiWWUQf47xAjupy0jWWVbMbitFXcmB1pAlzMO/Td+mRzRQF2xR2ITG+WoVhjdAuTfNmVJf+ACDckNcQbcTFeKYTQ4XLcsGOW3bnZILosVgA0p0076Gic4w+xD06f/tc6q5DOLDE5XXr7Lv3LH4TkTlTiFPq00JyjkQ39w15ANQgIraMl7wC+x6oV+1AlnuCYXlzf+esCYacXZPPvReo0prPkTETmDcA6cFQQf6q8EI01l4CIAPeAebHvitJe5OU9jWnWjRtffpg1072EMJdsnrO/FwXLVrTTQmO9n06XfLcreR5z7GAcLf9Yo5KlyvIyTpAgrROLsKV0PGcOqArZFsgO8WK5bYD0qNj7Q/czu+LvxaRYnKYtgvBYGOuB9Evjd2ZouO/zrtrqB6J+e4p9yJ94mw9kpnkMBy2NB6Qrt+r5vDBaX++8xemiGm3JCuESKG95I6W3e6OCw+m63J6G+oKDNW1aj/rHTKMUyG9MkTOR8IiML4IpUWCMdz8H4Gr/sZyaTrr9XJe1qGhUVju+/iBKBKN/j2++BlSMapOrtzX2gSiHWo7PlD1vXLl+vXQZrfwsV0TnaUNaQTgYWzIG+YaE36tfozwwnJJzC/nVordq1haLHmEMmu9U5PfXcDg3h2hGaAbh3CQQUTE0wCjBFHxjTNyAXUXSUu3FMiC6Nu1Ct12cVa8tY3m2US30X44R72uTH5A5Ah87CxpT4F6DxoLiMaUAu8gmNnpP7PUKzJud5ZW27/+Tma8+sLSIp4QjQLGbWsSm18jcDZ207yQu7K6FdwW3lsH9thHqJZYvOno5NRWAEZrU+b7XUW6JkDRFDNxqXdt1XGcIwFhLzbvFLpbCK1X1zuj7VsxRSsmbObStdeYo2cUNh/8HPEaeZQmPlbbD1v38IUaIG0UHlYpJTr2335hdAiDhSdNLf1akvUdeWnisqu8cvJJjoIU1sx5SmhRYqUbThcHGvBvfAyJOD8huT2LHn+11Oav467lOkqXQ1UnizcOw1j8H5+EpTCdFjk3nJBidQWxH4ctgGaKpZ50J1Uinq8rv7ObpqYOprrp7niNRBP8k9d4s7NxPHQoX8zHMrB5xkjWbI/RnbknNP9oy78VigC3gFNFywF40CiFgl+CmAQBKBv+rENQ8VX5UJjBPj0K8gNtynVlZ/6asKCxy8B0B9yE3oiwWcCL5TxcwV4CguVt/GLTG6O76fJbhdxy3RoXvTDCjEKg5RH9tH/j7qE8OXVyAeiuSi46IGdVy11JHoFUbCGN3tfA7fmpSvLC4xgoThB+1XaQGPaYrQ4ThItPUWSCHlwzVnLpD+k8/zg4TUtAOz863P1WSVRJdF2ZZ0vtj538Gyulz5FYtT10BnYrdXt1S5KAzyAFrx139fBW/s7NEJQcT/VcCcvclBaM82KKiuATF0n2dN8CRluPUOiIUWN/D806iE2dltJfepoJVGWyFBshhtl4XwkTCaDY5CmrFgMGZrJI0FR1egdgxBbnIxcuM0t5cTA+y+SAKzqGttjudYzDy7/ZqL5s+rFIIO8itm9YPzhvo0Y6NN4BKkinr+AdLyodn0qM02W7B1bY13eOYBocQqx9nG9THw9JqnAUOBYbf8v2FLDRFIl6n1zISkM6X7ZQFIJd9BEBdqMPeCbbJiXyqoxznND6seBF7TZpU9kNbts3he6JoE7PuOelt3/xF3NM2l3g/prmYkO6ozT20VYIwed3ATYr+N40aQ29lHpBwSf8U6Z60a09WGcPZoZhpwPzQqlPM7nWQHXAYdAql0SgyF1ScBTI3mC8miflnWd/D5saalL4kqd/NSnVP+pPO7C7+ygO6FKnDMzSX4lIqJ1WrjpaySo/8cWnOMwRQ8ZsWOnM0C2NpkDbvXmba34oMWCJjAwozp7AKWP/tWrE0/jzyhvECBTtqTGFEwbFdl3srOOueX9PeKuXzol/QfF3GwCn6N6qWLcq5ImYsIrGYKoJLcZsJXatNxu7fBAK3EjkhQO3res6+iRLlzGEwlVNYGeWOS6HM3hA7+qjcWdapR1OPKsD9PZ0ekj49a/TYPePeDQwlnp4ELd4GzNsqudsn5tGPcc2ndMqcIqe1dTQePldXp2T8pnx4JLiBgQA0hr/qxoRguoxZJijuKjzsXkDfBU7mOHhqFvJrZ8T+kjV7hbYkr1yXHXdCUpa2DLqHO2/bpdVBnZofLSQButtKtuVBYlEriAsRIIrSRNUnvY2tEZP+pNXBflLiJ7/NLk7V+OfaFA+TXzc4HyICgCBST/dsi/WFnS2V3A4u42/L2A4cs92mVKOvqX6BHZUD06jMJhoItr7XGdtfYi8L3afveIifhdajyeypgbvj/H195ykNNiZMoqq7HQW5R7gmiRZzz6Sb9//E/pOu8kGget3i77vN9yNjErrG5ohSRZZq5j6SzD4ZEY7Zxd8zx4Ol1MQnablvToncVQRbv4LG8vEtLKFHp4YtOWzud+B1va4wsg9y+VSFq3F5w5tMA/kEOEeT0xmvr8NF/GCrvHGtmrps9ArYbhWnupjj5Edv7khJsRWZYaQBiEhU/k7jPDWl8f6LphIRo/veNtQR/170W57QDV6J5S6K7FadicIEi4IminC7GLq+/ypAb5BoevMO2jkm6lFIATHGH4E35GwZHQduGoZKuwDNDFOtdKVm6tmIJvkWWrxCa/VIO5mYgYnDixPfsNTn83QEGDq4tvkjO4X4bhG7HyZdqmLNZm00iEONJJGfaqfQZeoF9n2Uju+YKHbkt9FO5EpszgnZjoPZ8mAlaJaWHmxcfSoaAA7YgC74tGHVE6iIWLMyGPSF4N7tD+5glpFLXg57R4a+tUArIwx8dzhd7Dbp5SCCU8Am3hSb0vGc65GVCOuATQT3bLXSFWVu7v/DCZ/lmbaBSMWIEcWXkA33GzBRPxdwbK9n5/r0jKGV7WH7IiQW6P7FRIC9k+v46x/IgBP6VGWvKjd7LFweTK5xb14pzxjd5f8GDlOAo+f816GXhZIM/rGCgAh972P89P9to7PGcKd4OA8q91ECZi7iSHNrJXRxL3TpTNTbkvDku2lgcR/BtbxBtv9TrDykcap6jbI81AQM7tpaIiNrUD9Gpzpn2arYMpw9RtZ7bcelE/6NUn+ikzQLbW9RzwJp/LZAEHf3ikwmOeMvh9MTyzoOZ6uGjyh8aSllyVzKKzblwlISTopNv80bRgJaj3MIOaORKU30zmZP0C43GRV+sQli3ZVlO+A9eiIZY3j6efQ+4iA+N73x6BciW64aUKAo0B2RudtuMR2Am6STFkDrobOKGN/aQoWq6JN0zqkCl/GJsfNByychKO1zFI3Qr2CAPZBovXKfEJ16jrZ9a/sZxJwDijP6E0A7Uf9YtqXaoB2HlNJ3WATm+50E5DTiasbnX2wBYnUCHxMciW5BCZj/0pCnR91SRwdR5ULcsDCICrf/5q0GbESfUoo0nRfOgFuBUhDqjEgQLam3iVy57JJ+jJ2AJ9geTeUHLSXpYkx/swYeEQx14loL5fn6NaSz9HhaPZv4ltUlnh8CK22tf/zVf2LUQTghRBHZrzRnVHB7ALgwVC90y02ZCy/pQ08znpeuHtPyKtAZgyfw67hQzhqOysQq2BpPpqWVvSNafsQfs36oJGbySXyZojAzr4CzwWsq2jT4zXkY65ZnDZ4SOHFK7k1nz+KK6UInhhEQLx8XTa+wMz0tcB+c0Mwhta2pbQi/NsXk9QDyx1+YmuuH8vpe2ScR3Tj0qg+aHlcGmvxEzYKrvM++fE9tycBhSj00ZdilRR3ZQ23B3v8IZpo2GA2McgZinHk5OhYJSnX/KIABugbYsvJU5384+ZvvLQ69iJ8bhwFIYQqwHX+abejXfx2V8yHmf6IA0kmdhaoTBu+4nPZFuDW9nbN7oO+c558l5aZ02g4bboyRQh8lI1jNLl20oP1Ab9GgcTOvXhkIvNJ/K0LkKp5ErUf/J2yjiT+ebXU6clIvGMmrc4jsqWAuIdEBgsfsHZ+FsSdk5EvYtTr9jQF6VhiigtmmGCBtQ+NSSbuEjcsn5UUJN26SF+c6LwjGqnAbk+tfIPVa1c0KurL9b6QMTkQR7VHH/WIgU8LqGMfqIm9hs3PIsmEWyXWfwkfyw6Uwf5t1NvIYwdckDLZF0QtxPgHN4M9LwlFjCJcrB5fYiHigSt7oZEPbgS4vnzZQaK2bxnQ0O4oSl+e4aLSplfkYw+JVz81Y1Pvbf/Pfd+KUrNWkkauopDVYgHSKGphQqFFfngpygvSnudWO9Xi34eVYIfXwBNJz3gnx3UmnVStdLnKnzMvGCUtHpQ4dWJbRQj6e+DZeoQpMCsbeO6zFFCFCIxxGSvodu9aIy4AnzTsBfKBcDez6BpZPEu4kq5pfETG/DUbLgCo62BTFDG19JHnAb2J1LforD0w48ItKAT+Vgla9m797NyvghjzGgmkRRgs1U0c1dZofH6Q9MGpW2Z1BGDO1NO3PPHSSelxeIk9lNaWwCw2QuhBHUgKJUuRGq8NiMM8chqwZaVADdjVbPvN5KEMc2xAbzs6kepSba2i+XlF5+VUWrHTAJ1a7wFkgFki7C3xm+I2u5eiqMPBBPGMqlQf6p+kEbx0SgHXBDfHfRIGX/jHTss1Uc2+62UI0Sfkw+2gV5i4OV4feCyW/iwJOggJu1zerv3AmRBdPkunQRyqgMkkNG36q48ditZYQMePlTBP+EBkvvhpRZxoivdm1Qb7MqkzkgWj+ugCSMEuc9/0kjp2cXUWLsl5WGT/GObU0Cae2YnJnpkjNWUM+PrxM9NtcZOWii7VMWPCWC6e55VXRIVlA3McvEriZ4LULY788QQlXMQrpBucx2kA1ZdqNJMt4sypay/XCr1KsR/VtdecIH/OCIqb/8raNzknIYBx3x5JgA7TP/Mko1c5fOp4qw9OlCkXbwRJJH0kqNY4zaHOh1EiAVUBQuKsJVlRs9q4TCa/OxMS/zU3NFEujnLE8kZ4vMNbnovLpPvuSac/5fHaKGGOQPlK4jKsipLdUTujq+4CivUjqCzrb1IjkZl3HDuAZZUb4zOfiME3BW1EaNmH0l0E1YcHscHzBOk8mA2sfUjOEwZ+8czeViadGY6xSshOlZto4cEDtRmrLM+T/1C3w0nqi8NFF3lKzhPcycm6ZVsoi8gJ4dXhTPlBxuPwZsSdSNxUMyn0xFP+pas6vh6nXJ1cBm2jiKpYP4+Dqxs4CukhsLIn2ZxKDngM01DmkplXm7J3gnPByj5b3qryb31VoXOfOwxUmhdhbgBGfKIR8ko+72Qg1n4AdHq9DpHdbtMO+TQuYwE6MOcV3w3alTDHwS+Um7q4EdMm3PsJQ39Ya4R3Hnz5WLDpdPRNDCIQMN3jW7M7rMVPf32RHXcjgKIebEtxcyaTGa4jjH9LpwWNi063hOSTjKYSCyheAeqfqYY/U8yZfrWBeU5XDAatVf9ZMhEoiJzYRleiBqoxkG2G9HykHhW/v7d90KbuQAjQozYF/olnDuzynmouhWb9AiNq7KugH3tF05kuAmmDymBJUt4G/TENOEcHRQkpi8raAIE+L/3aTBmkJROLpNzAYmHYrQkG6WhucddCdKYegmuIciE27560M+DrelIzpTnKJB4p+s3SBe44Su8SkTphBSYWvjIIAuBKNxpOrbam+h9pCbFCLDm9HRbF16sLrJbbnN+awQG4AK41cjIU6SogarnkQAm2J5VFJnO8UuhJruUus7wrnfKqA+cF+E9d558V0y1BSgEckzZzNEcJwwdk3Ae5UeV2+cx2bI0B+iVkk56fYDtIex/XkKPyLrCuJm3uG1nqE61zEBFVO7Lpj9iMv8Nu1SkejwtDNnGJg/vc6yrNIRYJsR5tJDdtMufM4q8M5sWJ6SsqyrZq34OPFcC83S4fTqwfWRuv5/JvotKGjTJbSatTzwelFalwqyrtfPhba7IGsCt0Amki4zX3v6D2ll0ckynHP13+UJciXNv9FY1YxhDbH+bCwcatiXAnIoyA7YdX6yigArdAlX8UbI0mqGkEW4dcsYBuUFzPDD2oXObDtWis/qILoL0MxDPu4OekNiHqnks05+Vyl8SAKOgFmOEvp6iw7jPf4uZXwmHXOKty2JiaNZRJe1I8CwU8F8hNL0t9jF4LLuxBYzcf8nPkXcWkNXbVIooYkbrOWxp5HGB9sXD/+7vWna+Kdr21RrvGJz92/HBv79ERtNBRfPXUWs0QDyWLVvYGD07Fo4181pQg8vvVJiTD+U8Xa5VScB7mw2qh8dcitNQ8Mp0WKbmGKDePS4JFtmf4DW8ifmEbkYCErcKjdKnYF2hYz3+OxO07K1mr0Evaoy5Bh3V5zVY2ygm0iQQTLPGsaCEKHGb4RSuHVavDxV0/93Vd9+xs851HtqlTreSPcOQCEaj2s4uu4/MYTrUpUER2U0EPcJ/lK3Y2oA6nwU1FR1zOM+MnEeeRBOOZB3WhAxGugoXSVLyUB64Q3YJOhqNsScI9IskcWcEVLHnrtaYhWsRwK6LJnW6GFXIMUYnCLuTNhFAONuftkISrRpbODUXZ51NVua301pKj3E5H1ZbTk6i8V82FJZdzOYkKuuHFlid2IT55fX19OsydDkglH4it5MNdWCIXm7zgdkq3PoCHQH7/qSshM2spEpPjasiz1uVfx0+9YZifw+QCMz/pwVuSu8i/os+WhFyFE9pC2+0DRLkuvl2bzW3K61Zb7Yb2Ro8uyv1xptBRLi2Q+IO33nHf7EPDUXLKldZTZ7hRgsJPJiAY9rbTUNAucg3QaP8IrC3qkXaCHKImDK+VNj/3YncoaF8uta+h4jTILQdWtnDEeH/XtMOnPs6voahQ1UOk7lD8kn3qR7svS1PHmUqftYEjMjGEfbTFUlxkJm2rE5+QozZmWs6v2UaMGX6XPB8tlGWg7BgrHqPoxamzp1Eue6UnUaNnhRYUdGwyfAXTI8iO401ZomNurEPhM3DMdUiJLI/zCxPbBKk3zrt3K51aMvAO5AmF4YlAXYzEdosP4u+vNv0AAtBK8gMpu4nxma3IjzCit6p9f2CGJ4Hi29A4ufzI5q53njWZlin8mVtgPTMn00agCZaV/Xeq0Tg85WtdsLHFaQEZ+Q/UzzP8Vvhik+eBUgUtilKAgwZHiF5oXBOEYJ3GAOvUQZrj3nGUMbTnU4HkwNTCBWtZjy6xsK6JJe1qf0lsQJJj36eHJpiGweMjlRQOef7hhTrlADPDRPgbRGZ9jf3/MByP1LcRib0cuM/Ri6YasacNx42illOauPAgjkt3teJ6rfsi7FxViRXJIdKEr8Wgf1Ydr7VZneHWbnt3Kvu4dUnTRcOSpET6uwdRsD8eZosbUTqVctHx3i86VaDU1SV0Ydd1sK1PfHS9QlvbMw+3CVI0tiPGircLXCFTbVjMa1BwgIWsxfDzyfizeDmlVTaCHEjn989kfM9gTmdYlcbZAWbNKPshNsYe8u/F+lFI11UMj1t2prjwgkbIAFsxwqfj3GtLKGRw0ZAo4w2XNO7nXaa7OHACY5gpYm4KuLT4M2kh+3/jegLULwsZV8PY7PlOuw1mP4iYQEk4NqVtd2Hv4WOBryjGVvd4kJMHqVfINyWxCiDfhpIwY5MCUl4sAtUe0AUZa2DLBvEI18Efsuyo87O5WOImNw0bdBe4zPr9GdaV0lv0eX9/kq8MDDquHn/9a2VK+DchvnNutbYu4G5JspsEiQQevJ4ifAeeTtZRj2DuKiQmx6OPGlhd3nON+zTwE1N2jGXxPfX//9oRR+6j9SKBq2RgOhgDIIQr+wBVmWe1LYDcgUZuUvbqL+Ktkml417mjnL3GQxsrDgtSV2RK2bNZL7G8J7BPKwL1V+FDSssIHOyZMlgqUpi+xeAC/VIcl6IirPrSlstW91eOJVAX/4okvN5K1BoagmBU99bjmv++xWlfo2sC5zYEqccRBbohcSmS8sBtnZCmvrYVoPsuo93Zw78AY2z+p16MtKK/FSM3KOQSNjJz59t3OZklaRditGyxXI/8cK+bninm1QUwlsm0VEfofS8lQgSny2QqL8BxG8H/NZNmLjSA+cCulr6FOO0gBupAzVlMm1eHxSVuflZ8PFqSAaYp7ARNWyiKmxIGtM8oYt5G5KyyadK2QxdhoFwtVjcKq4EaCSoXODx8sDftGvOS3+LQ+XdruW0/n0IvkOUYrFJi6SD7Ka1fJSc8vIB82Mowq/Jv+ZATz3Z+sOnkE0vKWklpoWkUZZm/+veCyNjlNGNen5HW/9IhjeP9uHB0awazDnITan9KwEsf1yB1onsRox6bBN58gz9acM7yNFyc2HX2qlZ8hUts5gRuQarfQZU5o/7ajMB5F+pMaLonjYPVA0aRfBS8wT2CSeEdBoU09AMYW1bB7IZjIfRJbG8MkrcmbkjDiU/WZk7BhCYZbRMkT2EhAfszThqIRjddMiuPjof+EaIM1BWJW0n84n3YYK+AzcHk6UKckdNTe/MMz/x6lZM3srJ5XqHQhp/5brkDila+vjKWMLKY5lmF8362pvEDDSBSqn5nJwRk9u+2CeVJsgVB2QoLN679TRNoP4xJVt44z9luwqPNQpPJjbuUpyjXvcPtyB2GCXnYYng2J2CIzr9TFx85L3cqD2wxVn3nOfoXnyKnzHaReh2IDOoTJh8+F/BasoVptzRdYI04Dd5oI+kJIBb1MWHAs6zADffSASyLp3lwXYGpekye+86SwJFQoZdhP06gH08FGpDnYbpULrVQFNL7wZr85zqH/kA6SADaYNZr6OsM+2oILg5im/bap9oOe1JkWk3s2H4alZ10vG1qTgbg943VOUoBwHhApCBpBFRF3U7od3uAEUbIFYQXrYi0nmjeZ7hoMIXoMcJ+bb/1zrisblltmCe0vLd0na9YljlBwrIMF5OTZ8M5r2dPAMLd3ZeRoYWSnV4cGzrRwNrf1eiWq3jIKiLj7rcLqmPcK0WKoak/3vGCP9awFISVcmIfVfz97BB96uwdR3nevQIQee/dN15snkE7IVb6gUJbPu/4aheBulZ2ydTpWDPL5GEFQSPDHZOfiLXR5oXdHPecGs1VKr0m7RbDNfzykChb9ShD2WAo6waFwL1sNYTY0u6uD6i8cDXKcWxTkT2lzMx9mBxBdbODcsN4wN6MxUPUto4dEdpGr4RE3IYOio3vrWlCHy5oOJm0wxzc4HPqak5d4cJbj4iVzZnddnTka6yQJvMxXDpV1e0pa0g3yQwwMmLFgyA5feXuZ44+m/GGJfrP42jY5PDIJNNRp7Y6WFTQ5DDNt1e3KOAysOaS3aiCWPu+dNeaon39unEN31PcgV3Fkcagdkzr21VHgfNbPakEc3xE3dzJOWoxk6qXXgZbS439x9TQUSloUeGM5eI0bWSBImKiKbn+tmYEYq2Xd2ZKx/ycOdqlIO6rVVJRY42ZX+davn1YQMSSG36PNGcycO4zlStDPFhetwNGyLQ02wwwhvPNvmnUwTowMmNPvKV3Ve5XHD8TboKfhSAaUyM4Mwd12avn7nOkp6ztKXgQ254TvLiRG4YOxKvOc+0/ALNUCPP/z/tQ/F0A+PDVbDMTWi1K5rvx3KOXxJAOoG5NLKoY2hzEWq4eZSljJilr3zBJZHgleVc1BhYztZqhldVp4VjiZJafsOxLY7TfWCFjpi5xNsvYPbur6gAT7W8GVJQTPAPZx70OQxfnct3ypAhE7mEgp5w+Vp2Ye3B23KIn1mNe67xhEagC0MgoE0EuwxzQoH6M/A1cgrwtBVLXPe16hCUquLMy82hhbghX57GuXtpMo+CxhQi/SSURY1h7DnnC8QuNRQfku/IFYT0ieHzFxyBJKx4lArpKI3fBHsrwvnHRGJzAy+0ICPh2NH3x+9qeQXtg/csuEbOS3XGgul9NU5HjTGJQh8LG6zBvjH7brmjRc/VJLKzgYllitVREcn1ZJ6nZCzleV48ECLRcpzrN5p0SAJEYgY/AoHCpaoeNneZt55raHmrtKkusJbVdMMcxDqkqJdgxcgT3GXD2QoVR5oroyHOGO7cIBRpX/ncML8vtMoIaQqCoGu3rbuFIQETBd17ANrzwrrxYRPObtq4F5pscrKGaS4XwzAKFl0H9zy/TbEPxKYVozM6Af2d+/GN/AnYeuBu17mq4kgiNi/VQHH2k6O663/Z7LEW2kwNLaOoDqVPotc6dLQeR0pyx1oA/lnPijylhKy9PNMi+CAAH1sNT99f5iavVycU54iRe9NOgwnE/OW0G4Zyuv9MZRPSp/LmoebXjNwMUk4IjAiUhxveC7x1hqlL0FFQK65Htu1vC11uMg1UoxInB+KLsV0cB3sADWCaesyeTObwqM48ELhagk34qWDFuUw2kt1hL7cN2SStl9bouwxQvgE/Yq9fNo1Nf2lbB6cEsbP1upwSDSnLbKfWDJtY4SJNT43sSTolHKkWWXoXZwQBKg/9eM4wZOhDPnlx5PZtbZblQ8AbuOJi/taps10DpCzAN+06oY6s+H3XnEtocUkE7zeF2x3Clkg97p3vHtlAD+wNJ3tq0MlpZJnEIKjrIntwdp1Fg7+xtblLwv7ygf/652uqL/NWwc1pSaQKdnS9Qk+s6DXSh+jo/RqISlGUogzXrkG9lwJZt2CN/T0E97C1IBnvmBl5wWpzY55HahWcD3NwRlHSBuM5+TZVU828Bl9jLBcWdlaG93YHjDwXl6nQm69pMZe7GxhgTsdCc6ReLbAUvbn/CjUc+dt4s+AwxoAB1bNYRqT8lpeXNIHXDRJu8d2/HZkrw0lauvZjWegfnMV6XO1EwDPLIJv8O34krt4a/vh0BCcWLyKpdocdQIweoYEI8xjqSZjYqNGrSFtRynbCr8nwCE7y/tJ8om/3ihbRdprIL0gDrHv+13t4RMkHSRTeqmOcvdBW/YfQ0P+DtvmLvlExBCnWJbj0LcC3Z6I+axz5nqmmieOntac1HUVEjwcjH7B0OpLnZlVvtwufe2xkrphzgUZeEPWp8ZBDrw3iZZGXNOCIQS3+TKWO3j1cE6SlROE7PG7kgFDBuMT/cmtCcbWyb1ovLkoGPRd0BaYf/h5nFWirGladkCKXpNWMMRrqiR5Ge28mcw1fQDXoo3c5GlAFOArLp4Ooewpi0RfnaSE3eFuO6a/yuDg2+baIJjSTYj9giUMNEb5qrD5BRNRedNPD0uaBJm2iMKGSrLyvnaWh8zaxuGXQiswlH6U24aS4tEOpk/AyxqNHmgEMCvPHs6RbexyItJDS3DZYPULmFfP4j379C5EcB6lXvtLrOhg4H7Xr1mxNCmqi7EI7WGsPvQvsPOBQuBxspHlKSrswiUaTHnRdFp1M92UfB3iB8sj6E4nGuG5X8zqeVDNgAF7tvhScjLbKf2Zy8tUsUof3l5VlAuf6W3NHa1XsSdLGcGW++JuoyqnkYMPH4OqpBt+MxwEOpB+1yma0ho7V68/76qiKadw2guFABmI/zH+k2T165hF5TD5z42LSLycUaX+DyLcLwbKP8X0M03Un8uhNF0f+2l1O3xjRbkSCtnJswFDYSE9YwnHVNNZW/BOfr/xsM+eWv6ROsGzLpVQ6wtDjmbPXRGEx+3Pslltfn479OgDc1m77QG/oGZyPJifzxjje0LrVvHarwEqSuuhtt0tVkaKfa0b6MAFgwElnwgQcGLadywB4MBlXDosOD1aoBSTTpfaGnc25/391gPtnUALXs6i3piI61X2nbHWJFatDf7xTZk5tYovON/FGe2php+/hpzyykbNTkFUbvP9bgAn5RoEsoKGvl6AcKNcXTZGz0FwJwfQ9rj+emH8YFex7QeGFYSJ0kYTyDipztG5a96Ug5jQcWTY9jP/Jac6KTMot8nY4myf0wwkQ5d2v6Tv58/WN/o2fsuHhPdfEvVMn2WrR203QDN185OGjkdIAoem+kg2onzZ19quZCQRF3Dx8uKIRSnn+OVdyYQd6F62geTvcHSURONTWmCL23Qjt6AdJV4tLXhTQ1uoLGijYiwXGIxZihbaWtc6n2T+a58Yx1pkQCY/xR7ReTi+RBUXnZlUdhSbCwwMaNGM/LttSvgZbE6BPc+FoNBk9tHjXiKKxISc05rhBaAimgd+Rh/wcNy5sqrz3pX+AXc66igN9/UWyI++VM9TCsJFdyYjjjSsOkxbXTWhkBdLF9D6UFjCSWJFbwYIDIaRvvccY1Imvmu6CdYGkTK1kjZ1rN7AlKdS3Al3ZetrCGoAGmzucfBJ3vgA/PwVfdjHlNG6wqTzngKkDY1t8YavoYK/GHlVKVZw3ua4sd1BvZyxmO3OGeI6BImupXVWOS59PjeCc2r3GqXwinWpkF+BqdTmEe7yB9qZ0bBqpumeaRRuMRvV+YACPa3vZPgAiNBjUM9St7ojgLHHILpD145/+mBkNlIUncmDjQHQkcdpvPZQTA+LiTPFqqbjhqT932u3o4jp43M65iDgpUliUYNxnhVnXncpcCQmyt2o6Js+STUurBfdJCVrhJ5k4hgxiEBGTOLErHAoooUHR17oKUg6dxHKkQZTMgaJSAMQ0NsAIy3PhfrRQMHMY15xst4gi1YZ8TTFEudpgTWtxYLhCQjDSHshrhz14fPg4gns7IhXwCJPmahda8snbRJwdIyRd15npTmBrl23qsBm61+OlK6FrlICUuemqQsouFT72J15LYWuTbaHFyEi91h55l+Tz8tbUfjXevKKLjPwiUWfaaIgkTUk0If7Pp2SBgOksty7t/mu3XH2Kv2yHVeMHWPVZmarG8pkMnyGAXMPry6uXLOJtPT4ZvQuyfQ1MEidTxZJQ6rMbkz3w0YvGYjPLOT5Xn3irJ6sY+ZwXcHE1XBbyqKGGTyeyFq5nQ4MWKsyO3wD15Qd86BdLrBNdRf23UlsK2kbZZCE1e6vlYj9IhR9bWi7GDKxQ1kmjjjQC2WOYg3UaWnIXqoRDCEdXdSDu8ICaqcufShfPwF6NZq2XvolJ4YNy1gaa9FQ2wm3Hp/xN4yfv4zfcgzbch4SwvbQtb21XKss1oiavdSs2pkRJAeIpCjaYzAK2T65x9wNaLHFnl4jGHKAOIEKg7cx7E1VnUmrFOalnQKJ7FT5BgmH1j4Lb5A8aGSLNC3RZdmtKMHe+oiKLhwHqd+RtlLr4FVTD9j6Qrty/8fetBn8bqzB6NTCnv2/yHmPwNahBuzO3/mbxkmlkeUbW4jyXYdsiLpAiaDZcBP5ymqm0ouXeOmK+D6gdO7YapLyOUBBysRtnvl7S03YUypv/j5KVxpFrupnFRB49oq9vnQuf9kQz5VoYI0XjSgu4rsci7+icyz55cIddpu2yr592OatBiJMy//s3ZGNrJYMCRaNjVOMBNotfgSlhYtrU2zSyXWDafpVqPHJR/xAJ4T9lIsPe/9ljmeUtKcj70XFi9OHoIJPHyWXAcAHQo5Q80KePcYrR/D+WeWjaMFGZCL13h27FrJkJkRU80+yH4QPHsOH4/A6zLWGfKPNOBfUkvyRoNQ3nF0CoB5FMymVqbVyFtEu0RHYHMrv2vuETt3G8o9kY23UEUpmnGBlu/gmukJNp10K1/YZb9rXqYm07+vUi8CfxWFHWpO9CW5uuO/h2yxqp/z4nUJ1trYbCj5Nk/d3tpOp/0KppwwVPjOKuRA51xWUcgqQ2Rlq/xjdL9Ai38P3HFMz6XR4ekxmPX239Gq+gq9IDVumRy4FjV8MSpYHQ5+3LfqI/ATbbCzHV50+bwIoBWEfgk/+nohlwh4Rz63BIH2s5VD9OLITtaGwWK2StFyfSI6JEcghIZzA4RY9qhwwESIYxT3XMhLpurC2Emah+663hoHXKm/kLiH1T8Ih3uVn4HYqj+Absul3RFqnZ2sw5ZEm+6ykgnGNi2KYDNyUlW4CbNQkBESmO/OE3FwECToFIA7wJuK1D9Hp0J7j8ubU4VIu4LEdw04U39EmWh7LLkNgLlnyv3PfkSh91yJEjiXrBKK0QlaEq4t3eCts+WTAA4lidSQauDbwlZMttfTIBiJDn7g9SH5VQ1gqvMla1QGCiJiQC5tFXtD+DBa3vOS/EsJE8yicYHHHTF4DtjskGEs0JiqY7ZKEhoY1HM2yFu9GvsxqGRQHhfhW6WCkUWu/gvxTUFvsmh0NMbl1LdGt/LduuoRzz+fN1o73JlLHiWCAHS1uDuYKjwamCBE8KE5Sbrop0A/GeUCdfbr02u+aRa8vKzz0bDrY124py0F6bAx6cdvOpU/aO7/M57BCCewc+aIG8wW7JEWsS9gPGjxm8HEB0u00Z95QXWJ5NBzl8wQSaMYsyigNb5IqmezvnX54+RsiC/+8mBJJFZj1M3e4sJ5AQARXuH+xVAloJWJpowE/fenXhqc0/3y4fT9wZpmwVwhaDDIyBPMx1JWgWCqPvc+fOMI7mONXvqygO6RmZRN1bJW4Gp2xCT4gojYJ8bASgaIppWcsbsSJChpTujwzAmr3aS/6+HFy6BXcAnch6P216XRjT4aGA2dcrlbzjUyx1hlqvl5jYJ0uSUhYua6OXzsvmV4Lbw1bln5C99WD/NfrxPyEfHGwQGscZbdskrkskXIFQyuJgUDcS2/U6SZgQfBpdmIKDudVZ19zTkJB71d7vrMye+1bP0uE8QvQXIPPoyvhxJXvo861AD/l02WpQfBxzxznzd1usGWnTEhMXXP2M7ssl51OJEjnujVX5RcbzMhyqCRgxhvJpZluU98qSMr/NenFMssHcSdDeNdFk68mBGDg9SMAcJmv92nRGQSBHp86LYWj2FG6nKaNQ2wYNrInF4ynUN5JSjeRmEksb/dB9/pD8q6szmVmi45xPwotxJo1Q4cQkbhzFoiUqSI4/u6BvIG7yq6cL+nOS4FxMxrZses8jfFWfG+tRPcwb0qOWkqi1xZYqwCK7md0C26shQ/had33roaGQI+YRamFJL8rMRLaSkDA1n3xcrcLmgIVT/CjLm15hMP1GqSzdxxGeVM9zWFL+QqHM5GPGcKSSBzgu30CCXKdoxZFxmEjKXjkt4tslNScC5x8RttOEr9/UyIhUuP0U5aLpyDPaGSYnjRaTPacleaKevbdnd65mlOGlKEaa2mD6lReDB0ExfLlVULmxnJfriseoGRn84ddpFwS5wykrhLcg8wtaFeVRPSNhhBmCgsrG6g/GVEZx5C6D3pYOrE4Zo5fsZt1d2C15CzTu03HO5ytSvL5U45osYk5eH0h8Qy3hq1E4ADbqkENenAXbzWj5mkJNQdEmlYrMMeKezNz3Q6a55ojWhgkeXeu7BJFs+BTt3LShHfG9oaGpxQC2ac37XSwn+UY2/4J8q6BQgyYnD6Sf90CEQP1U2n012VXie/JSMzvX6toKNlH53odDOz/5oTQasWNzTbiZz3SnuI65mLkuS0g3m19xKAvcfwrRIwK99nEKbtIh0NX33JX6sQ2llPdrSjGG+25es6rFndaaQpoRcpIed/78b6VH5bGKXyjXvbFDp3AGjZrciBVUeAyvazNIFxCeEXKGADeMlIJjw9DrZdmZqbftO2pHbnYCCHFLuir5IE7tTAVvkIKEQPlREoKqCOo1BhmVro2IgSygDtn/g9eS28isjDYI8kF431CuoBdEZniB5ZrvZLANo53jTYgRjehiKLtwHSvTl/UKqkyAfljK1ur5VWFYRZUFmS0pjn87xe1+/9lbQrIRi0lALfbtcobtJJbWai9PYZh+kzZRtzd9a7ZmMWj04ZTcmHNejX2Aal0183JlCTu/WAD6TROnRG0X+LStQC6IdmJDx3ETdLGYglU3qkT6WKrvaTFp7Eo7pCt5VAmGLTbzgOMU9ZIKXzt74ZceaI9fTsO4G5Z2EKYDxUKbr8UxRfJRC8LKjv4CvPJAvPQMkOOY7UeMbCRHtj0ay3P2+QU6Q54dX5/Ik+nfgPJT5Cxeoi8AiLgaZkLM/Ccv6od0phWOMVQKg4bRYCpljtWTOvafKRkPcxnDEgxgiKiEXFdS+2bnKofSTUP+AE9FOrz/xYFGm3dRiufMvCvsvOEFROkKTvADLhLEFYUXjC5WgEH3ysgb7YSJV886qgYjx70V3d8fFB4H8cw74F8RDoEF3recrl1Xrh6/ZRG3JKtl7aI0Sf3mJoQdfIyEf0tMonlPkl7Ok9dQsENP0vH+BmnjmCk0I1Q4Btp5obLkbi2MyoMuOyO9uTG5jhAeu0ZA2SSE7sPCaB73tyzU/oThmYJQ/Nsp9fL5gcgmAH9a4y5pk7Ud5WKK+8HNu8erBhPVK8jAvd4BIt7oOyoaxx1FU1ByQSZ5mJ1zrgiQ4XBLmsajXgSVsM9PoaY9P81kGF39anETxaSPCQDt8uI7x/w0pjg/tiunVkYAg8cKazuxu1/4EX94X9tnMEUNbw2QhRB9Tc2O5Gu7lrrDGwBF+/3WHDsmCCEzDR/BLHcR5AJBIhdV6De8dFrfE0HO4HKjwzhfqkdaW53m+Rieqrfzclp972qaXXU5F613jCBjOgVduMJoqy7zB/u1GWxfZuPMs8RpyYsCAGvSaDSkepgmlZDL6o+zL953N7FXCsDNXxNBQ1sTPVr+tHkeDBFGqACj1minYtEUfvjfOLy6QgnLRay2ih33drmONxdkzz8jwq2xWtX0tS9vLdUW8UoCj9+/c7nseOwEm6nPBZo0BPhwDeR4uYBx+siz0KGw6SU8YLFlKqgNfhZ0l9o8uAZxuI2ssqQTxw5WV9/WO+c6sJNr+KgpdZBBdOPkqa8DGti8OS6Rbh3duquxR3v9APD6PcmrUyhYLgnTu+WWQ/nWn+huBgME9m9NbrfSk1fgiFEUs03ggkpiaNwVJYD2ewsa9gYxvVN8p1JxX/Va3xi8DgOtdFn1YkUu/jcCJgjqYF6mbF1GZG2+DC7rBHLXSQzzwwJxxUSv6zHhd4LczqyyHT/4yQozQy+0gjpJtYJ5+9MwLHnPmRPQf58WwA1Bvl2u9LsvSfYH2v/d5dzJXbaRgg0i13O856EMNGexVzvq833RWugd3lkDOAgKz6ICQPPhqXpyq78+1Kwox5iv0tmE2wBUbkKALtQ3PX//i7xtE7f6tRoL5jqcPfeEMH0CfC7jXHPZ+g79uejS5DQgYW2NkJAPrQxdxEAH1JRqBlri3geVtb+ZKaW1PlylOm4rFCDsYWbbJewz9WSCdTKaCQRyjyX+sWurUvbWN+1Gi+Z5lMVYW4mgrzef+cNUGbdNZikiyrfSpZQ0++BGtGxAScKBhdVwEKSaLMUL7QuRg4f8DZJz6kxXhajIVyKK+dC5R5AUJl0itERLKLX/LgQZGniCoOcY1wewk69NFlaExO5XvN9CXrf3ewDW3/SSCLcsosc/pX5HaYSzbnosgkPBdo6VjnFu7MFSZ+jGIZoOMhcSIO+LH8Sa/YOPwoSAZweiTQW1nyi6RcrGA2Gl+eZRXBWox9Ze6NbwwtAKypVPBo54xpPh6nnpmguva5VQ6pq9+Vz0abqKBFtiT5HwStwk08Mz5doiQKBvZ2/W7pqVtGtE3r5NsPHhv0fkSyoNzUJe7dRlN0GWEHV7oAk2GDcDSo7UZ5hPuk9Tj7J+ZvmmaFhvNLTCGxlXul1JrkBtUK1hghVU3xgeG3qCEmAg+V/Jd2nOutQwYk5VvplbZrvn6bxuLikOWP877lXlNZPsCsqHj4/eKQsIUYzJXuk8dBbxJ6eLrfNl+xzNrU5KwXvQ7hzBVQ1IpO2KQ/ikaQKiomCl0ltCNHT37HmpcmDHoAhtVMxgja4pmyVoVtbaASvk7Llbh4PsR6fO7N3xNt205ykGbKlPV6EwMRZr5AFyLDavVo42RaW6S9dQUaaVfcJ4sriWmRqMpnftGUexpUsCCoZtcF9Sh7ehT2U5+uVp2QU9vJF9AZpRehYmdxWHXXLflY5d401BoQeXLdTjq4v/rfpjkxbpvymV9D4AuP/PKUsAXMU4Cwvaw1lZob53DlZI8PMwwfdk7IVkUSU3P00UfD/e45a2/Qwcn961lMkg65obQtx8DUQ60JHBGMNa55Rs2zMiNvq7HNtU9jnpAbYVUuLl3A2IxHEKhjN4YQax3krhsHzjRMGU2xIlWUp4VEGRP2xhicgaAnAWqtZKL/ngx1YH5yHDr5fQgFEBTJiIcTJxWHYXj+PQwy+Dr04TvDlcwFaaBcO0aS3838+LeVK767t6E38emMuu1zN+BqG37fepKk0R7d65Il4cf3QvLo634v7TCw6YxVeX3IFYf/8ZqpZdwags5IcOgTKJLRkEdnIRK/fSCJAReCasTXaxl3v0wTLZ3jkfsGbdmcEfjI2v4/FjOPDQK3pyCmHSn5HMpVIPk8MWsAylqsB1eKRA+VVELjxHhunC93kfDpIm85a2OZ2D5/bXbaIYiRzXcUNunM/rsYQgC8njB4OXg/SSxjQ0VuNf9JA2KJcuy//q+5g6euqRyPP0FaWut8Hv+SEEoM/pgcD6j3ww4/ZaB/ShgljY3a01e94Gq9vVsRAcwNch6ctnOoxPJ+EczL/Axl6dzl8rgi1veMFffCRFkQb9DIInlH6iPpRYBYE5NXH6g9u0xSVC5d2ONujMwlAA19li6vbAB/hAxsH0rPKbwM4w59g4GHeDgSUrU+xbBjPG1dJo2uaDS5B9ec9rontep6lFl3MJkgTltgU4uLi6nrKiiXOoPsuodITMZ197g9a9kncXe0LtHd0Yaoo1OtXDZXREVaUJdHmxfQI9Dhfb3vX20L3VtLAvLLLwiKKH3Ja+janeEHXIF6E5h5XrWTVQYx8wTSfJy7/vT3WIX2jOs1rrX374QcAN/OIG31R385Ww8J1b6IFUB8vaV2zdDgDe19HJ9OO7Ohdpau0yk6ExxazF6OA9uAPz58RR9W/PCq57rLIhv/8MVmw3VHjchSaALr5mZa0DeNvZWVsGxTJYzMxmu8JQUNLGRLjKgWqsXilc0rOqMavyFWDrxGD3DNeLet7vPj1Dsce02D41cqC1sBucu/yRrV03wDXdmUUAgZhL9JIEDEyOZSNJnoyYnB6mu5HxpQGSWRrOC+JIvRHrv4G5qqXrpmXfD3lgR0JSUj726gnywtCQAZDK+GvrF5F5B7JRKpQNKj6a0SWER1G+jc0A0PUDieeQkzcKBwhk6Hf1Lq1jJtUVmVNbFK1wT6qXu65VP8ArwIty+m5W/Jl6YjHKwEt39wI5nyupEYt2tNkxI+Ic480YOITk30rd6RuvfwPZpv+6XsJDGUfwmmwB9dObI8FZU7BELc09z3WzKPCRhW6DLnQHC4YA4hO2cnDcveqv2rkVjWyZUrF7cCF144H7+HL+B9/lwDFrjjeI0fgaOLKglKfhf26J5jdQLSmPT4kJFMTnOUTHkJsiDZM4bXoOan6OxNvRh9yloJ85VlWsnX7VZmJ7LRSEVNaOlwSiTUvs2kccKB4cN2dnvEB3AYFtlMJHyfpWksrk6p+xV38H6mcQ/SZTrv1FIgiNHXJEZIarKH6F2DFstEpiiAJEjAL6bG7SthT+13y6gKhXSB0naOZs+Ob+WKCG2jvbi3sxS4ue2uxbwHT1faPIK8tETqlUtZt7fplC9Xuip3agJjy1oDH6fVjyOJT21YqXHCyQ3cse00UDsTrd0PbDRpkOJYG0e+aJvuXFwCyuhJpfp25bmMKq28g2qcuZsfea/MJLbKxjlnDBZqRjNwdyfLYJ4gHq8wZu8WsSGcyFKT8ADtYjVvUwv9OVJLgl715VniMK7L2z126XUvrvp9Dzie3yZUcheDLKsC0DdW06qBvW1oNqWFf2nGNCpkPqC5w7cNS7RcgXZ1k+7Ne07uNNz9dRjPPwp9UY3JJBuC8uyimMNuuVck1n5dcAWGhl6BeyNQ8/hKnNKR6ZB5FbQ9WX7+hUPNL/zxGZoyAh1iCtC4VrhwFCf6ih4yONNyz77uYeURg1KLg5rlFykhAQGjXUamm/wTGXDajV0px3lzK2pyQVtkuTp7KmprSq4gqwBakipnrQuWkOQOUOnTiWJKF1Dvu4e+FuMKZH3ebwnVn3YgSFe5TxVaF8gwhfEi5PiaWtZO6evA1S5gocErRcdXD4YX1UNftYWfWfNnpLwE3ifit5SABhZpuCud6nksmhHUvomj/An6ch46xq/67E5GBqUcmPeURAVT7A+d2+lkEi7WVN2BFZcXMhTTAWMklbRd3nj16oGJnY4cwSgGHZgokfDIXM6sCvfLNog0pX/fdZvZmidES2TPHNgDpJNdXtuptNb5StoSBS9OD45wkRfYSPiMMyC9IWBA27+REPpDov/XsGeEAWeCL/bRDAbrYCtRfx9ZGUDHYK2RReemHiNeXndH+dToqa3IIrB2wmoWtD5XAQ9lRsIgBnManNmWIpvbkTAzsO6e2a69cP7QhnGmck/FzSMMG0pZwfel4SeuWwAJUrv8W2gKR9krPVGzBVN4VPreyfOSAnFnVOXqoMdYzt8tsB4Ly5HhQMaKucb73kWx/11BTmTo6/LjF/kmTRHgYrlmIR3jpJdVPd3ZGNQGxS/2azL0AZPP93+X2A16miKkXHjMO9P7CAKpZ42vyVw3c3hzxCzkDvFPwDWMLMW1RlsJjhUUuLQcVUMYOds6lYaqotL9bInuCTlYh1i93BI/ujWKl8ZaGS+n63U2tQY+7eK7tYYxWv80zq/ncoM7ISMsR7X0gBnVxjdsA9Nk02zhadHC3ToOPP+AxsAR+5W38f9/qGxwgePli8CvbR+cQ7Jm2TsCKV7Q0VhbrXTzNO4dAm4m6XYFHHRyAfI04OwmXjN3tQvkcSOx2og4Doxzm1EVzCPipBWJNeG376ULpt4XHWqFKEc2iOySfpWnzTf87VMDwiHurCuXfXWttb/CL4CTBXLsWJe4aVhRJs0ywmWjVWKpy1rpmvX191pjSwjycUTtGLzOeliQQtfRPMBmt68T2NIovWbwz64Dku5ciXDUpVP6AW8pvJ6ofBgIZ6zu3nosQ18tZhMtGq5GdrhHBSaVOl/Qe3s7SOcxHcXp7UutId6q7ufZYK6p1d/sPHfh0xOXZNwYUBWyXVuewmTSfPAYfNJFM4xe5xjzeTq9PAE9qFh+nF2YOtsL+jntPsRCiqAqfCjTzR5tVm613pxQpMJOAWhd2XzFhsUkIfDIApEW3qnQFVd5WVf85Z4+2jpQsOY9r0m68lgwU8j8nHX3cgKNg26EUzkkoKrzKvG7smivIaJ/boLZNZETCSZo1ZJ78QniExa5G5SOGsUD3z5KD5NgYacMJUU/gD7uost57BA/iXIX2aPLlooGP4ROn4V1Zc20rLw4kb2zN2dxwXfQCv3+X//En0dqJVA0uL9ujuYn30Ns4VBOv0nEuomhVEymTYtdnon2ENjL1gk6+JEQNsXWSzzvHe6FkszlLQUGp+tToefAljz1RwF4xtMmh1Ts3aDi6DWKWBnTaf9suf7AKJq2On/Z8xZKZDPIFoiyk4EYEgJFFvUYBm3dN7e4J8zPz16VZhTpZQWFZ4wcOalErA0O58U3jP3VyWl6YLOz/CSjnSmuLfHPzs2avdv5JKxShq+YicEId3ZVvmhJBZypJVY7ZvquTihMJFm3/vIz2c7JjFvLmoocAZD5XjLiM6kBLBxcjoX/+rKz3EpcwUcvrzIoW8JaYBLNKhroXBw7VFpqpN6zqxSFt1mO7ZHzBjdd76UvUjhTLbwaGVFlUe3l7+qsCoofDJdCKFhA74Z7kKcugXklNGHvaw9MpwYDgazYJepDXwqJ0rYXhiUjH2B2wZ3R7Y6H9bSJMknh4KmmCrfNgFjWkoYK063JBKuJd8/z6lagG3OtRx5ngc57ct8LdHpuIkS0riN47O/7dnugusGhPeW0RpGVhZTb8lMx/38oziJlEaJMsBCNAbOlxQh0z+EQIqG8uNl4ywdITvCETEM0tJ233DIJ/f3GfBVECnREffNaT4tMmTHxOCtMcCA/vLWK5xgP0laz+H/1lWbffX2KKQRZB3DyETZJSaDhi6OaakDEmCsGXAKP1WTxwZXqj9m7U6HNhxW+gbFhrurB6HkuHDsQCaCoCVWPkk5Sy9x+TILSUtn7aXp5cG7raYR9QgcPe0r4JS35rligQStq16JwvumTR7J2hYdqsGX7Kpj4stZxfuYr3dqoDtGU9Ju0WCe+c5CJ5C5NWjNbi1RQJrBdjG/XL2PwPEtj1U4ykmIyFhwrOg3dBzEIMF1YuO0SAoECdsRo5g3UDxi+Q0T0V+nkoxnuk1aEtQraVF56cAEoN31hToZLQdTmLrxk0/OjeIgJj/XUeeuDIo+lr6jzCj1m9k7dAHF4thyDcYkdXBUmq+kRUynNj8qi/fPBIHLqOlIW/uy1LV6GjdKLs3iFiaGTY1EcrrofRbi2PdCsgfUnu3YfCuw5E2K5OYLAYcYwlfg+4+ts5wVEA/yiylDl38LGhaHcRrFO4BjHg2DjrCw7ysLcqpJdCP2RdxvTAYacUMqcmkN4uoo1NXeZJCTZpnu3iTBcNpUuBphr9SCznjuloHvSTdm5hqgCGXDaYWxew72jRlVvJkMbeFc26cGEcuFd4DN6HX1SDAkuseTV8VfgrzKqR8o0Amc4Tv96oTkrc5Oamt0t2mFuFw6uOdR1u6OJgnfsiqyFnAC4NznuKcxI/5Oiemx34uUVZkYN1G6vRc2zaG+bhT3h5JHMqMxPuFAgvvFd7V5wQiMrTXozbxfNiR6ogLkVoqUZICi54ML8dvkLUm+eyxMztJ63vJuMu+o6c2TCV3LgkRxVqWQsdU0+p0K925ofM01eJDdlqAmNIJ28rlWq9WsEliUyGf2LKXjLG4/ZOf4no7LcthY3dq693ScAz2KojGVtSuEjvJc90Oyv31oaIfpDzaB5p1+oYT1vscI9QYQXwy7ajNGnSHpIpU7BWo6aniRs8Z3+oHL9NK1xJ7OH4jnVnlIwhBNcK7/THZOxSXs4tkzmX6ZQy6Un5tdHtNW4+mfYHvkbLX7FYrZoyRS7DYGmwwtqBb6Bl1EuenjO+zHPgw+1lLxToVENUIF2wKnX41H9cFgRSvHUqZMQ4XwgKVBwABaPoLjycvAa5M8glZWawfLIJLftlLXYQFOcj8G8wNfmcUXux6UQFNEqwYbn7KnUy+MYxrMEag/+mAXGeFhfgH+4j9P4OKTGbTmysf/hrkpW5WD8YbfCaFJGAoOVqIeXyEYHDWkeGWI9+RJOky+veK2GP9rkQoF/btbsEXfX2bxmRMBpQfdi6K9MuOtWcHrBsoLYe0u0bR+C4FaTnCsw9bPyGSacv8Wucc/qwubx2bBDxWNuuQdGaEULFsPwP85swUQM48qbYwpX+7RuGBS2jmlKbQcKFlmEomjA47cpfLI3KfhWZGPaPq0z96ILqO4OLa8n1aKvu8aPs9oqYbPgbqEBsZr9iBJpUz+3sS4/vF0MAU6em8nFWbesVAwK/G8EgK8ev380ZGG1y5JHlACB0+NuUE4VEK6ZcmYUKU24geaYZX3GSUNgm2KusBnewKtz5tLqrSD9/qcPqPUhQta572D85yOYKsy+y2dY9dKwyxPuAg2VV4vhp+3u06zn1V+gTDcXG2ZogH1wAV6MdyqB3G5NjNC2MxL8Y/4gLMwoRxfBV8sFvCwYvwcLdDCZjI/gA3DAn6bfCbLUuMwG7iNb2IQ9m4slLtJ+MEfBZmxQzZ9QjNdpHUhB+1x4uGuUbIbzrn80uS0bRSafC38ORE+G/N2l+WBFf9f1jFvJ7b1JJkHInH2UUYIWsHDLBzme3HIEB373HPyfOr7DuMgpvZupE5LGNlFKmY1Ycl3kTPZJBEDIsVMSNdgEk1YEXvlZzi1Kq7OgCYqZUzsbOYvYQodUv8fmsPUFgdFlbTlE6TSLQRFLUl+vgoCzG+eKACIboYwyvSUGg31zL9pVTD1KAwDQWjJHqDgPSStEVWxu189aiOOblUJFitENUG13602DCgUaj/564O6QwpRR/eK/4YFWamoVh80CR5pV8qwrd5NfhBhc4n/jjJ0+zyTDvgOcAeqoBQoFA7w9pvFoJWqgMODgRZD1er0Wnh+0CXaoKr5+e7fdUNGMb4aMrnI1MY5A/YjVCZiauSd6kQ472H9YNh6ioRccpLc+mzEGe2kwBJU6Xawe5sb4JCuFWlPrrZUT+2MrR/t5WTaWzDqmP49hrnvipRALoGz9nB9DjhEOhp7MnITau7TNuZ+BzZIPYCJme7FEYW2fChv0hy6UIzw0oalv2WHoVOImXOB7XU0zIlr1bqIu/gutxizpDM1kbI9hVcjjwaAW7tjU4aFF7FLD20lCpnL3373BkPlnfPH0CZ/ThaZJNWNkIOogDPepRgOrMO2whwK8TgB578fNPEy7zPfrOOJxkvul7g85wMMD2NxpgphdqL48ULmygeDKFoRHQected3ndj59VfxLau2GvT6ZzC2hDAu1fs/K6+AT3SeKd34bvv7O16lNfc6dT4L3QX520gAxLhLIa72VsmY22MTgChcVOe+IfIoLI0UQbQAlTbGWpxpjDAxNai5gokjg9vk3sdShBVVf8wJkrGBKmFochzD+OZOGeZbX1C02Mk+GN+Yc3ZXf0vxLVLFqRUacZ4pWcRfTngG3X912CkR1seFyr6QfeNIvt7KEGTMN+aNJLpcAdzgUMwwUAQwbZpCpG4FI2wacwVqcGdJAuK+n7Av3w5DncQMUs17+xM3k8rt9osdY8U2OfrEcYWBGM2cY/DVL+p1bv3NBab6lrDKLrC1rghtoo26kveGEquaPadYvItUgBzp4vhuJaAi2zgdbkZVL9YZUseDSED37aXk+XC8Lne/5TPlsKnuUv/gqq9Lmo32JM6n/FNHC0U+je7VGaDfSYsYisuMfOcTdPp0UQfTbcE/3l+aTE1mg76Frtlh3v7r3WPMXenzQ7AdVfxczUBqgWNcaSCFflsdpfvyPD5FR4nuAlW/71mRCpSXE9d18Qci40ESaMhmkDffOiP4OsvVzjg8vyOTLVI2FRTrApksUmR6kQxCosQVxJMN/7Uao1ShFRva+epQKyBHRq2pwltT7T0xbAebS2qkTu3rH4dCSHQzQMlt4o0DDFUIH/yWzKvCLemsBXrX+4FEM/bTqJIBMv93RvGSEy6cPEmQ96qYXiMgyhGCZyhODtfOiG4POMw39Vjduo/5HrUOH2w9jXMuWbenJuYv2KWojUgi0i0jxWPZDqEZj1f2q4EDmXYWERYote/VZEjQ9ngl3Xk499MeB4znxdNeXu2VcRDQ0pZ6ouGX/IcYqorqpJ/VKbDC+btPxoEEf5gArkmOSaApHYfuKEq+57gRJYmQTkTkpkLaX8EQ0xCU7E4LpOn8CBNGi1ZDi7/AOvMOvc3YLOl+cZV0zZ+inTlUdY92MkHTIDrXeEJm0tizx9V0zDiyZt+jqZekWwON+a7k/F/SkUC/cCwALX3NZAj7L7or4VYn88ZKO8u4NCCep9TqTM7o6j96ixQ5OQlEqAaFC1pspfgciMSscXMd4wyYzPIecUfrnnV8TDmJzwS82nRDJDDDOPvPWHxq2NS32iYZ3EhSjM2XVVa+S+hhaoYovfjU0gcBz1Kb1BKdr7bAyNsMlFSalnofszp1L7YthWUGSSlQcl1bNHKlfZqa2ZWUDgfRyZV677woJMCk00/9r/uT/m6F2O+XGSx1AMfmcfWRHc7ttAPlT7OxXLi6KqSAA5mSxJPi0UxX3Of3bxDaPhurmYEnmEGXhcTEvXP5pP86wZuMgOhFjpxk7foVR5Fa6YjFE299okffjBWLdGr24RcJMJOnn6lUlLH7BdQaqgV8rRyS9KVj6lBuQtXOMftu1BFQ9Q0UUDxGlHYRYTRdimG+K+WoswSxrM9VwiycVqkvgGivWWrVZJT6YG7Ll8DM7AQxc0ii8lwKch1aP2+unC24eYmzbKM0Qb7YSpCkOMxowfYBY76SPz+wgLxEiI395quynh9zxyFhLGzVLwPH8KItcA/XHdXV4+NxtCqokSnAOsNeLDe7p1ZMOyt5ZFr4JSGc3fqvN3J7yf1IfjGWA6qoj0WieeZPsQPSNK1f70HaapIMnfUano6PkRjedr0PaNYCuurivxO/lSJHgmmw8mScwvS6SJ0x63eU7gbORATjeL9Z2v6aQVtcNOtbNMFGJG7RpiiWQ46e/EqsgE53j3DiTo0HzTHHFP2AYxOUlMLC6lRqKLRFFcQo3uPK9541szApdRNdUOySXbbAAGmxkkr593S1LgCk66aFb43DpGSFzmqpHs4LCp9dwIrZORPq3gMcIdcBMjr7WD6j0mfaiIOUmDNa3oK8YdyiAl9L12BbMeuSj/KLOlMjGJHhO3IBCR+UK4q6iasRRwYqGV6Mg8KnI1N1uQGa1BMl8acWupdeTNr0eNSyrM0erweFQdtCQj1kzfnTTpxTbFR5UWpXE7Sjkfs0lTSIXx9PjYb6pOapDmyMlOMnmUzt3FyQbNEbyGHhNqEWIwJFKqjUEJlbVItmdULesQ4hU7BWZK/ui6tOSO5XZ2nwTIZHCap9rVYELB++qpyqXpXr4xsIJguToKyVT4Ha5HdGaXi8XFKDdKOTvuCgTcUYGlXqYnDxOCxE07y9KpET1MEOCKyrDcVygTtURBvhznKqmeTel0RUz/d1Auoai+3S6PR3cTnkYS3Sa3RB9r7+5JAK7z0h6ifyrc7zEbvpuOoBEqDt9KGEEYl4Vm8BNPLeDQh67bzE76AaBR7N0dQImOtv1NvqJhXVqyKlZv1Xxx6yQUqVURaLRA7DODH9MlMwWhPuVRmpBMsQ8iFD8QC1fWlFQroCcZ8mS+0oFQwYp6Wgqjb0qh2vVdmmSD6k1UgBd0RCuYDWmooke/+qEhH7b+Prbp1KYZAWaTm2/vy65+S1leF/JCoCvwfq7dEANBcnc67dFB6DH+fZe6ySrtig58aBc2yFFaECT0enr8JJZHBdNNTQBBQUD+g8KC/gvtMUtaljB1z7tb1ey56kjte+v9HSHh2sPnEKe7J9NnGVPkIzisRY2Pedrp9/BqDzT7sKCMhTFllMmRLxQK1eopXy1ilhn4+3W1o/2FHfjCGu32PyOvxTTY+6dATkupUwUIyXXtvdvouZVvMaACq0jigdofTpO2xF8gfzsW7v7R13EjErEwuCmjTjNgAUIkbrejqmhNqF4nxvcYweIh21xMIcEK1xGENotyzlIMceyGMI8isfPPD4xzRHGOaBI8UCMlqZEeBIStW6U8LxfiUufjc1o1BQskRj/jnT/LmCF93wlZIDQCGhL9MTndtn/Oj8gnb4IyjHYsLqI2hQrVkSnfrAgwY+nXWIFDYSl+TsyHMugxE8f45l/T85c1lvn+FNRkumP+1kTY6Qmakh37th/1DG6FDrpDhTzZGxcdFRRngcpWGG28sayJLzRz3f/2yQJi69sV6bjHRA7HWJIiQbqxoD0UEaj05Z7GSFiFN3g0tLPQgo/gmIDp94Y/CYGn6GxLKgD46DkXo9qsCyN1Q3yys+9FPILKd+sgfObF61bBjfv6mWRTT3jxCcjoJuXGwzseksPXSNqqWSFAccWLwwMBXpHTwKY9onMqEus1kNAd5xEgRmshp7DpoaLxFIfCF0hTVJniwQXW9SH3WKNSw4I8KdcWxWShI46qLrIHROEaP4pBx4n7NwEYQEB8h6f+UvNUrqadneLpfPEGgpWPkAoU4H3ozYnqH9hTkL8jJMm84yXJBncF3X6bkn3rSx5lzuveJsoXJT4mm7GyH3WKdfEP8zcHsJPA1qXTdluILj1qpUsb/6Ev+mWlqi7z4BoOT7RT1DsHIkXLXiyuqUheemhfTzXkzo76YVybQpwjaHbpIko+TpfCpbgMhN+PfhQUDZgjTuvAboQ1NbH3RquDu0DHUltvPeTEa3ygac4e8a4JnrBmK+7GNIbA1l0Pgd0AyTzO0gxsoqs/iJaE1zuaHPNuLcs8PZVXXURrggQbpaj4SFBSukaIS8WtxG3BK+fN2st0ikWVyLFuzIIYKnJV+e9+N2pQWF7i+Vtmt9qVQTJIMO2vDHSYaEzjZ2cXUKaPLOTQ3NUktFHbojSqGTArbEeO3bKEUYGRG9gWOBPD557MYICipg1GSQSh/7PKd5nTgS17kizN1tZC7bOdsmuYxHXREPDESAd1Pegw+lXucnNNEQA56TIEYLQtEXYHpUo3RxP1YdhNqTHI5kOu3FA1NglfUqupS+R6dszJWuSp5etXDKbgE+AhfVyKTyk7JmdaWrTt47BVDBxp73O55uokIE/DZjyN7QWcq2aPh4bSuH4AXYtZd+V6F23+fsNnytLlXbmUTC8zghZisf5npZm5uhFDfbGx5EuUOt/lZ5nIYLGL0BtK+4SOoIUfaAsEjlNe/Fdk+wBQwn3ILdvEBww0sTEHAOV4lvqvhWIm0nNe5YwZUyQw6uj3pw3UTycYuI/z+Oz5bZcWqXymDuNITzHDTBoRxCbEdQ9U1brzCgfKuo1li669dnf9BxNTXNE8WoaUYy1O/sEQj6i2gsHhjR0u7YWfiBDuZb/Vc63cJlvfIMsaCAUZENbtqQSgim6QyB0R9TkAgTBNSO3zoZt6hAtLK4HeiYyLRgEvuvR9eLC/W/J4ENDDt/IjMoP9uFCh2jylb869WPYL3xw+nInkPuWv+ilWQM2Bgylp+4KCiJ9mhqgImjf0AfzHrbGf4TKNTGe/VoIUgtrk0ZWsyXwFUebiuVQgh+xy/YsCrKWufTMjUe7M370aFqqia21l4V9T+JHBuPHyYqgJpl9mjW9/B/GMU8R5fSKhbbK/+9lg5oJA86XDr1N2OmLmb8+Aax42J3ugSG3K9Y7QxXDXCa0U8xWUL8o3GEeli2GCNTLzhISjkAAX/jdiyhLNedTgW85KgwCOIfEI2kZh55oJ+XogJxeYncS17+/r1kl7QxRydUpYnjRl6Xq8gdG2woYtHT2SlW4cmT+CnOQv33oyynRlq9cDywPB9MSUjRE3HfDD5mtYpiZKvv6gXlhLIPWsNGItaM/omMThS8wjRbB3gZKCIINodkz8xLb3RMBG9Lfa0Ek52tZjlf0SFCm1JOqUnPCUjWset2XLlcgCLx6zCDGuJMmKtj+kpSaAcn2c+tOBboXQOWtBKVOuAqW+YkGiviM8gGtdKgWws7tbsqM+K9xSnIVQKwdoxAw4Li+Jy8yisNnRi1NsANACM4Taf/uQpz6twxoNjVrIzSNyGA4hElao0LFSzRjR8XYTpcwQiNDhIBbp0TW18maoVTXy+sCXWmZZVcwD5ipUkKTGNKAHAPoWmO8UHlJoBgLcDC/rD7GsNrK4wTY6NUSDUu7qIlO4fDcCfDPbVRJBMx/xcTP4PWGVxVD+BensO/r44oazQJwdowHPdVw8OFn8/M83AUhnl8OGdHvAVs1wuJ1DQ+2JxKl4gCt9UIFeMa1BRn0jvng3zTli1PVRXHE4nV35ilJRNxUjAWdqWqcjYxqpWirFaXrcMUYmxefPAHdSC9r6XAPW8gMsPw1u+aAnVBar81rxChIGk9+qD4sJfJMMlkkWdSY3Tj2Eo2vlwDXbXIoRklO+PLbTYChnFpDT4JWofXE+8BAkyG1SO2uQvH76GjH8TIiLfdIFtbbN/fwXhSvxglK1S0DU6QG5THdUkrDS5ZQWOl3JjoYGR2iX7OS8E1iqSHskHxSfz9i6O8D4ODe+x3vaDM7jGHiolCG/lRp8ACsgl3wIm0rB5cWYKAwy8I/hlOcek3bhmrqoadqeRH8HdTtxuEZ/E3wQh9YeTjC7P1BbGftri6aployV9XFb68rS3Q38i1jAYEgslPDQlkj49pkwUrqNsItUtUtG53XiQBq/w7Gpb3lGi/cYBe3PGcTM26UEw+S5kxTeAmNmnLszWPdjIj6VX7XqCEqU1tjX5Hk8rhjmQrsCdCSuPHiNZ1IMXy3bBgKNDwpynhsda6g+GyNJbJq7nI79B4SqIx4hebx6tqd9eIHjRr+YePwoMi9WTIgjEhHSjfLJUeCol3FHQvg9bGKE9/2+D9CG8xFPRGdUUat5pCMsifFhqcZuIfQZDcaqPzmNNrlFrwZI2itLDvztCYWRv/IH5XS9zHdDCxGHEBvJRUnYBDtlrXWDaGFDlpUvHTkXPqDMD5DnIj3RdRkVRnUev0cQPMgZg4U+rnXSalSNICQqEvBuB8uyhg/AzEub4KhRrN+IHNDOmz5dMikIhuj0AAESS6kXjhiVvrIxw2Cop6FcsfQ08ceFOd3peQBhsMNB6BR6jbfDIWGaGR5Cd0zCU3aqRO9JoIYYwZVlBreo+O2T7r9n/5Ep96Kt13VxnztujOcNlVqSMgidRXSxp7NJDfiMVqqYtj0DdkPJ7Zn8r1n+tYQ3t9zBfsRb7KDWfThhAGEk7zW5GVSDoR5owSQJ1qC+QmfmNTHpfBP7FBgfeCD0knK3WDmqYvScgEAOmCxSD8mVQ03q+78SyP9nK7VK0rprB6TaN2O/nXV2KWbAFhciza265viS/SZA4x5t0oH98WLEcqF0fDWXFeQpiI+0+m2ugGHti13dIW15WzYQibgXavCrO36/58mM01VtILJ+uC4BK0DpEoSlc4E+vQ+ayNXMkwmM0EMjYq9IsdKFZj8FF5nkgnCEKZTvgLuD93CVKCmDJ7LHGI6Adh8KNNUUIWp0Py9DMCmBzVqqq16DUUW+4vXicXPHLYlKgVxCHjkxvTdJzrx0g0lj32S0PdEMsbQEqqH9YbxIy7wP05cE2vxBej9wQYX9h3HZ7Hh3Mi9HdFoaVtivARZQmDmVn9EHNPPdoHDwuh02nuQCUWPnBfONuikn+H8mVjvCi83dbnKt7k96AF/gJ6jLR6Z4Q9ilVd2cguj+5KzmGmK1VHBAKUmi6dZPdinW4pG2x8eXMWDeb1rsW2E9YgRVpX2rPpHN33A6A81gflPzlztS40ocJUCmMbDUQa9KrtKGlJvV1LoxUG9faLFlt8N+zxwXgaIbyI0kCmf2IHY2eZ/iqcLmsQeCk5VBFKCZpszsFMInkLvKeredQaARzlc95Ppd3jTgzmfdj9v4Gc5PwCK1j9V0XpFqCkiCFbEpvHryvut6ya5dlz0yi9Ykmu70YUVnWLX5e+ZUp8FMwb/4ZieOucJltUkTfWN6TrRraqwsgSUEWkPbtf4fI/00Looa7OcSOK2X2cwjuCzIjxNVyC29fWy0zwA6LtX2sUyGmtitA/MOy0YRFpPyIwf0J9OdL7PgtowTbaqwW5uhrU7eQegwR+55YchW5Dovo4ABgPYMey27Ss+ODeePaghtwVLHsEhwNMQ0JcJ2piRKfGOgVBewBgWaT8HeHxOBLVBk3TrePbINlGTwJ3rFCVwamgSpsaDPCEIHOGK1oUXfghqL4NNXyNMwAKLIDtlveurZhEqdyuFFlYf5Rkrk58Lvv5t8Y1J3T1BKZwB8eDftX5C8qUudAEt4V2y4HoHjyASikLXG3+m4Ktmmfx1zHcuJwGZ/LMUIwGvYRTLUWiAUyXc0l+ZDi0rCMP+Dvaq8jbesAog9tdNHTSlTuOLKFgF0vWwnWUBjgOkqUWCQFVwBq7X+bhJm0dxb95szi8i4zxvwydi+wv4Oilh43LmgUeQZ9biA0oqZjOsfXT9Fp5Tjne4SkpPd3HRzEExZC72YSF49McAdK5q8i/IdRRHeM2E8B/cWrTmQGzE0oQzXxLL9mWwRnlyW9m3YFECKcpho54WewV+fxsiNsQR4udsjXc6hplKHYs26CR9NfsD3ZyjzVm76xCXCh63EQHe15QZuWpqC5TDykmd2IFkYjEbnivsLWPOIZxX4j/GKRXvAMuFLAurNZu5Q5Ygcvk5JjgsTDZ0CxkI979CJHTVtE0wHzUduLNYm6fXAMTizbFGR7fRiSaR4C47or4PfyEB2V5E8ebJnbr6tWzTgpR9OOLgQXBMOSHHT+wN77ucbicu/VC27tqcaZniXzBP+GSJNzLggSHaqSa6UZuBXRWaLYfrqUZtro1rXInRd5HIlxg5SajKPA+ckZpb+g/jnS2rW/ehYhtNARnivpFKIvOaQSIMqHIc+Fbf2q4WRQuahTs02kvxCaO2POlA0cQY6y1R3Wd7kK8T9UZtYO7QEI5vBCO+qsFswSzrtodVD890JWfRX+clEGRKTxSRPLs8/Plz0A/+bbqOL0St7WFmnyTdF246d+eE1HzDiiyeEDHeOs+IMQDv6qWYlhw6q4I57UmPamnTOZ6YOjDfi9vl2WK2NwX2MAPxzXvKTY/RsZjf0O4cXpbAYRJ2BvImEhUZ2jRVI12uQK9J/eF290FVY295+k6CxUPkgzGCAifuDUCHjGGWuJ/fBLma2migR46KxpBDobg1lettkU/WNmSKT0zMytKUKE+vZkrzCI1hD1hS+UcPG0NRMZ23wOD3dSGwYv5JbNcG4gj8EzffFaBU4Yw0jvy1kujR6vEnObI2OaZMpUZd3ZK1/PfCFMvDiuBr1k9Tvlc7D4bYtskEhmIcv7MZELWP+0rz8iCo43zVEUlv/a6RaAEJeNEbZypav7T1LvJWgBvXzsruN28yvZUJXM/Raurwt5xUg2pPih3ppMO02EepeV7vD9k+pjKCMHcxcYPUmPyvXZ081e5MBxChtjqiHLTe3CgiS9qcCCKEuLlraY9zLrtgocMrLweZAf/qgSpP8Oi0PiH2dkvR+eYdQsuVwvRCSxQGYtFQu3OpadZXW/vd+cj4v449SwFkYP/QDAdHhAguvyItX7WHg06bwZ7AGVvHmik6qYRAROvePTInvyek4U21q4w0DMMWzzJ18XYTVnUomj7jHzd+4NvoJkCLxD4O7CnnQAtfkQDJh7VynztdOUV2V6x5J6eBvoXQOBfYRCV3067XIymZ42cnjXof/Z2XJEjL38KVWAL2Un08KkbWZhcm6C1f5vPxvaWtgcbUgXi9oxBXDuZPhGzMTVaOzG4GMGnW6NNYtmZUl3TgzGxHfDF6lMRHJXGm4vlFvxAIsMU/B6oo/6pCPYDrT7V/KKB9buYSAGLxxlphUbMAe9C/kNvo5EAmjK8k1ymUg8v/lSsK3BR5RMFJ/Z4DDKtfRBtCqgF97EgfBU27ZlOVtIt7DAUJuUZfD5Naokxm0d+LI2QgFbRAJXCkkXr/o3PVLXApx/Ian5XdfP7eJUfLUUchrhoPZyVVYG2j69DKAfUspEZ4PjlB0s/r2rUQY/VFTbbi4I9mgRrY0IYaxlpDvA5FRmjmwzW4URBA1hrMiW9GpgAt5zXOmZLE1t++K2tBg5lpHss6NdjWZY+qDrcz2nFZhzVul/zIELP7eZt8UIQ+WAeLghtI0SIiLhPqJg1uawuQdEuJd6+P0Dz1aJAblR9smARdDmL+ef+FolCzCE92FPnlquid1oT5CwG4PSC+RsflbQmO3C63YDxjImAktcCkiZi/R4/G78yCiBIjlJV0cJUg+wGcwqqam+DSd8W+23c+sLSFiwiDWXeM9dq2tghGaQQSTw5Zr9LSYJ+pZB1rnlamjGBsJphHBxlc+c4htMIi8Pvru6yBzS9k2cCIZXzmSEdfooMcxHm+o4uOb2sxq0y5RvkU9vzDFYjXJarwsvPgxmLpdKsKv/7aDAwgaGC+Dzit1Nka3R63c9SYfL56jEeRwFxHjIa+zJbdhHAK6zbXJu3CRNE92BmuXPvJDLXiKIlUi4fIGzhxa8moZv8nRJsGmX5dnRjIEO/FV4jJcdjsSV+KjGlPL/8iFteZZUqfNs6OWhzBiTBq686MOx8ZQ8UUsWXussxMGD7yyqph98PA3GuNOPi9grW+0vJAdUe+qc2I5bncqaMuks99paMNbuHHarPwXQTJwRgJKFFWiq/JZLyRnRcs8cA0cilPYDRZ4SAzT166NY2BkbKhU5IBlQ4ivb3ktaTjzIticUfN0THxlMT5/lc0345todCssNzOpDzE2XuNXKLhQHHiVQFVJHkvOnOQrJMCupM4UFfl0YJb/RQBsb+Q92Fdh/NOhD6Wzh9zj1dSnCoVshVv7QIZv91qx4+FAGvGrjHVzUtq8FBXubhJCv+XaXU909rt7IzXfmcWKxXFctkV87DTmlepT3EcQbw0Mzw/uQ/C7eWVg2/DWsYTgTn9SzF/Nw0cXaJRhQ0YtC94t7pFeUMSOe/3TuFnZHK7Jnd84mc7KkLxCO6MlQgNGXGK8jK4zVcCRVDocXzdTRARPUE4fT6wpYod1sxu7kdkogI594yT33WyDGQi0WDc6DxRq+N2vamahPWfEWlGaWKhClv78ZMUXCJ9K6D/Jwc0B2oilXSnQs2iaZ6TCfWxW4hSWHChFlEhPUAFnYiRO412gQcgqmogMWldYkmeylrSUMsPnJTNcBr+zE6hUgTm8CyBMXvvDXMigvic07rMOLGOtLYxtXgka2AB8Qm1OehHZl1ZoOvWpYjaC2TdP7T5QCW5M/Bf1iuQfqoVktz/mZl69uLbXULA3jWutuQHc6GDS6zph1JcX1TtwZwogYFpXxhtOdEJoRUMyJoNUA8oCq1LtfbcOsyKnV95Sxq8mm+JuffU6W2Gm42LgJZAxvJwxsR0ZHgtLQVq1cbIaOp5IaZtm02pqnlHT0fPzhMbe2gRiDTDWg3e9yAnJn8iPzt91eiJUWMdMkuWe9N8tzq4r1w8+55rid+RUGZF32mcjxX6sqgXigd+W7vAhE8aUTC2H46Cjwp0FtZ1iYVKwLc722BpZZKDI8IxmXTvn4/qMvEhcIar8tv0JB5BUFeggl28sF1eot2q7Iagz4/sSSKtnEA9RXIkH9uXVb18Ke3O/JDpnCt72h9zT9jEcTy+JgNg4ZAJlRKGWL9PwDx8KElaJzzKISFFQKhMCFC5hH5xCSiw8pRJD7NCFqWcYGSLzfQYa//ERTSWjOLw9HnVvmacFX/Gb+ppg7Wnnbd/5ocOCXQFfYPlKHGisTl8AWKIHPcaAWKAFk67VGxCSvjB9sEyOQm9uASL8148vX0oU+lUKbUjBttGfHbSoTgpL2sc7I0bExz0N+2niGode53viYPlEqsAO0HUPWVR+yYZO5ZWetfG7Bf/yCUEaPJS/F+WsyM2ACOiwOpH6eX00Q4r6Ov7lE/wZ3Bfm/2/QzdfCcOmznnXS06MW5lBcueLROn7PL+cO4/Si1qyruASZzi+h7v5QwTVz1LqJs7t3WOfPYe+59HkWkNoYH7HIvkAO/3tFqc+F9ffNmtLDKA9t2PEE/fdHiYAlV1kdaQdOXZphzVTZ3GxFDBOd9d8MSPs+WMMRqEOvwQvgaf8rcQmdz3nHSk11o1EkD2bB1y6/04Kbumyjwm7duc4T56pMRC2X8D6Bk9ycyVD6cDQ9qljm6XFC5NfoKuMLpUlJQyZrS8oNUFiyXrCXdGnqsp39hPvAAaBM4ufzXKdPX0IcUqtnB7TabX3zxxAz4J0i98EDgZDCr4kuyLwuR1bc/xG9ow0qqedh4lLzrDY975vju8f5Y897cknjYREFWiTbkgazc4Nu1TsJ8JGw4zHTlmZ15ZJfVolH8UG5HMOfYrL5I1FC0oH9CumzOIrWS2OcMS1QOfl/s23PqR0kbWyoo6cPwsre77vQ+gDMcfBSWqIB987NAunywY9jwawbWP+tnM7G7O7QXny6ZYRJpjVjTKk5o/1XBQ9fn00znJVMg0PdZPjUgc1Sk9ECQDZLMvNuiPs6/uVq4HIQ+jFY20+nvwWk4WuYUM+zp9biWyUBEePbOcd5Qv4Eu8wedw39QXGwUnAxy9Szap63u1RsCAd+kgkhJepVoLwssILDBgM/qyI5ll3WHxK8wrR3k8CYL9denSInMKmP6A+sqehEkSwT7zMF73dd2miedgUDOfiCi/uXRNwPyKEvD8wJKjFipR+ZYySf4phm4rk9rAwPBNx0sD5aR0L8VktH3qh3eMpdENXoSQrxgZsqQSceynSVWBjYMF/yvxfqf6KhgO/5QytGNJxHk4W50Kso0FSteqtK+4VZofJ22MIIGK0xET4EAw4sntQAt99kH4BSHAr3y3DDxAyT+/hLNjCsCYdCMYrBDmCdno20uew06BMK9vkclo8HBk6k8gowmrZ6HVP3Q+zfCgXnpcM037+5/jrT+oMK31y3ZVpakB4KuzNTiA80aJhXuI3UrHyKikfvgKTzYPlUWKmbhLONkvQuxZp3G6MroTXEg/pH8H1ZCmOVGSXNDHuWxncECLzIHvnTLvW1dbEL4B1Ot4NYN4oA6TscxdCaVzRV0eddkMRlWacIKYUV31P/gbfeKgZ8M3FdTUMQvS2WTpMSHEGfYnZ6RCwBxEldDy8NcLwFDp/eh4/oHFsabMPRelMZJbT2MeuuOdjJcPbhdACVyeN2X+v2ZiIL1MGUYucnOdziGvAyDPd+dCMiuoew4di14B2HAxSZuDLPlZO+m943pTRlDwSnY+U0vSpZ7w0tESYSly/gml7RAezEF+uI4hXQixNqa9cjZowiOFIjbN4kPbNyDMXZpE0tipYC2lqAOTabhvOIT6wHxKRTKNpRknLVE8jdxJ0A4eA5AvLRcRH5qKIx4qx1z65XpOfiPHA+G61RgWosXh4r+wb+BtsTTTkuJuQHildob59IXli3OJpCcSeiAmn1ZLeRm44jmScjkuyBNQmIau7m0kZcpzeiidz1XHfCYPVixbAogRWDwlOGtiUYJdqXengAMEG0GRLFGztG/1FBrR+R83biSKLF11cHGxq+6OvwmAgdGg8gEQNxSzAEcelm5r4v7FqBVMesNc8JmqR03J2PkbBT5Nql0s5zZ8eV2Eer4XsLLqqXLd/2kQL0xAknsSHcBmTsu1FMC7/wjHhRoGyKcX+xMZTV5VQbxsfCc1HU6xsGhRumqPJRHc+Y62Mm5lr0fk8xLd0ifzm4wQ0jLSrJY630vp2xx7TzlRTMqq8TUKF6ebvPireiyP2RRAex4Caa86jOkdgw5qNe3DsN1UTmFp34GdYe/TSzqgDQUCONX2jNZ1zHPA5jaLGgnpjdfkjRMvjngm34v04wWJnzqhvO3Bfnt5V8kjomOOCpOgeTlvtrLkGRToUcBXOItVUkCzbl+l+972yeQF2CmDWRnpNodWETfPhRD6yugfczROVMMRdRPduOicVoDJ6ilsqb+7msny05Z8MwSX//luNEyZUIzwD4pqgxcHdcW6a3Xr+xIyTu/QLhRwOoQUCXppMdzqa6ogSiJGfePyFS9x7/gdUIbEQLyMVEFktFBvmGY0exA7XZAnaBPfoKzJTl7xajasvnp5654Ofq413TDdKePn5HSwTapSq9BpHFFfi0Rkr/P9+SZWYyMfsq8UEPZon1qtz457wdmD02bWO8vDviGupnozcZjGDyVG4hGs0eeQfArNRk5FllWLwDQ8N8QYZi9esBZmIZugWlgQU5IaLR2GLiPvU4yGNFfTbGhmw2u1AQF0rm0T+27LDIKf74qWa9wiHDM+iLotMCvA4t8u6qasuE4qE1HGtDOwdayrjOZjdjQSnvXnsse7D8862z3VlrqxeHBOKezjwpEXx2Xruz68lLyQ2APKTOCEUJI8HVqOcF2U7lLlKVt+scoLuaubfff9GSPweGXAOMazePNJHud3euA6n702eG1rdXuBH64wwLfJ15l56jDm3NQFP5M1HAsv7isDnCKeE5hkReQmvkBAVvcmFKsTgeHOFPoC+xbn99O+fKmZWTPZLb5k+GunOmKVBPaPTodx1mdVnywH4ossacF9aP8uWs/uJ3KYpy//Y5+x4Xc8/bnnee1LtX0H1gbe5M70Mq40nVc9mUCQUuq3DwX9b7v5WhtAgEjMBmdHeIk4hZD2cZI1hFrrV9WjXIPWZJ3Q7uehZBq4cRzz9Mkx/RoQtswbp3yHdn1cexKQRW4m2Na6UGEJoM0bikbrF1uEXKuRc/50djWBPvc/X+ySFMEZm//T28cTbvT1e2tZKkF+a7GyigvtxvFRe39n48I/VwehdJeeCE+k04omFI1y+BoL81IUqsFejC0qZA6HltPWeYlbUtyhfknBQ4fUWiQbFfL/34w+YrWTNLiZuUOVgzouOmTKWoQqS1CKOXSuYei6wxZKDJp91HzX0rs6mSP9eoWF8pprQcd6QzjaZOaQCMQDiosQPpyR72qjg5qE3FfTHHHzgcFClrCtb7XUwAkX1djwn+F6hL6pGKjERAEAhRtvtdlsIUzRsmkDW36dbNiS/sKVTvaLAbZbJa1waTHjoJmAuk8tEwthxs3fzLCR30f7yUmx/8CQdHE04dZOOEC1B5AUWSaH1S5sTXWRn2xpMVF/whrX/0RZMVp35VRoEYhjiHrO/EaS65bLv+JcPaurr0IFTHhLHHIHmpsh38FuqXlYEjXyVMgvX4pktf9ZN+XIXBqdzWU3Cz9iaxSJygXt5WO4dMdoyJ7M7bz1FmbbXovcXm/BNaukqX1U5dH3jswOpNfAqHw62fXaAeENpVvRIsr40FedAXRTlBZnBwoDxvv+PhN61iDTBGdznGza2B/W0i+DSyCibOm+YhzGC5qrKIxyTQJYiJRmKll3FBS9/vVWK/W25fs6gXUuDcFWOrcXENiwlylX1pkusuEaXwcyik47l1nKvAEkXTkpEfODRwr2p83nDzygA4sqok4ajeU0GUbmJajTriefeoNpTZc0egU62GBoztjUvFaGMrgtC6FLEgnlYh9UcK516d8Yav27Prfo33KWCIvT+a5BGWhUn56XJ1bx0n25bImHBY9FFbpTfPEzbN8WmVSkVb5ySIlcPI7hAUK4KH8cJENXzPfRy9W0PaEC/fy8VbNPpNRvhUsVmFwnmozZDHDcVFGaOkuqmP3Ion8skcUijVd8q304zJI4Cos8GoLvIMZBpQrcOK4RaPto0v53/UALNAYNH4bVoNjZtHkqyWRn6pEptiI7FTwyboVkNwcbdxgzW4IUnX25EIE8S0hoZt81OVycK5Zgvo5Kz+OwfFOu1Pe9PjOoc5YriwFbDxCsynUYfmbtYbrwCBT2GQQxL9arahJxwLJCnsp5RZg/E2tlTPZ0Pyz9qy0SkZBnree+zwznRdVB40WhGBYw58xUoL4YtQ6KOJwU8zPrt+Y5qe4LuV5yo8knNU2a4FDvJeEHjygv+G4g8oef1KOlPSw1bb+B40Q9Kfs1Rvt39t8Nv24UAkyjqyrhTPwCJ9K2ASxVegN0h6M1N6w2k1nmCjeSG6xm5Hq7ZwM5z0S6X5JOZ4QW1cmaHe5k2AdlcoPfmpR8sA8CTHZlmC6Fzd1QmvtQpes14MbL7w7W6wvN8sGOKG9nJuZoFnQhBEWEU6rbguSjQ0MKpjSVdOj2CZabuJeVltmIGzZYm7QlvllI8bj2uIBEv0cwvKcSNJbSK7qeOlfpWJd1TrfqbSAGonfAPafsowad1kUqirrmLkOMjTPiXKptabnEQ9EmI88juFP2214/b3Fyv0LR9PfyhFCDCyt7zWLtLMha0cp2ahGtqecX/yIK1VFvO1wX2qEnOAxEkqLSs15mniX42Ud+5cjKZml9+zx3/st5wCsxE1N3yp5jLPYHByxO2x/bDcHmGtzxROmP1t2YPgbct7MQ8XUz+iH5uHNItc6qg15TvABDKiTCRmOb8lNaQaFWu/W9sZ9eRvkxYtcnGTNtVanNuBMikCHz9yVldY9P5zgIhkR7i24SqedD+2H9yY/L4+z2Zb7v8pXtvmMghsui1p6EE1mdqHbnJSOlMi7iKoQOU2egIugvK4ufwnmUESHfrXHB215arEJR3yyglKO6F5yBpQKthaderbQ1OwuGsbiMKX0sfLw2oRFL3GM1XlHaQiSXiKyuvLuFqRgzVL3XXU3+VUR1Ia7WLjTOXjJ28KZSXL8oeMyCFe8JIk6X9GDA+SEBvdiHGbuh6JTyw4+FveouVRFNcDfyuavZ13BPo2TlPZ2mtNcw3koK2REhXoU+Rnnk8qtHbIB30HDhRky+8ZbGcDjnN1sOS2lRyNCkb8/sY4xSxGh7dNbi8/zq+ak6gdV3i2sEkyF7hr30HN0CQWEjWfELnbI1bFb6kO9lI/+W8X6Bq/El5C+EEMjepKVJAq6DtBUbz8lH2bzGCQm/gAwDHiyuARQYZKNpsG/6oA81L/XPo72zr75wrqgZd4+R4ZUT8//B47a/JMz9u7KgB7c5s9NXbh7GEEr2iRRgBXVjcvwW8Bv8oKS6rET+yyILOqD7cbXuqA4sO/cy5djk6cFR4fW6Jqo1JB1ygrhnaJUvOE+Tq+GgoOc4QkKSKcNRQwehiU6Gb/R9DHAV1PrfrYzQCW0qd1QuYwPulWcWBIDKS/1pq9hsbODrJYEbRP/X34CcLLsvjms4u5cPwIhFDrxu8BVkSVaaCir7Ievc//JgoCdeL1wY5jB7qKlyCdVuxd0JeW+HR1zZPebopljjfYRxqenqPXnY9/hEsLW1EHAaVF3E4LBpc3gZpThJs4DOLGVgRmfl95UrbqFAdv4EgyR++4KtkHWV38w5NJH7OSa3+0Z6FjLsGnaEfhztiZWcuxcQWUjqO24ifWT/KuEm53jLjQ4+0PKO/5ieI3uWByhDwt1S2zOZ7l0++GtwEe2M0S4qXLwVziI/jNR+QgSsCLkkwJQvOGlPxheJAgMXgIvpiBQFVFVLf0yvtqeFYRpGhZGcJtERk93TLFe/n4wc88oLT0GufGsYl2thrI10wcqpsQnQHWITKD5z04Y2/cMY2vfOcO6oZkgocLeas9SnVzBInX3fqqC4GmyZAi7AcV02lyl0u6EM9iiA14t044FXunORWS5731mRNfhLfYABf4P1IT8fr1F5i117tdWjWhq0rTmcIHSLc0C39G9gvpZSy0QRrUypyRThfoKQyw1FGfoHaMpW8DF/wnIlkYGF3zIIF3g+IIXTayiXoFgoxHD0ULnEL7Af+RWImTSZKc33mY3ewrQNae1DA1EUaDZWBSEAzJjdx6AfZvI7GOTSxkwfhBiz56e8rwZkAW+slL+GG5SkMbdaGMCnZOumSIwSzgeNikAKF1saAahXrl6EQs8hoZZN9J/vSs17j/Yw0HMB7soFXnjXcHHOD9XEvgPSzzyWpPfr19SvzrlqGShC4BWyH2zpssPS5tbfH2coEY6Tvgb55iljVh/MGcF7X9kZvy5YAWlng5T/demgPwty1niGLGFvEZ/XCllydlYphZZV3KOKpZNvcyZ4TxNBlaZF9C/2cdWEcyPY9JU1FoRyES/5le3QDuxMk9WJ55hhQkgjZ5WV0xlBki7PujLVKrKZHDP1zycc76h3SzziBjiJPvtVWlRDMzUW+i8UTwy3HIyDALFP6xk/sbTQh7sEMN15pXvtSewiGhXAHofu103xgbvhcJbHOggw37q5/Rc4QtAPqBQJ/e/STAcxwlaN24fKLyAeyUL3b37jyavMUEvpIiIkQR5/hgw4VGlWmWqUsOTSINdCbqL4zSqCw9Mgdx5FApfv5JoHFH9sEYf1pzO7Q3k/Id8NqCi2p3IUWIVWHDT8vdVHTjuqudRU02L8JsUgRFLWDBgBFYtWBigAhuugKfMO2G/Wa2SF1lv4cUI8IHHKqMoGp3ynmZNoVyI5gSttOulfZ3vXfjz5GnP1Zds4Cm+itY//PNxtpCoWXKKDZYHFdxoiN4Dn/knrSGVpAPWt0WnzYwugz7SjLkJGinl2DAtRheaPAecccqTobGU3PROhdy1AETiCP4tl2WIt7wJvACSsktyjDS3WIaYjFu8Fk9dYzDf/qroUEKkIGD5dasyFOKEjFtivzDqr3JxoOfTnUrWPWv1Yc+s1+ZTABNAHtCgUOWHJF5Y6W8urJBeOpzbPSUTrrjdvQ4Cp+hBe878PhZaB5fdHyGNGXhXWcIFMFBB6qf4mSa1Gyns4n6pDGJGNOw6gtNoNqo39ARyeiHCxv800lh/m7gZ2TLiq9aX6tiUGunwsvd4g+l79uvv2X3zzfVAPlTmlDJbaPQkMuWFYnTV5WMipYDEaEt2GhUVYVCLZzCgoOXrDBswHTXEiUUcjtrwKUjjBNSUJ0BWBRWbeuF0n51s/or2K0vmhzqROCrlVQkqvu5aHwuum966s7sTC6hZ6zwl+Tc+HT+v1+T7GaIp/H+PijWQ8Wl08SWKNDpbphmovDC8xlbE2EwFmLGwh75SgcFAftbHJWf6n+tBDzBbBoHC8AWtgDnbgMv5Nny6E25RVSH91xkDyR1Xb14HWveBkDr42tgA11MNYiyvShnZ88QjRQcGRenA+6XHclxH6gVuZPsQj00KcnPN9OHNtKAS7Ce6iWY8CmZk7cvxMwGoPa5SK/JU3OefbMo2rRWPmQtowuz7ZrpNyxaArhKQVcL7OdvkMqhUIfmO8updbHXwt3OEVr8mLXvArc+6Qaq2zdLAi3rrkxtsdJjyk29ryXRrKJUnTW9blk+Tj4bK3fpFIRsKnJTpM75tW5QpvI4J0378Nxf+3yA4Nu7qVCmL7glCbX+Ejp1ks/Txr5mC8GuYXERtprgEQLlGHR8njD0ccN4jD83MTkWb1+MIXA4p9m1BKCag3TTSBNUBwsjmAhBClvi4IJ68CKFn2UugBTOurMIuFz7lGaJFtJxARvWmt8H2ZDWohb4Mo4O+avhIbIQffkqMaLz4WULcNlTFk8irfamrtdv8lJBM/hRt2pzqVuE2/IrhiVvw7Z1UHPvcJ/6rdchLmCGKB+rdNVgUGUUNuec0oEJqHoobfg0TUsKBi/Hd49Kh8jcvi3QClBc7zlECaC7pSb2ftvf01YziGlnUe1T4ZXfr2SG5vKToBkUgkGPxVZ8wv3w4Ym3E2AmrYFGRB5zl6X/jqdnjxSXtz54P3w0nb4/UU98IWTAv5DUuWtjLcwNbqOx8A5m8zdCfIHPwbAh/gR7dlHLyIQ/otvspmMLAUgxSu7IjHPVNb7J30cYHSa/ltavFP5lFCMllNo3Ycoa3AqpMTclC3wYhEA12bP463yubDGwRdkg8K9wXzZOGPJj/RF26DOHgVsnnU2EQBE+esYC1oRphAmBzBSnZIJHkkIekHOk/OUskOmt07L9ZvWMaxGOScJ4RT0iZniGPbcIEu1vorllNmtnkQp05lDQuvnYsnaEGkbZO2BpHYiGhX81gxBrCm4lOjTVD2t94wDdd+3sPs6q5Q++QpHFiaIbe060Grlk5SAD6AYHys56xvuejxvJhhb0LWj8tFNqnWmGQpciu/FS9bidGOaeAbqIEK1IZ3xNTdr1v93on3KnzQyHrWS9NTK/ndXzF0FUJZ7MyGK4z4i4BC8PE/p8WZJD0CQvVpDhmniEUwXSCMaWpeQ64EjqDhdu07zSuF1fo5tzBB+aXtTN42tAbbw7hdngZEQqQhdGq59sfz5gcYY1ARTB9wWTp8h2Rc07kXfyfCEIq37K0nxDfvmMnWuxhpT8GuPfVgf6FY0ixuw9fczoTnKUnCPb6f7P5B+XCf9IQjc40tQnJJCIBVk0tTvcG/qRE7wrXisWAbFUgEQHQGTF5pSvAQQB4oh33Og1lsIV8RxUPMxJfQS2SynV5CjQxWPTTiFfDmU//IDKoiNah1ZjE/51vjjic4HYMh7XPjXFhRNnfT9g/SSoE3h6Pf+yWDQV1vBGOLAn0eSSx/CGFaRAHFoI0jNF35+HpRwhvGE9hrVSZ5tnKz7s5152kY2hg2v+T3Ii5gMg4Ec/hjsRBGhNgqJGMxDh/rwS6Xra1MNXzHsfD9GkmKayyX6q3nUuS7m4kbNY+lAYQd8te9ULB3yh8TKy30A+kh2+32UIjJ7jsjItwJrjDrkqpuar6oNzeIyGYR56kXf0aiNHgnuaLYNXJp991lo56xEnPLadjPMr2MuHPKrOYuhkBaMtLuN5D8X1XKOz1Gx05MrhJqaCdkLF6ecgbh0jEm0DGjeMomxFPkzhmkVAdvgYLUUTl5ZLKPBDUZbuseE1mDdZHKXO133dr6T7eqaXK3jIy8Qu/6S/rdqNevqSzZ098Exk5Q1ZSjkn0QWhnw34fjAf+DZtlwn3/7r+z/6NZLS5Tc9loktwgIAGFHMk8hhrgwyP4veWdzMTyD9IZlukoJ0bZrjy+gDZ5DSFQWRzHnJ5TndcI/G7mvDW1TEVVTe9yb4LvvCdiJSyGRNXSrR5OT7OcGCA3TVoJCXupXRPauusmsuh7ipsLjOYonzbxabAqmQRyvYwoXeoGowq6bVQojR99u3GxEr/4thxVtDAAXk2JdSYH5TYSdkSpi08Jyc5OERNnZVlyig1VQSKxzY59YV7yuG4biGgha0pJCP4BbdrUxHOHCU+osMzpuTfKwZWAui2wW56Oz0ujonoHAsn7sV+Bg+yYr5Rb1bj4ueDiQFaXdr4zJED+Y/4CMONViW7ppf04K7ul7bGY/iSb+XLJKT3HcK9331gq06/WDjdm7SqyD0Ei6nC7mwRZFmo8M7VMz0vANuBUcmxeBCKP7k4wZFK63fCaBDzboKIVdAZqlVQua7pm5zDg2/MbkM80n2r0suJwXG+2MOpkqkzHV8fSTmi6kR8of/cs8//y/wYjbfVshW3GDf2fUFEp4ETIpoLiA2PtTjxZgI8qx5ei8JU3uEoO3d8KQvCrZ73MH22Ts+ag9nRzGJRsK4DOaznEofgKp7SW5v1RvYVDv90q20SW89pbCepoVDt8hljPeNMI7BuUatSIB6AdZGBGfGnZrm/BSGNfW7Q/9yQ1LB+YQrFWzRUm0xsqpWmxHDaD2YNMTiMjePW1+GAwC9exCEPDNRpZyWl5IU1cX/GLUkz5SwipQFOyEgBzamjyYn1vp3c0oNdHWVytiTUz3hkOdK5YC3MDygT2XAWZYu/tHRFEuUMkShP0rtKSHQzb7O1R/NyIH3MsPeNfwPky3s1CJL5/qw7FKGO8wOTlbML7/U4EPSySMgt6yp+lDL87F+SOnrMw9eUodFtwTOrxiDT1njF/bvmwgjz6l7w36fTktSWWw5Gup0YAF4wlt2mu/kdM6HF0JnZdBc+QeVl/ftEvgl+zopzdq7KeZ6X3rzIP8/+LFCTss4BEBmKO0lNagpko57GzjOsB3WgaYRaovcfEzgfg9UAzd96kqDRGZXor1a0cPsoWz78rKPZ9YOYPNS6bd/G5FodisyXw/ClaBW1/+MzpUXErgSuSGOLvsH+VEB4pYNVQLLQrfi8+olMFjwOGxTh1rga9onlclErglABdup9rZYr0kbcF+M7PixjPRMKbJEU8H3hapmn92NgFcDMPbc1y7X52QqMqGNQMPm0MK3j9tC8RRc/6kavOqkOdUA3nC4Lhow2sJq25LRbvbj7Elh3/sk+e5kMOPg1j4nBA6aTMXPNR4E8Kuy/7dmypm9uzG/rzCe3VDr6uDwU6fg10ZRK2B2MfKWeficsc42dvS0W1j8Pcy0iu4j9s+Q1nG6nZlqG2lk6qf7ka2PnSv2Iq28zbTpJX3vxmH8pzm4UO4KHC3s9drn4rXdQ4YFubKzjqxrsEEFGQyvK+XJI2bvLwf69W4Ha/J3PH9FdHDW2YMere4B0WBK/J3ESUy7bFUC84FSA13ksdbbNH8QfU7xNQNAoWBccoxwYoATBQjqteVfeRWqYVA413jNqRDnVzzBBUI3G2dQbXzumqVjsf9UlMlxQWtKtUsiWQ5S0hlyPjpc3Un6VFmJauaYgi8prM/NH+AU5knW1VixwUUXXw955uDsV8IMtUS0CGAkVLcNKBRKItz3SmoIuHm6VpQEcLhF1p/zTVhhB2koNuteAg9ERNS8t18ybTT7geY8T3SeNpFzguYvCJytUBLMAFV7J7672JqX/DVDDUAHO1LANRtmyF1nMAWevR2UWQYKLUMAA5lFC+pOcF5VAT+T5mb1++TSTtDfHB4uK7RqjeleuFsKoIn1PyjJ8aFSQ8dr2hS5+4Ke+utqfqr3UzrjAhA+Mj/cx22OCzzr9n/Y1kPYh1EivBgjbhGyNF4ggrGZJ7OuD6mxEoyiUgY04KE4VPKbuwevQDt7CTBi7YLEkZxVMAUKOhP24fcw+rezSmuXp0s2eI1tcaFwHZl3iZHOHg/ZuKjGOYCamYPC+WtR4q7qWcLAUIYKmMkjya0ohjq/voHmA+rgv/c2TyWL/sOq5j5M2HIwwc1/xLiLCyZCKsTSoU6XVlSbQezactOldlOwQVz7KEfMO+nw9h47CWyOuCYP3T3W5iKWRWGNN4t67hVomvrVMdoC2NofS0H4y7OA/yu5M2wqMzMyIrXshGVvk1/+Tkwp2JJlJHJpZGJgNh3Efip5iXyg2FPuUSHzrkzmO0DnR9EEAscgsnlHs+uKqkd9AlJwBwkosb08GSWoAJLVeE8m0XtpP1j4Zz1oYiyn7A4ZNNuU+kJtowqWJchswHk60itcdH0qJfC2YCNoRAy0udPiouEd2DyfKi8BFqwqDITmhRXnEnRGNNK4P8jSHGBlczdzWvA5Ek1gCoMB1KVF1EblRKMvN97cCvN28jO9GYmfktLgC5Y2WdquP5Z+/Egpif1vMK4UZDg1jMfFoedkhS9RiiQobtYKBImenFuKScCNgdkoUyGV9gG7f5CVegx1ABV5ub3z1PdstDo8kQWTwFF91ibTDgt8jGuydtCDLDDdRvKfuF9mz41SqHb/AXLPG0IjOCAROyTZCmaEVRTKl0CT5Se5VSNXlZHU1eYaK+nPFKej2YdTCGSuto2OORZoQRK1n666/sJqnVAh8vVcnMJNnu4YGYNvXQ1cOKtLojpDyYgFDJasv3eSULOOuhgax7RpAJQVPG7R8J5Bqo0vSDNofxUmi0bINUHbH2kINwEVqmjdhjNYW7Q2NgfL/dBAeZq5Je69f7HkD3YlIMQCDOmP+WW9oLfaqGKy5OSzKoNeyeWw3eS9AVzsAcYIBkNxr9Zt2YhY6+1yBKYu5Z9ErizdrMm3pbV7Fky3v4nQhB3USVdjlJleE5eyHf0g7Ry/vKFSovJvi5PUunoUKBqhWXJcpnTPMV73Q9/s3YwuXUwIiOWy2eUPJ+yeo0QaFiGjNmxjFVN2eflUdGZCKuFjYfRaoR0uaF9pOsdj9O0ssRlyoWuf92JegYI77ZHiSxshEkOT76nqwDFXyDa4Sgq2b3ryYp/U7Z0Q2F5MOSUrfrSpGI+6zd8im1ENbVj+LbZT3r/p2GYmgqh2JW1OBDYZS44/gYfv9WUmH8BLD1nP5ClGi4T4nziXKdPRW8J/8nv17Qanx8PsLpqdApbUcC1/cTzVbxWsaYRz1cdnFQfM/mCyoLpsiMETPi8yXWq/J2dMYUtmQRfviSo7d1Ny4b1+rgnfizwvsQoE/JcJ5cxobffzXug3y/tCXoyExcwdfhi+tN48EXSqqIEM5NvFCrpnFdncFY+liUojj82s4iGFCilc/EGkzhZNs/OIcdx5YbmM2gjZrPaQVOnDhUDvSJhlZE/3PY60Wzfi2LfA/HoRoBL2uJhU1eAy1vwTw1OMFSdLqKKKvq9qpHcsmVrItoHIxgweDqUK+psGBMJ1mI5EyFQclj2SuRo3H9Kr23v6LIuumoBrIpx8rvEHcwkKDRbpoGZZVM8pYIORlM0ZBr9XG6JmOeIuZhpYnrjhudJRqCZvSoeNlfh7/SMaFKR5i9rN+JVKyU/3o9QtyGEoVRazAPmdZABNxx+JsQNFgrvVBriMYlLUiqYE7DG0xnDqBT72Hj/g/a+tFdcXU6XkneyXfBmNI+tW2xyHlwJsHUI2zKqKmvh//U9LJdUSZAfAEm8PxxeVNhNe3jfFZmFJpE7Wf/ujnInz1I2gz5F5a+sja3qyBb+d0VGGQP6tYORCC32txLopWT/FWiuozjeD4e8ebQQ7hDNd8lJsskN66cgxpLZlynoEQ4c/nqV5yRJ068VcA08L0Un/wXd3HWy8sFy4p1hDdy3TR1iBa3UppYeRiUJ4SZYFDoLwa8rTydBgebO44O866gdgVbaRppcXZuSGIkgGhdL6/cN3+DxSDPqc1mv8ov2uJFFTDJTtUyWphl+hzwu8PMAVMx2t2mBnvD9lNJslvZKwpS0d/PYK9m/PUjF0k+pmDI1630mM+7n+5QGXbe/usPdgq7O1U2UK/gFf2XQ0WwfFDfM2r4/3faX43MtDaR0WiDSLPuWwLynyGMLAb78PlxSh0MXcB4JUEBiyAMbJfAHqS68QVliX2oWy0j3RqSeY1psWo4DYgVpTWnI4ebokGkgy2EUHCiQUXh8uZFBZX5IZpLM4LjUF7MpBXRzwsFfe7Zp//3H9mBnU5KiVGzQaCxUTbFx0+88iRj0yAywNS7+eAq6iHx4t3od2CQe+fL0FToV3UsL9xxkA/Pd9ILd/Yu3SawEIySrx4vQsVV0EOpZvwrUXQeGqgW69Y3IjNdvhgxboGBEiMlLgbxzb27nfRFgs2k3foTbNUeNOPJ9LSXOFOXacBAACOlF5DRrHsOa/FVNeICIzysG+X4ZIdeRCZVAZ2VYbWWhWeMsuAgvxqv7sp6WnBBM+rxj08mh0jEV+/NMv6SiTSiuKN9FHZexW6stmx6agWQpLXjjoCeswBUQJ5OGUaBQ/1Z0Gj+Amt7wqsf5RPOTDwzQgwKEZeqrI0XDuTqDNhBv4iCwP0qIM4MQ1o1jGXh//R0wDbgyeB09pZlScv26r6HASL46cz8HcFYonEavEodFbw7VuoZQiY5YJ5+q6hztQ8yb2nhpdsIpL1Ss+UTyIqEECnx/tQJ0iKitXc89298/S26XaMkGKdIUh+4ebVrxC5GnPL7XTpdqPjuRqLqPiZzR8lVMgFBtcZhFQQ/ndoE8x8q7naL1xIbMVnKjAWygiBolJVLSwcvxpqKPaTRGj5fFwhr5deQMvABGUMaYJwuvWqlbYnlrr3p//38GxZsZ6ndk0nxYy+CnnwEAgaya7wSsi7JLbjLnv+vyzv7IWY39Ru/xY4F23nlYLQCvZTrxTOuGxfFImfNXTA2Atv3o3lB3QsgqF3+QrVSqwdErRrOZmoycP93HtcuDuR+asf7/oxyeGhrh4D8ptX7hzPJt2DKZfriVOO7geCb3pMC1EqWMHD7u9cq4HrpSU3vqSY58pC+Lcbe3O5XmdB29Ig2H2PUSdXgrYUD0+T8VUIaUH9rPAx9oZzcGtvwNQD/fGDkezGIHOU5SsBJklA9G/AbAeCPBw0bNLbqd/ACBt0Y2xUVwMnXfznlEfyLdm8MPLAPWV3k+QuBh6B21fWT0KUP8j/jbPILZC9gFprlYfsHV6DJwIXQa/6q1I5OSyNttiXH5ENuZ/G/uFPhCyFaM/BrMIc1UV3+l13pvqi+yVgIRE2uKv6dCU051mUvc41p+wEKXCPj2vDr7Nuv2nRIfSf5l7bS3M9UH1jhD7xklUIaNBzvRAGyZfdNnm5u5rcqKLUDu4WMimKxc58e4k8aryfQxz+j7gO+eW9EkzyHw4zrTPFM/xsoCu/6BnACc1/W9+IsX5RoCB8xjIe3jmeEph/4IoIfI52QIOstKGWbo39yqpHgqD4RPUmetx9gCtfVWLAIx3JNr9NWEjk5SmOaKgFtHjQkpj5Mrr/B6BdT95PutLH+xV0VMCq+AhrgKbu60rVLyshL8ew6Sc5YsXx5K55j56DleitVd0CMTHvRfmaAMnQVardrvgzRtSr+FcUcIQMsavfpEAeRt5s2KkL6eM8quKf7YJMr4gTvwbvyOJVzdOE1Vnp7K7An8cTDif17nKowv0TryMIRCGp5sgtXv1Dz8Ob+882ytFoFY6wRVeuKHU9bz/akluV9vDH4y2AHABrF9TGF/LAyHvritdgsgk3BMoo7opCrDw1WZaVv3tktjTRQyD1Ooyw1Oy00knL4bTooGYgeDEWT+T0ehOb2QnKaRmwvBo2U1Nny2gWNfTf2ItBYMi8y+A/y6FbxFeKD4zB+mOdE8G7hqxhJIV+Z/rysQgP5IA93Zt3LdqDJpwL6nwLKwO9UNon4uNEtQoRFWJaQjHcYCpTUKnc3YJYVGQcgMufvLrKjAywERqyXBP8e50v190lYY6Rj3S+uVLXQ43pLOGbXIjfzVArpBv+Ra8sJClvbwue3hNQs3ZgLgFDDijUu5oT/5/QlS37P52UKs+VgTxlz8Lz0w5Zgz9OiCbrRyfVkli8bOzFJ4e4ENqxKi6RDgbJl0vF2qKtA0N+2on/YFHucNt1ZGE2Tq7x55eksWPAFhRAnv1aHrs3fy5wznXFiZeKrjm+fc1X+uytreew2FrSU5S2/UdGa9jxj6KdPotFjPZXM4PEunk3V/kgwrJIlRtaL9WcdBs8wsGH0ShdxgQJpje7HmSiufeXpGsCjcOrA3wtJHNXjCa/TVM/IiBuMLrlm64PKToPci5xkdJ7WLjrW4y5LPjQI6v1XOV8qjop2dadd+t4QmZl9V6cc0PPaIbsdaz7seqnU5Wr7+uSy31QvfNQNOEssVAX5Eq6IRaWpPwhmbAtDNWH6mpcvIxQoofONo2TppG/zAWIQZ8pztdrQdmUYe/oNOc0MbYKcNDaXWpqtIUF6Al/QVd+8wcIXkCEtDd6IQiElR3bZgsrIlJ+C14yUGogJBV1zvSoyad64zng713vl5tnlxk8r/IE+HEd3QfHDaw914oaIDgrb9ubV9/XBSINQMsu1RVOi5HYVMcIpOHazukTvLfABooI3+VWdyTudLaCVHAzcl3EQDo+fy+1a4VEkF9hw71GZ1wBSJdNxYvCRqtbhijrSil4dUSp8hFbgmrtDExDq7mJDM3NWRf/uwjhKBWgtZ9yKq+5B240po8zizjCWrVWlCKRXjeoX+UOlE6Mi5RizfSdr9zgoaF2DXcDqgSf/nSz3L/J1oo8GD7iuIQMgo1/Egr/G2CBHEXtL6ewz/0bZKiWEXle2JfAEieMc4Y6WCu7K2vkfrGg2zxGYF7C7DyPgQ9dXrVGVVgaWqiQUu5RLbTWPf65/rMtFlEeFcdVxLWp2jSHkAlXE+Y4V1ZIMYMa5N4P8ArD/Awin+mvhjWsbau/H26mmtaGnN0O2phJFdfSoD8cvd9zn+XtiEnvSPQ+EkeMk4AYmyVhMy6CAnMOYJVQJeGx3dJTcrSJVUamey/BJSkM0UM6GFqklw4R5Q60vbOAh3273nfclnVhcuFuc2DuBjUvlpzBFqS7kKHN2t0gntMNG3bnnap6Zfkar+0u3A00v363JTvdYSzyU/9WzACsU+z+JVeBGVRU4bYVfBJkow5bzF9erLyvppa6tsC7MAHW3XU0tNchiA+Qj/PKwBHH7Ci/S/bvP5eGwWRK6bSeV5LYi3YeQWOBDyeZc1JwtPjCWCn5Oq3FBW0Lvj8w91AFXPRY/T/iOHslSMFj/R4CtTHHIUZTiUBo6MhbrXsp68v1NOEazwFu22NlgjRuiHofEFN3T1DowYQlB+wQ9CKDhoxHHdcIoxPx1A99SBHe6hLfkVj4+SeFlwlseAbe9BRcGdBNLR26hR70srFERtHSzi701cQDGXuft2o3DOLrfOJR3t3O76tyZwipYe9JB8u71DiAPbqi3f87SU43b0lPZYX0BbrsfGm+O/ii81tGPyjtOvqewhO+RRIe1EUtsVDPqJrCpJKE9NFtD3ytcBRi88u+WTnllir8mhXo9HOMe942qslYyfECfWzFHgt0TXbPVj5vp5R3JBSh7967B4TI/xHCHVi2z7d8MRgG1Y57qzwgdRvI2Jmw550C/LnadbLiVx0YajPf+rQG4b6VpC1X7eVS/ZqTlspebmLRfTMKqE+4CyhkoiKl8xUSOj7K+SsbP6n6sbwJk49/UEYxBlwM7qthE/YbdGA0d9OHL9OCxtinJ7wtCpAZ4KMCwJ4c5zFPhSvpk/FW39iK/RDkO4tuBbc+ImVqmXejLK6SGJd/kcJ3DBMzePRLiH7TfrcDak6uMniyNGSva/OGgPdLxMnLLDW6tLsVZXyT9EBUruAfTk2V7lGS7skyv/BRbOOfxyVc7dyhugDXG9wzU+nH5D45WI+TsjimRIEGUHLxTmukeKqFBOol+Xh75km/TM32yZTlDYjoE8Ij0wzjpbiGP2ypKyD5Kv59UWcbw4XrCowAP+iImsFUGAEKZ765vAz9o5olOEGzdVwcIJEzCNwr3pzejls0CK/WI1GwRDkkFnUwJEM34Q7+kXll07RBloEOFfhmljrK3h7fIx2+FI6pFt7yE50Tt0E6E9CWCLAqKzeb/tXT5uF9OtB3mEdornufdSz+iuQUDrOVsz+eRFJEgE7bUDJGc/gVKcgsn2MFh88G9FmlTyC+YYBfjN3CToeLrA3bBfUnHYJ2YK6i+3lDkI3l+3BouvzlFMu3Uly7P+eBn5EB3z2bFW5H6MiGqWkcvB5nNHcI8MGsrqg95zrwGey5oq3or5Mmu4d+JHAlIHdE/ZKn6R8bPPFag/Z6hG86Be4IWzTLb2A1PFU8W+y6AetyrlxjKQJPK8WuiYkzvEXAeoDD9PJVKZrnzAv0m9tzALt0nlCy3F6U0orkDT+4RRWnsbMmxze7oRGYTOsk2ZaCsY30tWKHwC/ByjrGt7uqlTCvxyiN5Mo6/jwfX/gI5uRtj73mfuZV1ks0nxEf26eeqjq4xPnFncJlJs2T1g2RM3HeT7dcwanXcLfF37CjaSK8nKgUU+2qvuJA7zZm6YGXO971hpQfgXzFAK3ZJL3vDr3s76N6inh+gM7K6+2HLv/kuDXIVFbI4finN7q587GU/iXySwcpwYqpjt0pCqDLgMZE78aJAom9I81rx8e85kRHC/mcSpGxjK/tbRNGzk5OxlWfPc/Nt6hlCDBVuAid6vbcI9CkIBU+rjG7+JtZiP8kHMFTKDbzOznLMXxGu5TVpzrcu+lSBbPzuyIcayaLOLBx9Z7pexRRkHvYAcfnOwh3iEOaSnUxPEkBTvO0QY+xrIw3/k1W72rt/OecJV07U1tXKGPI+qUdjquMRTGHUzupcS2dKPCCxjIoA9hPllFG2t0ZcYAYY/U9KA+rR6oPVlEyZYPXMTanBxdo7bP1/dvzDldqGdtqPMUfnZXlECPtGy6lLE0O1jkCFQcevQPoK5mjhFa/IcvEbvRgTlQuZd5BvJ1AgQv3QY3N1sJX63PDnoK2/w+tccnt2mQmSIrfXk3PUPaInwPt/WbYSv4L+lnx26hriGp8C16oY+sbnWGY/v8H941Rg9S58kXzAFmEQQzBNaRBqRp+UIwxlIxOTwjDzjx6PPiTdUsFqXO+V6uTvKk5Aem2Fi0ggzyWEWpoiN0cr4XDCdV3BukJMHm1ovo4z48jb7Nv1S3azWrJsDUF4mdLBXQUYINVXF0uA5dSiFTaSVZE0xpVNoxzFl6fe4IFzORY5LZcgSfioxiRapIqCB8dG2qSdgcxvTdRFSnVOXlpHa9ksHJu81JylPFCSmDQjrJvoZkZ+EO6D1gWtPvvjn5ShvMLU64gPflyUAuiybSJy31Wp33OOMpkSo6rRb6ixXQJvq6uak8vBwW1QLnuMth0qIA0EjP9lFV53v/IkKUdNORqKbi7sYHwrwYMmb93ltQ7Bdc6NCo0bxclHsQzKpEOeBUJe/ENP0E+KmjEK1+iSkd0MDIPtkS/rdsZHB/5x+iwNVQcXjsB+ZAbG8YF/MV6Y0RHCXS67JfAqSJ7QFHV1ld01J6qJtDaYGx6rYnVtMwGr1vcuBhCTRkfar5/LoV3b8A+t5WzEeVcZTaq6ffYn+LFrSM2+Sb572Dx/+9gYITabGw1+81nf+1iD7O9zKj8h9urKOZckUGzk+J1e7JTdWzS7XUzGkVODb+FPf/PIUkWepIHsdpyxRp453duqUCc+SlYdMKka2mHOQ093mB2RPmiCYvBrpNcIYojFXKQRRTkKLNmKGk4D/3boH4dx5Dsj53kgL8ZUDejdhwk0Vk5x4rWNlNnjjoxS73LS9/t+/P2jyJLrmUlBgdSaBGqUOYbH5tl8njs5ekyhIBxKDmOcmclZbi4a82ExDAUKaZWrd1LO2At+TwJL+0SyaR4o3Q8GzLLbX59xuF/Jh1E70ZWXAjE263LYMqPcM9pJEEj8tfgZjcUx/9lR4z9934cT/z6WQ0UoZXVfecSKQRHszqKSkDpac/kQEueETyAlLZEc25EDSGmyN6ulhiTOmqp1sbOQCa6HWQpbe54mqxmgKB6CyVthtDPCNG/awPqhimDvx6abmoz+M5+/64g52qiQula27JYRhtYFhH9To16xhPfIdOwdOuCvR+nxWa/KA/HCdRwbgArsyKbYBgGS3wUkBlfjr2C/bZ2ln0qY4i5yDjLcybYYpftCKICjlFF+XPs6tjFmtVqns7YRRofF5F/b6ObQqPaDxmD4IpaJpk7kuy2mvn0lgTtf3fXoDwiWjHHngXmm6aHKaYaN+ZQx6o5kvSTm+DCTI0kCIh4WrNAzDVIFLBUeY17/QBKuzyulpq+gfwCFX2VhwZ+j02McjNTnHyoya4rm4Ull/QYjBnyR6ge/kZNsHYJ5HnsRE8pMecv4e6RvftKbahcgpYlvhWMtvU2eF64l9AfKNOJKNQicsoQeu8n0KH9IIzLamVxcXGx5UqyP30+uGEGm6I5EGO3RfL+geeF2gxthjRk50yf8xhhLxx6wcwvCj8PgLyoGOGjTNU/wQuUGDHqOJVgqFxauiQL+26+7bnGXieyPiaSNBengEQGwdyY4hKtfqF6+O4wkOW8jUP5R2uBsEmPlM7HxbFdkpbJqrdOQhmX3+ZmSEhLePtWT6Bq4c6NslJy1t6ckFgcMs9Z00gtZS/mt1T6j+oMTQqeEtq8606Npcc/EleEaqoc2LISwCJKGr54q6qWs2UvI7UQJz6QVrJfEHAr6hN+CuSf18sohsv3MR28TKatUKbIx27RcCBk3iokLI+c/qGUTPDR8Dlpzl9Yj0fgNvH8l+2uqGL35X+rHL9JyEbZUbL+ZFVvbxKBtcCHWSzvPAdubF+O1Yb4/1PNR5ta0pctKH3itR60ofxm2IJr2UIMonmPWjIOA7piUZMNim9wQKxXDkzUuCgPrBHLPm82UsGs3nHd54SSAjdWjGzbpD/kG2cL1SXBHqbEyfNkdjcD48/5LZjwMmi7mLu2/gw/cYnE2n0MDaG+ekj/Mtbc9dLITh5Z/JBU9iL9dNCfN7lOa7gSxbbLIcO9Algb/QeX+uX7JaSdjwGz5CXUyhRKA3outzWHtOgsA7SpIO5cac3TEMe9wa/xpmURAC8KBcs1d2BsYAe3/04gIethREagvIbpvmzXhhvn7W+80b9AT/JgC2xjbTB4KLSVBhY1xJr0IIKOjkREoJvXReGik3ND5XyJmVkrKVmCWJQijLhUTZZzVmxiM53s3jHiyWQ+9+zVOMJtDWkQ5RVHv/3kO/Wdadi+ONuX6dUo/JgkuD2ibPqpCbPI/Y2mvN7k7mCV1V/4y5v7WvJ8YNj9QatsR+ij/b4FJJwLAD/xQiS5W/zqFR7iDaClm+NKvDmnjYkwHl9EkNjw7ylYoOSdGCZO3R9NbcxGKK8ozIokV7fwD90hDtLI+7ji2RE8iH4IFYnc+greE/FgzRwGlxOgasGb5PAYs83V/riEim89TyG3FcwO8kQ7GQ961juWzMzpnPr35IGcGDUcBtatPmvl6o8/cFIfH3IDlPeKKbk/6P8XrVWk/NebLn+8Zf13A1HjjVH1QOR42okbI0kGJpDgz9KorRfBIIz6kqCow5E4ZkvXmLg7pl/5OC6R34Nqga4P/olRBYCmEHChA2A8bWvkB/0rLgfPGLgej0XZLYDgXBF1lYZtJZEVGsMQUBqy+scI/Z3zfjc8ky9gzV9j5jQc0/QMInydhn1iUQXMUmiPT5k/1p3S6lVFaQx+LzoWMOHvniMiKepmPjDQQYcQM/CBTc6HhkcXBPTzXTpO+s5TpRiveYB1UKwzO26XUBKu1WrVDr2jhBYJtpSBnnDb9IVxEUEiyYlI465K8ENokwsgZhofWp27p0l+Bjr3e1DG55e6a9jVExVJ0r0ApgTWUG7iDDsXwS4xZwk1iNYtuf9F7PkYUYV10HwXzi+3x+1mQJWIKQ8lOZyuSPHg4AnAoKEdQkSeuYJ/laU6GcS4UecQzLpJmNeefc0K+CXtuTNwMzMMnaJLHZ03WoPEz469E+QwTMg2jNvWCrDyUjiQrlvONhU/sEPV7ZYdPrtTxREgYP1c1TGPrQ5zeqy2YgbqRYX7CEoVPnX/dP3Oh2Jh/iKelG75zlbK2Uj+bdlnMUjNdI8BF2Cx5M9IcXiWTpL3VQykXrTYknSb3yWknI4l8lwS7nn4Ig74wANk0t4ODmHv3n6K1Am/n9qL6cucX6PTWMB2RFGA5w78wQ+ktye9tC10cIMfQLKwBO+P7uCaPP8B6KELM/d3fx28x6Ihs5TXprh/6iGeSHIweNPAmTk/Em2xuSlMSHuny8/qZHQPvJ9xJ8kMFpyHBgctBS8bjxeXq80U2h7Oxy3VPM65v7HIxigFpv9UrpnuVdQM2szlDTiQbFvGZj6cjxc/U44TSC9ekf2eJoSnNUCt+ltNxJb9rcSy/+Kjgkyg5/ial4sLESrw297/Jk4hZWaIg7piw0ITEeXD9Xh81+aT+tcdnvIXXWilz6BQtRJ3/kHATe9rdx6hFzA7umrXKx6ILaflMFZrc2yqEC6QAlZYZl/8+ShPGAmJ9cvE1LHmuNEdcgz5xmtd6thlnwifep4QqxfO1JzJvYOh1VGfUm6p5y3QQw7B77eHGzO9CiACXfw5oujy//BH3OCDlg3YJ2Wp/QDcCDIujb7vEadifOTOYls0F5d/4F+o6nytC7dXMXD8R3Qo7mr0F/tuTLVjVyPwAenhHbnoNondQXW94hoxJuUzypHYjzhvgJjeE14vABOgLZEUJxKZtZmw5EZE7bXNcuNxE9dnKSSExDqtpNUVudWfUZZ6z9SiC4sSc/GECR9/P80tM0tPXz1ugeIqsd096twW/3ieZTtyGheGj+q+CgHdrZYbNztCBBwL70mvCtdRM6DVYls/qcsOooXbJLFsQrU3mKO+YcQgaz1zlCWTCJ2ge+VokavywcJpesE7Nl0FFU8VXxPLaUFeUdbJfA7+5VbugnF+WTaUmv7FMaUJfMxfsZrqRZu02XC20CGlxmy+ozjR4RN3RSecPu6Jdcyb71bpe2rscEOoPc9RNlwU1a8L4OLdd47+cTts7S4oyCh3fLPpphMqX+sY/f59MgcHZ22xod4WtO7vOnSGOFCJveObVvRTc4nh37YIKSt6nw1m9iAegFkV7C39UEAdUJhL7IHIQktd8aBSYGGPLwBUra95Fy4048YK+RahecKv5PL7jtyhMvER/uGU1bWAb+1B709EOJ/ZDnVQXkh6bj9k//xnHnugJ3BkFU1vKwGZnS5TAhLS+ur91XPqqglee9YHVkpIrCVof0lK85AURowlgLVu0Bg5DovDGj6obrprml5o+ck5Yc0MK5Tb49Us27lpnCY5XkQFCzR2GZNOBX4HSnvfuChhYipq7PSVZ9l9qb5dm6J45lqo8iFAJLbJ/VfZJhibGgTfxfqLSTEz0gT+lzdrKDNomXHGn/bnmoEwuheZG+HHjUZyhOjM027FcRx+eU9sCIhuZUkMDmT4j0cyMq+VGoW03JpnlukG8KNtXX0Ch6p1lbAIJmASxweZpYtQ0+Ab71bbGiEo3TaUG+Ndx5bI0esBse6J7StrLTO0hny2ZCuttoQplTIqIrBfF9VC1v8loYV8ttbxT+2HHTNmBm9kWepV1vHo3jYWv53hMGw8loC6LDH+vds/Om/rqB3Dygqlnyxx6tyXm/sQ3wZBD2W97NZP3JyPLSY+NRr3cOw1MZK5CK/TlVr9uO1L9QgFkex75vIUa5Rlgkm/4u75DSA4yVMWIl6XRxB2y3oQw9Mq8xWZkZPlFyrG6ZPFflbvnpvhjv9AJj/gYN5uA2zKqS9/iJpeYuhpyyVzif36yLlcjU25jcjy4P99ucL8EGNQz+zsyaK0Qeq7Ftrxn/V6XbRyzgEyqK560/tziKNLdNCoAdvgggkygPrUN1wB5tOu7MtfNvt6mkYAUts6/L9JX53q+gzS1tA8xAPxQbH6YlStgUCVvvh7ti5KhhYxNlZsfU8/G+3NeSP3iF9zLTGiMpvjUFCM91VzhCEpg0m6hj8U0O3TaN4YSzy+tyMXRMsNxUTpxBq6ZDeCEvNAAKi8BVTej1qmdyVRuPgvnSSaqGn9Pl+R3U6Vj0+ASBrq34RuWZvnoeJlAxpDThIoYylvb8LtdUXIazL5iCUByC5+IGTUVFfICVSdvc4LT8+diDhd4ThFyOQgZYMCnM32xKbSEnR4H2wngUOcPMbqIGFZzcra/8Xv/NeGFlDQ+pjOOmsGgM+77d0lQwBguEFpxFP2Oooo+oSmZmnCtzmL9p5Oo46QSrZ66/KRvVOk8IY6HcwtstRWqafyXHJYf9QWYLTqWMNXPVLknS/8YIEBtmODdScF0eGrr5IR3PWfPjx+Ik9t6scybqaEfRaiL9101HxDCOJJlBZ4tviAvVNAzMuaKjWJlznnh6bu2f1yh8YQsrlw4O7WUW7rcY6I7efHMg1NU+ANRn/am9zrJHcBQgM5KeH0PeJq7AsjGP09Ah67jpD7niMEb/9JEnNLO1VACJqjBoCMjk2tqH8uFYOdku4DSuH+ouALb9smJMzXJUkKYIJlQyyV4oBK6+pxg5xAQEljy4e3ebn4XvkgFytug2zCZ+2QroXEptUIEYZ0S2D7xty5qy4puzkGy0HPo/S/KrgkaGUYBAL1y4mCsXEuAts2mbtMU+R842kJ+l1nVyjR6umzrRahQrdm1U0rgOXjqhbwHCtWuLC1OkjklRZGnGo0v9kkN/Z2SHW9TV/TN0XAyZrMAz40QL3PBGbtC4o/4oQinEc2Y2gbksY3rTJ+Q5F30NlIDYX7hxQy1IiagPS3gCH9S9YzqoTNT6qzU4R+SmWUjFQqFopgmSM5ztySd4/FLzgGo69Z1xgc26UQlBWEDyQ59upN2yzHJFmrQcOscNJacyvuVWfXE+ujPZKzpiMnoRyvwBONnriUDX+QcBlxFcJem82NG8gknJmFK5XP0k7wjy8tiFm9k6yHwyVek5JClfNidbd3iLmvwKjf9+mw1Z1XmipgffQOOXzRak7xkg32rIYvXvf5Mrz0fYYXjvftrJjQ1N08lBWploIPTip4owY+KN+LJKiZkT4W+b6inLdo07sVNcidoc//OPyJEhNJyhiINs5p8bDLb3OekJcQMoPo32FCmsLRVOvqCED3vHh9jbf5+EwPBF/bmOwEILMceskhE2CMJygGUiu/zuKLw8nZ9bcpxeNEbEH7DVCLLpEdwuhB2KSttfareX2i2fa8w3146dGddc66+Iii636Pum3WUfdFb7mg+F9IkNl7VQ7puv/CmrARbD4pFYNtgFbbaLaXDiV7GibccaMHrYgFHDKDb8yUl/yoCY7zAUUfQ1PL1S7zjR58zGIV6GtTQwJCQ+PPoQbkuda/HFxivua5VWF/rTt1Kt8vo+rKaFrWGuRuuVTaSPZ3zZjM9g9swpwod5FdTXJPuZ1cJvK7jsDwh3Wd/pAMCDLHlUWLTtIPvuLadpnhZP2k1jeTxQmEEy2g0ZDwteii8kAkJywN38WopXox9jpI3atVMKxR7Pcoxi1KZB3KlyB7xNBrnK4DWha4p0slaPl34WJquRuFor8rI+UZFphTbPrSyNPRjKT54OBNLGeV3lWa36pFk0g1W461ybb4zbqyQ2MT6Eagd/aWS0DDcGahOcg2vkaIdX/I9zXCAK4NdAvkM4u7PIKUjCadHikdchhqJZfEOfFAfqn/cXb5Sg3O0uBg7zRYjuZ+bNSYwjlJDF6QcNb0phBX4PirialRTWkwDiQd2BqlE0Ht5q+TOJGueHu2Advsgruazoa2sLvXP5pfr1ZiFOvPtGzCT9HEPj9ljWL/9npUhbwytMkljLMuVDN37UcdCgXtqrTcGboJ84WnUXceohrPADTFsPbHhMOh3v8b4eaACYdgY69XYVG8/EYx46F88NQVFzy09jEZ/E+wPWJYEz5Pl1YZIs3kpWxIuGXTR7mv/IS7bJXp/GOqyko9aHbV8xM7yNJ89/tvV3XSCgaO22Cya96tjyB7RYXPrzO1YqcJI4s4S6rcSKEPyQaTR/6BsAsCW0h1BmaKTj9lUvWOCo9nvRaN59Q7xszQMSQPpL7CFJ3IoaimdRmObRHDX52mBY+EFekCaSP4XBCcjAXL0G5xRbzIJzr0unOcO+3qkXEYtKFKtN9MUKSkuLB9uBPDct1XEIkY3eadp1nrAIJWVOwaI8T6BV33vk6Y7dJan9oNd0bNx0Z/KPZm2M7O4dMiYjWgpIC4QQdKaWeBOvaZi8TVTivGzQKLXGUAsYVQiXhLF0pXyuVCJUK6QLWEmsBGb9voudFmYI5xZfQ2ObBiwvKMs1kMCc6gYfxmmRXvTxuuASC0z8mA7i8IfT9cRjlT9MhPJ14pVYSoG85Cguca8GdVORRWU6N7nyembTzpBV7QmjvPMxrmvItUhPAnzrUtCE7bCEmKfiwMGiXCVxTj3sPlBG464HYIdJxCTdwAtlXpC9+UrN4y3V0jmElUY0CEE7wHQSq+z1tjXEP0Hk+NPsknJgymWOzGarLNf4RdBLnKTLXoxmEHSrnny7RWWb5GS6xj1LFD58nivAu6SKuzMZa6MW3JyenoM0DqWgrsKAfu8WO7FiSTNmO7fab6+zvpG2T6KqVEu8xmWx18PiKv52g1vCj3KsDFfu5qqBIHXkFAbAQHLNz3BOrCMK+h8FJeJ8ihowORjsEcilUEoD5aAf1A8eWd1A62cIiM0c6u8XylsiCLPAEg8jkZAPu/RUqUmBxudptLZmC7ZyjESLhFOrFln9TqZxlRX9n2fWtQwwRXjX5Cg5z8GhQw/ewE+x/gOpWXpaFsQkWwlkz9buwJ3+8kD9h5YpbKGPq1ENoIc5Cbs9+nB2xIh0ttF7PWEGip7kAgZEr2HVL8lxbw6yScrYp+mPMmT9lQpp2+omdyiGeQq5scGBYOeykesgVOaJoF4sR9qwJVEG62pZ9PEWA1/sDMcoG4JTMeCCDi7ydw38v67DZNaWTv97jHfcYJ9u+RbRA9X+shMhRCm0Ij7+bmF//dw66ahqUTFSJ2pbRAt0MHV8WRWNipZbeNbEe7MFHeWjwGJQb6yk0PYr+suz/HeG/veZiVCEKTC8al/CjcTU1gxFDyhM2BUShFtbJ/Md/EWRxQjtJdIbvLQMbajmnnW1H0IB5ShgoghO20XWbI4tKrtgddFmphlGkFV57mD3nHAx4zPtKQ+M6DetngQZs3fOEKJqi7EFgKGeGH7jdcALBmOcQnZqIIqIz5LR/yYYKUmB0toWAFAoe2RwvX326/0t2c0feHMUkH+FGG435wLu+itU9Ea8FyvE1Gd/ZftXTTcEhzYQkhIVO22dt1nQM8kRKLKRRegm7Ck0rY2TsVQ6f+vLT39G9alL85EBJMe+Qqbf9qCwMkc4vHEbmi3krXPiaW734mPmIy0kcP0sma8BWjw3PIAndxOPVot/1FmbLePCt2mtriKwnaIWqn4ncfZ0Opf9twchPa+8CJuRHeBZ0kZo64N1qv4qgG3YvslLPn5NhL4VaEF2dduDM9YYUj40JdfWOcL4fjTvmcq60drmdm1SXr+6EaAXpe7HY8ra/Peb0+gscpaisJPobSrW8eZwwgAV/xjFwM+t5thrF6P71XROnSgxhZfksIWE71Yy+wDgTmFxbrHhAoMKERkFVINVN3Qt5x6CpqB31IQ6ynInAqpsc2ylmkPa5sdsuaUGgOxILSZesrdPlo0uyZw+Q8RGgRSVnPlTfwFhqYeFH+i/DU2zOdDrFzAw9AxF+E3co4qgyuv5WGvDT4IJ2I0A0Hm8kgOtsMcJ63Jr9Ji7+Rj6eJc75Jq2Q+ofmrkx6Xxy4j6b7uGPJPBGnvrNnMKJeKBsOD9kDC1la+CGBjKQAcvuzRd3sHiuF8vJim4dEsNktLfcJff1NFPo5bv3bBKx5OqfmHiV+Vv0Kejidamfg390l4tj1b/7SfEaU418933H/AZJK1pHsSrc0YQ6Optp5qwqHmA2eDAUkeq6KaHu1Rln+9X/udAKhtnfG76JzCQywrSDdev339J7SfyrFqjTt030A1RFmJMq7sgRiB3oeX0Wuq0z7D0TES9utZfoquxClz3oeXx0w1eWGIa2mbv1GQlnOb7lL2L/dQEtTkC9x8uUgkpm86zKejalT7LPF1P+HUEi3bNIhf7v1Cw7NwyI45FEGap0pMByX9Nti3l2mjZYIUpJ7F9LU8Ep4f1TAU5yWUCX2mq/kex7NWH3bXhqYEpwDCQL4Y0rQVIXi29MWFuPtjLmED4APyaq9YFDOBfS9pzbrPsbAdRNudF5Qw3cLfDb9vN33nnOmMiyOh00bxIlo+uOdoO4xJ+06XseXoyfaOc3V9EcaFsk5exbDoEmEInjOs8SlMoxNLHRdXHavyrTpHfKHiBiGsXhl77Hqd2qgjx/mqUg6s3zzYTrqICZm8XYp0RQMfbpVqmsoEQhAoq7vR+9s1dUIXrN+yL1vITaxhCemS5tDuGX4xEgk0Q+AQ0C5qnP7QxZ+95xszJscV+jlzUhx0QtlQnDZXi+RCE8O3NdSGq6hr6kq181x1hysO3LH6M6c0WsdpFInIEPA58vEAcTm5sFr+gMsNDNFfTxRW6v3OXSEy9D2gFiklqDYohhvFW5EGM/oV7lSNslliIB/px9kTTCakH7Gn76gFCeke1HSLK2v8NoCvbYM/xJg/4TYqdQm5VirQwzrDNCPLyipgyLVu21txMt4RvPS+3gUpyxjFAk0zDxqEI9CQMKG5+ergtSHkviYMrWxETv5xW+aHjrMyEUb6+a1wI5J5D86n/0UHvz0WZzwqoQwotQloE1vHfzvs0Y5uhnc60EdTc/+dGwLzpnj3IIgr7RRdwoiUaK1h6qlrLzUkP62jnzb/RuNCXPeEYxEgahZDFNHp6hBGIb/KBrrMAkIE/KyA3/AU9jwm18OxweydcngQER5sydyHJQki4gC6+m1UybBP4xFjyrzo3WdnrLGDVAoeqjlUTJm9PRTcaM4G0CbvSrGuytJd1V/EhQD22i9yu0JBw9KbIqBkIdXeBPCAE90jNpVbI3VwWt9rBJ4nXA9JOVZkOqAnwCjSaHTOZERGmq4VtNAs6IwEsXCpD+MGcGBNl7TCqITRoYM60/3QTHfGFHTugPCawuVdo/NwVnad9qdr7he61VEa2d/1+lIMifgvfCbKBbVUAwXr3yh2ARi3OAMk9MwnGCkzERm6DTGytV26d/JD1xOVlhj4QlWnuZCD+C36GE7XOFSAQij4vAGe1feYLcQAI/ZQsj5iquUctArv3X3jQkb0TXw+xjvVsuARucqZShI83Sh077Dt3hjDrE+/eu3DrWGzl8NP9+ttld93mu8qrYp24Tr9d4cgeg+pcBW/A/dXXZDSlCWkfemg3eY/lxDYivOcLxcnXLDy6+DpQspdQhRkZW46nAPg6hGnAPJ3W3BJnPZaQldwr2/PZuM9sl3oavsrHVQKsamujVftjt3dGsTDCZT/g7tDwNySzAO0yHVsADMSnS+0wQxNkmObLKXlNnPn5140zmYaiu8+XBwOlfX+L8g0ZZlgtzCmWf4asuuKEiS3N4ypXkxFGuNDeHLTKbelN6OvhRt15tbE8WH3uD3KAJI4XaImB8dY09r+/1688e1RRQASaaYGyLF5Rq62HusvXUVHS6kMXIPj4+qcMIEBAOFFv42fUT/HF3dKUbGYwbgMqXEBA/yC8kMcFoihAcjMhoTIcgXzacb3FgJgOlxnbqw6KSbumkWFyifSRRJyEl4/dKwqfD9CybSUM+Vn49fO0Ph4ae0JzqvGQmeMXMUyb78dnncbqKV3/Ej45QBiq5BEOSzFkcYFylh2gBRu9V1nTqOaJ7m1w3yzrFTFj7L+d8AaU9eDFwxdrHNKm1pSWcbG3pILJBaqyeMoxqcfas/tPAN5CeDVva5ZHmy/rpAF2wMRmqWgBOwZOfRcN5NQs+m5Dq76sjmHgly4oR68fok9FiIJ2GpAmWyCvm+nR1Ai7zs1ciooAyalE0zuQZjnbMHVmFoZOxuwmGF2qWC0+l0BoAQj4hKMEW5+VHfphxf2DYP094bJqlCIG7GmINu0utkHvNQfkRGCjkAOX5VFWt/nuHWF6TbZbEGw2+o9zm0g5yaTpTqDcpoaVq4yCIkhP59/iU4HmxTnraXxIKHbgMCUkXF3FWVyW8SDo2VfKPjv/mFgxcS030h9ZIlzddGGhLxJkaQmFoU4P0rL4b57OYHrEbNuh8a9QrJDVMPPxDCXzAAjIJwdTfgblos9UYrK+e/VcnogNy7wki2jFicoBYUq1hIp89+9YOfPBIkA8eTzSmQjUCDfKxrkWnP73KJobd1pc4+OJYzXsMiHOh9KjdpreEGdUnI5H4wGuClFSDfJt3jsSHIPAU1uM3uc2A1oXSBWuvfwIzFI/fxYhxvczA8FTC+MeFetUwk9dG1ELC0FJb7em3W9o4guzFi+YH8p64WEFkax/xrwMhy22zbH+M3hC2zVDN1OJI/lhxWNj1uKSOgFdeqatHelhPH9cQAWbOQyHywnyQ+LSOYJ9gyy8wO98Sgovla19VxRHyiAHbsRyRMWtb76KHo5UO38wZm7Uukhwkxf9RdujHPpNnBML+qRNz/pdWbdujh4IDqpZWfP76fEzRie4K8mAWyoTl+dMXxjsPPG+gMK2u1Yn7/p0Qa1OctMPIYWUreWimyVd7ZV0bsZMXDw5xzKJncwpOmPNKj5eR5n/Gvoc1VWfXsxkmzCt8STWaWVSV0Jq7PAfjKEg/V6kWoBk8/T2m3Vd+cLvMTCKhLSB80Q/w8ivtsc47s+pOmXaIOkeMmn7+bR3m3n/ta1dE266dIGCcRRrcXOHlHAmzuBRx3oIH2LPj4ac20jfC75BzkFCgMpCR2f2lZ6idIbWLt7Mm+eZ90IvDwiEdh1nT5CQqv0OV/H1lWjOCcTOE+YAq8sdM76jggh/8Akl/zpDN5SrJOlfRlx6GjTB6X4UWkmX6TYxUKN1UgYul+PMYVf02aDSnhMCMxFO+YkiiuEUpIhQPNOTu73lB2HtmiHfgVLBaWRHeImOrH44kUUdu0Jc9EYP0ARgsJJ9ukJLzb4ebmTD9A+u45uV8GWKuGzEVvR4bM28q+p72b2PUOYHsuLiBe62vzYg01Gt1Uj+8z1krCyt38Mh5vr7iqQ2WiFGr6UcAvnNUFbjM2m9+62DXjGz1cJF1k2LoFvisxArDA/kypRexRSLB4TxuWS9LfxIVaW4ckdsItR3w8ZJVzjdxUWguBL6lv4bjaeY0T50cZnK8s/LlW3d4TbX3dG5KtKRFcu3fWP7TbACH2RArk69RbfGA+vOf8fVOHJdlqB6sVigYvYzPG8A5VbpoIgv5CEUFTQQ6Jg3169tD8t5nU42qNdgvDpWb2ItBndxQ1b5j21DE3eE0dLx0KqWmf0qdCa6ubwxEPsKJ7WOKHR0uI1yHSw38QQgUIzpzkZDyCNCDTB8ZCFyfp4IY23olO8t7ghExFaWJtdB0X99ALPfmoJJygXydWxfCdOW3oM/adZbk0wfPVZXZ6wdYCIeZ1TvcUOB9b1RiaSCQFzgdcngwno6nR4bFSlEVnmfC1bvm9rT8DH6Nd3NubXPB8081fdnm6Pi/kKjKdYq9851nzfA16Q6IctPrryyBJY8/AzMGqWQZ3ZXAt/NzAd5EsAxegEBzZeKRfNl362hD1qpbFznt0boJRrAiOyPxGzNA3pWBgg+C1pgbhXoSHZHHqCiQUdoKsvcs5pMLaFN4+4DTGJmMoD2wfuB/WTKm9MG6N572pvzoHuQxZMpc2261N9qUcywkQPKkpFS6REO+VUBhlfI/NN53+F/vvrv2fo/l3dUqIjgUOzPzpC2ijCZicv0tFYTblxs0Nuie2YPT7A36OjpUex2EgKCzNJpH0Py2tIZ7tFUj53s0BE9sj3+dO/0yhLSo8geEzW/KGmGdBLoDH+wAdnHlu1wmqcD/ISqfafJ/FwtQqVOaJDS3NLPKrl/KUZOsqYtWVfAeJTJwv/x++cYEodJlJXxv/G+PpnppSTMPdU2GQa9nZHrPX2207kMJtD3ZhmKnGwypq0Y7oiNAw/mEeTlpYTjCA7Ns/mHPWSju4PTQe+VuPE5WsIh6XgexvWJ7MgRLB10bsa3ZYXVfFgJgg4WbP6yFIGxlKX2RBMGOR99xD3bkgcSFKG8Ey1O+5xpeavP3rzPpUdsVh07HWv1u5BL6qPczdbWkwOFZppS4262r+G5fPBh5PjfSDHqyIKOASsf0D/2sMQSraaVlx3Um18yEz1+W3opxgdE1pBNS8cEN/j7+VfPAQ0pHTDP51KWrgBVYGSebhbnqYQIpOgcDf0OkPd7QuHHTmM83ffUVZ7vn9tG76Aa/YZfAdU7r5HGfuYNrh03t9nN2K7BAgVQiLe3qUrdNDFVdD1WCLpKQEa+lGH3C1EgalHDGtu8p77N92QmE4z4MPbdg4UeHJWpKr7gGuBuxtxK0mNcmrtKhOzLYPwrD/CL6De3UC4lhep2sMVVMHKqDKG9nSjWt/s9dB97FuJYUpzLEvFAwDeDmBIFm8X7rKtd7IZ+WaAptn1QoMXZhtNBs3HsRzZu/iDj1Tow3FJ5TpcicA3mad49RFZqe+36pJr942J/CkicqK1UysOXgJvTudvdadjC6jtzU9vkpPOa4scrkoYgPVG1RE6UjW2CH8TYdr8YRZC9t/MPKE4FdFJ0w8cjVIqGFpgjmUDDB1QKU/wNcCldGCNZV7AXyfI5yZJgdygjj48bFGAZTR65RkYJ3BW7YDdmXSqr4rESQNeEtX5CX9Iz7zl9WAZS80YwL/QO70F3mH98DOrejVkZxpr32QVoG5kVvT94FFO2aQfmuQANeugpMAqmTCvHAiSe2E24/7A6pKbkSHtN6rb9JWUxjMZOlrFtaMeU3e5Nno1P11VwVHAIjsu+lq9nYm7NVCCOPHtPdlKrWTzd2FhUWi0exeFNuLAS+ukZjpNqPbQqYOVo70f8/3to7PvY3PXxzeaWuW75OR5g2eQ3L51N+NmH+wG3Th8SDu+AkXr61FjQQ0nFL8T8QbYBcxcJwGLxS2QY6+tGkaEwUAm3TldbTx78g/G8rlbrDhtgLEuOvqRTqCb/jopBbO3n5FC6EyDhGC9wpzED97xJ4g7QhJIBy64AJojBya2+zqrpeVMXGqSGW04o+qs4FMYHG1zHDbHe6tNQDduUMquTynqmCDBysjipIM/7PSWb1LAJsEU5Jv9hP52gnzmI7EXkSm3c4JvL7quxn/U/Xat9W9HXRRUmDgsfOYBFnMct1mL6hFsXWsewY34qtWyVkgiwq0pgtD2BU7DUhJZj2aoykSreiYkT93f/jsbTSup16H4N8K7V96/E6iyzJCvPFrAM6XGrpcI4ZfIv8AnJeG85rGxfpOpU3Sy5Dsf7hqkcPAdOisu+p9c3AXBwqONUh5gYWInymvQEd/Zb7VQBF24WqtI56yqvKQs9uOanPMZVhkR48DQH9a4fcflWrSipflVcaQ5zfLOWFIb1TZ7HdY86q9VMfJWPEemBGD8KOvo4wfszAWFjW5VhPn2q/W3geuRdfb6J0eRrkrfSU7vdp3CEe+qlRe4O3JjPRXEhjPiUf7/HbKUvoJN2CMLyowLX4SNBi2gmo/cgpoVmnp4Ui2z5p/Ffj9IflNyrkUnWgOjgy1nBtGYGqaQoGfnIX7D5qZnXb4nWiYABDWn0oAO7sFaBEBSC8Y/ugMPFcE8qdCf7tu3tw8wVdfjFk5j9DNDZRxUnYsCiah5S35gEPNLdMgl4A56FFyhO/rqlqdMdIAtjL7rZRNNDaZ9QKlIAwQ23oVP/LDubmnvae9F096m70A1LUmIDmSyErQWt/WhcoLuVvUBUjKRQ4EqXg0DviE6dCmb84omIbtVwg6wXubf+lGrjXj/D/kJYCHDlAxJCs3btmVHc6H0wRFLuGgMMRqf5qHNaoOqzFhoqFu/PHwQBE/fZFnQeQ/Eh3gX21LNP32v8p1UGuG2aHEQMA101BaXx6H0LAqB+Td3npvkmeDRo1COGPpN7HEa0I04veJZSPdggE3ODaPTyrXDXruNMb61Ei5xdTuy+qhSXaOdtVxME9zatUZCuA1x4lEF0QsydiAsiWOhscKJRDlP0+g/Tn07xn5Bug0ljqwe+BI3QB1jwkGORihKVuBXaV3DidotaGY6/WjxCuOsgEBARbdAdsis5Yv1ytOcq335spQcHB+RDZ1xLX50gzdEMkDaQvGs5YniMy7EZ/dWlKpeGYMUo1BVKwQUCCJDSP01hopncKVxTRT62iAKpZhi5UlKa6e84p0pp5V0s8Wlleuhev9a00PL3MXeYB7wxKGXG9WdNUAtO21YGh80RmHIZqytArseD8PliGZhXJK972aVTIeC/owMeCS0TuIvfFhaftgw3IX0/b89tY21QtCzENydl+DgeZsfrBztojAqrJ8/be5i2UDKpVdduTMqUrnPZ1dtRkO3vIIpO+yQYvFwOYBnwJZe9cRa2OqoV8WkTpPj/ptrm75qOOJYVECFTb+g+06pts7GggT0s2ufX+s8+eEecgE7aG7vtmLEDpMvjh6Vt9agOKDKP4mLAb8pMyQAdYOMBm95cm4SHkhVbTcc3maGnD/D+1FXchuYwst3uSC+O/EW3Vo4fR2LfkhIlcGUGOpxbHfnJy7DCq0+U1akRjEwOB81lSakxnVnjMg7Mtyz1/0h3B1BhIQmgqSv0BVp6yjgUfHR+MFssx+DXlRMy9EbKADNswnSHvJCSDcU2CzpfoXxETYiAwcwxw789bku3CI9Od3LZRx1pK8XsGnjzhZoe04jCeeOqmoUOPgGXEVKwdzmi6vJX7HBPYYTk/BulpKWUaU8ODiKlwTBz9K5iplPn2erIspIFWjLl39P93/zeFIG+E6pGMFDAV3U5YzgncjUoW9vUm31GcK4Px6nXeTyN+MtCVB2CuLVXyKeQ6ws6XEroar7ky30I8tNKJps9wvUoR5LUAvbtevGTv5SP3N4tDUR08hVDaUJqDRrRgVfJ8gtVecuXdR47FcOVC0kS4uA3DXe3ogF0qWgZ/fIUmzTVtC4oVi6DNdCb+H8rlcg/7fATDhjbZ3ip8aX5l5uSYxk7pm+2Mh6t179miTaEIrN4vOUeUdCpTsW7YC7IMwqZBr+l6/XnWqDOLIqPtx+YqCe30RhBL5Hx8PrCNqlrtW9/YDXRr4RE23CEPLv7mKbMds4WD4J8E4sk+4d/iX23fXk26GJeal4FoYw7rCvoiWN+Ue9iFAUfTypNKgsgpMPwJq1jUMfhIe9Ywa7WRLMwdSSU+9eX03KcTOKXR0nMP/LMzveu0mEoFt41mYuX9hnw9jGT54koHQOYTVHvRiE+cmkGgt8Hr+WZcc+tmjrhRBeaJGHMx+R2PLgbHUooB3urGQCtQT4n06fNeOWF/xu1kxZixNa7opQPKOvZOhC0AWlHVSBd4v7GxRNHQgVJhmsbsLhHNE9DsX8chRnFlUEc2tNFu4SX2UMhjIvpA9EgwZt2t30bl7RH8JIosG90vQIA1txzpqoRf0gKzFsC4PHQlnKRvoHxFNFk9pYCE1RoHTG5KE39joXeDKTQk4ggKaxehThCw7rWYmzrlW7u5pM+YaD0mmyX2lhLZx6I8Y10CwwqQOA0819+IyUjf26Vq+kqKJTXO6UaeqsxjN742cKqUghH02yT8MSe16AP/NXDXRJJF/LpJe4MS7qbAjYC/Ivd20a+BNBDLHSHtmSiLB1zQvCATuXiRJg5QBa8Whbc+2CQxlHKuXDIFzbnJ3KeBJXTlZZ0OhNc6zlIGs7DxvWnpCHCowgN9CtnQBAFi0p5/1TerS7wK9Kceh5FvjLihkMy9VqDoU2GbwKTwb6RNTsQnRBpBerKxD92iB4EtCDZENdHaDi9U8KgTdJhqyaOLogy1KXwJZTc8XfTuNQ8b213sTMvG2gPZHiEe+MyBZ7oVTdNHm+1pYvvT2IVcSeZONMwML7j0nI9n+cXfOhFTUG4zAt7kf6grjcTC1aRA1ZA9qHaHbgZrd+ho0peX2GjPqRsGdwDpcluGuK8WDQWkcZo+nMCrORW6bm2Z5XH9qjASj5TLMOllIBdRzHaX+DXzhUGrkQpl18DxlTYjhoal9nuxDVF5nt6opCCTfOTSM3eYPLhU5cn1SaAFHOuzg995AWREp9FSVuUW/yuGPTm1prc0xTfGFFw7qcrcCJVtV/s/8SU7sWX28tlShYszoiU59wUd6TJpvlf/ytJVTzSVQKEXQlPqg1008x2cTSGrM6PXTpfHzbhMRgAA80nBLBNx70ZRHuFakIDsE96RIu3wjKyfVy+G3yb9KR4Zq1GvOQ6ElfrUNfpX31k5lgotqLASwKlkwYpl1ZPnTJ39RwaHSdxiWQQ8synS1ByrQXKDOCDdV1f6TTzP3Y9ETtbFZZC8Am1hiqLnl+WHYfZ43V4+Oj1zulNpiAwb9mB5fLnVlLyYqabnYHna2TbUaJniagemwZl2bzDIlBfVYFGapKLONh7O4Lf/oHlZB6Mv+pqYTlR/E75epvFGgdSdfEp/OZktD7vvL4uGveEJELChVVcw2B3NjSLKJVC00sLlDj4MHlffzqFTO1PpMFLtf2JOHRp3xanV34IiRlrza3fEzKk0URUulmizSL53SrQl8rU1WfgnvH9rRdMEx0REIIydrMR6s/GBtzZaao2msfd2XUKQNLsiX6bJ1MfbB+m/txFh1brFNzPnFuJ8DfhJX0812I7MLUlpXyExUhgInz9UB+RyZRdGcnYnwFuzJho0s+3AedbLvCnSh0Hg+IHjyvq17h48yM4x/wscbXQls5IFrS09Bo5Di1Tw8aXQPkrwfvI5pz4bP8+Ea4DugJ3rP8PbgDWpXfF8xwXYR/F3xsX0tp5ceIs9k56Qg1c4bT6iJXkS38L9gx+MZOmmn/4574l74MiVOTg5vAImOarDEWq9uD+aux4Fywx+rKpstB1JV+VYWfMe9w+VHSG9fNKq/HZ+yGgVRINt3qC3wcnjlypG9/RXux4cX7UXp+hELxULEHdLOINlDGJN0/q1UtX/lGFikGcBUknqKfOY/c5CnSj67PoFiEaddCmvio6tgDot1vy/lfzZ6YEgPvM0dp8fr6BfljsfOTSLcbGrfE9vZqPVo/hLrJ6BVsIOZ3/z9BNLI1IqlyJhLJrQCvxiyL/2zlihuJ0YJKXd2idFxi93yPTXj7x3+hQmmu1grEUdyY/GU4I/5m3y2e+vaV/qXGXbAodu5WU8Sqqunayhe2XTobE9+4k6LeoUtN6Jbs1za5WvnlL/Kvc04yW1f6ui4LWZZiLpzSofC/CC494tR5ad3rNTaq3RpuZt+obhfr9ijPxcqWmsueb1AHmEDMNUyD7doJt+AkzJGwAZ1TQETl0wEHxYVpxqZBwInwkWdP3ckrPguZXxiu92XhX2AURsE/ulxRQWmBQ/lsjFYVRGRDVp9p2g5xLRFDOnXbkj8wTRAxm/pG4coRUm2+4lIdASxHdsS0UZ+ynQNGVReP3JDU92Y6PDv2iiwtmQZAo/oaNuWgA0nudH5GrgFVLjWx1ZsCTgZ8aL+I5tBxgEYAufWXftAHc0KSoiPYbqjVb+v5Urj3prD8ATP/AvSlwWw+YYxt3t0o67M8nOfDgsKDq7Td1xa5UGpFOlcXz285bceipi5l2Q5HnTwXC3naaiaEa5j3eS6QxH38Aypy1MbQP67RdNe7EgWzae+0w6CKaMCtHlJcAnm+IQuEmeAIsgpY0rUoOVVYwxdfW/N9ZoLE0z0DWac8VTy5z/8EiNcXmMZK2VdOO4nfohJwAFI3Zn/rphqYEsDZQXQhgMoZJk2yETLKhrVYPoYpdjQKajLa2DS8alwtLLxaqsNeqxre86CWJYbSDfEWWP8kUS5C/crKcZ4M3tmihKPSpk6bkaP8t7ZZHrDzZJ+Wt2vtJeTtZToHYLExCUfL21/Ki725tbmMfwLaJb6FAlA2Q5cWFTaNMO/EVIeHu/j9GoorZrQSWt/CUr2B1qRaLs6i+1pekDaD5ozAJS8C5lWJYPISOWJpHcExvhjZrC/cAR3ZBvqlsqQp9IpLyIOMt/PcSQ84bVbIZHLs8c7bIQ1swW04caDPiDcqjnPg3sXteImBW6kwijgWQ8G30yB5R4wu7Qs+fB5HI8ZLkrlY6E8YBVORlb0NpAczMMgpRTGt4HU0fM+aZbDlxsjV61LSi5IfHDuAFgWD9YfjCQdSkzT14AfOiDw1NyVKaiyfkDnwqQkt8K9c4OL4vg0nzcGVWDtJzVsa220AYEnzmo5c6qzU+FGFWE3Ndrt43dG0/3L5G7vpxLZsSFMy66OmF/PFkA7ePnO3xzJi2lQiGWXowJXdPPxr9aW5pzWpCj5Dpvxasw7IC7RGAX95Xn2adWbZoDthAIcbxn8VvEHIvODJa4HwnGPyyk3Bwb2tc4ts0hutk4kVOlkJToWwLhanEjbmCJnIQm10GUG3ZmiWoasiCigQzgSoqxN8S7W3M7jsps0Oi3a9wSlwIgNl061qH6TlzxcLvDGck83tXsbVzh/x9LR7xa9GJvbpfDfnZdXPKUu+GRRp7/y6TXGUgrLt9RRKn/Yk9CTY47J622+ZD0aPARp4bO0bB549igO8ltt6cRPmLLnyPLKhm8eAhp+IJujHjnFnwFLTWqMF6OndK/8JjEx2iDJGuQKG7PBZSbrKPQc5LMmBaDlQ4KTLcbZ163Jp0ip4GtgFCDES/bS4Fwe9RBVQzxuTBwhM6gutUFssPZI1PY0KAgX6d2gx1WJF2cX3lHc8ed2UIX/bsqb9Jt9l4qPW8uqelPAikbbpHeP9fxeY4aWhg57JOP3cru9g3+A5omsDHM2+C1+4nAt43qsHpYPcUscwDD6BN+5KUJ8fZVeifbELYk8J3HgAWfo2Ww7h0AgqOtTv9C00AIPfWbD2cBMSdqAop+t+5l/CFZd9hrvaXSfeHJC2rqpKLibTI2o8xtq/89lF78KtNqiPCtrRJ1OyKz2qocEqBsNS0eyXGUUYFIvoc9/K1zbye3l6/kWbwy9r67WlsSf85R8ypZPDYwi03BM/26p9WVjkiBWEN/25FZMvQRc2N7jSQg3UezvAg+73ZeTOFzgqOKFJ7LnoaYWWiLgjqZR0IEBR/7LLXUg8uge2FacQX8CFsJQ7EG3j1+fjkmwJtVKKFrSI2Z9wAWvyzq7nZfmBKg199ksVDuMjCggalPljFD4GrMNp3XTbOCi3PgryIMyxyVPp0t7kBdY4Yq8Bz9rIOjhe9ui+xTjke56s81xDincrGD44mcg8/fm3/+N6pSikdkdvcqaZ+LocfGqe4CprVqEIoXa9aTeskRvq1MqcFM2452XBxzLomebRR4af8dEjBqmzBtb/VnT1eDPe6aXwiHUEpaD5BqyIxYrUH8/gFcuSHLiSxGYC/gqT/z6fVdJ+UzNh7JWiYsuH8KfQoufsBah6ehn5RZdJ6bCoSOO2lUUrXnbrcEpF7fgzT0fDSwXwjAaTuJ2oSvHRr6fVUW82zUw0WrDrAcoUbxM7TzXtRHh0OgGGIq/5kJkW1eHCcM10TH3ap6Usocmudwwefbznfi7M31d2Smh2wHzF6cjsyb5E7a56zZCGb6z7kTsTkc4ICb8AZgvJUBSPqwsJXBIJvN83O54Lr8xqcFwRPTzH4Swlj94flOQyW/xu7rK5ECgXTCYsuD9IhfVT5tc0ILCLcnQWT01TLKVDfgjiiRSC+A7TpVpr/DJWiPdR1taz9thDxrej51CTNsraomSy/UKJo3gU3CpL7LPDt2OSdNVM9waSWp40bJBO9Re1bi+XFiadvhavQYgCPujYdlUXzz3gEpx6iCZoLJl/F/g6VvPs+2YnYNGOG7qJK3ek+ICC5BnU+oREG6oEFbjw+gglk43kRnAy2THfrc69XaWxj/bccLy9g9Bi298I1zBYmSU91nowc0YxwMe/gMLqjFwJ0oVfaGL1f9eciIQnL8yq560N8vAHca//X7UasPdRHOUrtwyXd6zm/L/GhNJa1uv0sKi8GzCtwiaQAX2WPBji7iO1dQMlblSZmLCVhbNWk/+1k7pzuEtuhBhlljf2L6KxtjCL98enTeeflJMWfbMuqfJb9O4skNMwh23LfIl140WXn/TuZ9ISf4JR2sqHxnQ39jfQ81N2+SFKOJYuufwxmaUGwVxBupwLazEvWCdiaLi9ydvxF2LRui8cggph8PZ2iWac5i7hFijNnpdyLr+qsXtZFQT2cj8edLlVj1j86XnU2JxcBPeWrTGHVCeVabcFc5G4bjPFBxDEHk7a37niU8Yae1yL70CWmAVF/eNc5JMJRFS5DhSPM1PZVAf/elEUjOhkHYzTRh79i+yYX6e/OimzbayIE2wJiAx3WZ/ulC1J9fyFybyXpufx1ybJlJC/sIMsOmvHmLaVJp/o2onOfcop+Kpb889xj9buaiGupuKVdOtJsBX6j/hajeWJi0gec07GM4NrksGa7jt27s7/Yqxd8oW2MLe4z9lM7l2g9sWz6yxdzLA2x0PDL2f1q5snNrGvJUfripk77xC8OtDHvGHppgEANK3W4c7C7a/d045uzQ0Wu1Hba91+hL7abitkLUNUspUoibJuvQEUEILOLMstvB+VtwA1vGHOsFS6sq5YhDIUONKTe8yyV/mBtG1bplj+eBSVFqcnL282/WeyboNIUHi9paPIhkCI833kLW3LM1iwUlgt4+jRF09zOYxIIXPiYVReNNQQpypGDHeYZ6JRNYLweU14Hs59xhkFntvQfIwLIM+gAqjNEwd+vkemXdBEYMaDW1CzHpm+kfXypLUBDNwSChZQLbkfX9W+2U5xs4nDNuyvWs19FBklhF9VhAKm/dPZ/QS1x914n6VUPQl9dw4M+5n7Oh4X6Mxq3d10n+9w5rsL17YIrGfFiQ8u1XCxgmt0dWHLahETRXq5tN5WbxJMb9qLr3xPMuY9XHylo518mtbfb42HwgD/uFRw8VZXd8akKffYMRsaFSwt2NfYAdaCBvvTxprVHbZkHDFfDh9aCbu4nwhXdud+ZTAmGG5/cdhtHAVpctrDkuqrDqvQ6dB1jWs/MVEMK+j7wA4JMe6VkOn0VjCXivDbRYlGhlVWFBYjuRUqp7Gs/Enp7jxtC2Zl+hvsyOelFmj0RxlLbrWXL/i9u8ByaipUbBxWGIjrmnOY7LSQ4IjRwXT5tpU5DtfzCbisLo5bAEDaImz6B2tYcFfWBTLCAc5KoY8wx1nAwQKSlyemVxRB/tt6q/WgBo5MmXE6j5y76wC96i7s5vdhN/LBiGtD5cj5KvfaffITBDwlbN1K8DNYHY+wlsrI3VLaBGPHuMTRTzJJOAyMG0c0fQ6DzysjTcQ852FUkhcpM4xQlWPvEn25c4AP4iUy/eybatAemX3+eFKy4SFPjfEdo7VC4xQtGe0isGDJVuezzRkq4Q/sM+fHBpbUnocNJQV11DTiR7qJWCpH/AouAFC7MEqRxPCEQCUsApflDQzfHlFvLThwmXTWaPUEgNzWsWRfhRaYg18QHA/zj8tbDdLp0vS8NA87Ubzr0xxn7pnnpFHuRT1dkuYTmy4DUYvzVqMCpWLg3qNFx0iE8qHJjZyZCklNy6gyJ0lvzs5XjJ34iT6UhzzeqB2lxL9f8fETzdAOsisq9pSqr12GhPmPDVWlDkMDk0WMsDDnbc7ApgjBfMejTyIaqD+1WNvIfW8ehtrAqz3NcIqRP7f9ynF/6RYk+WstqgmQAO105RTzlZUinrny/kWIC4fLTP+eA6SndddlAnBEY0BC2TtP8qV7TFPHrjVR2Qomi0uZjDtrsMgqBW2kjG/4quaYSA/cmaWM7obMEfPJewcR4M0kkECUdIbAw/kOz3+Trx4eRvWJcZuV2I1bR9xbiO4XZ6dBcEbOfVHIynACFUztjrM5gJPwjCI/Lrs5UQR/PaOIBKEPBR2vcLhd2IVNWM+35D3Pa6P66QeovTsB52F1CFCwFeWajDO6/CrSLQxvkgUN6Oz0j5Jsdhsuoo1/AK4Xoxg5KuAGA08SXroiw4Z0fORc6MZkn7l0FbdnK08/mx6MKHLJUZwlJMo1M1r97SfgA6K5W7Rn2Ty5bI3EmBlxfSZnu/ZklWr5eT6BQf+ij9vsaxrMJn64vJIUjcdPpfnhMpUiJKHd70jPSqEFpS9c6f+uVY4Li+VyabYoOQ9YCuirnelgNo4rg0p2q7EU+NdFdZR8C/o5Pe0EdKDG0AbM1U0Q90z3xBfQlm1vFCwRh+n54XCNPnrn0rIPfFQR5i5sJMhGVyjvRFYovx8PRuVsofanRDn/zVyG0DLZN1CcioMGtd7OQfJGRHxxcpVkiID42sR7SSe1gdjyZYeH/fMulHY9b049QXB6lxKdIMUeXlvRmVKJNAYRB2/EBIV1azXqoZaxE8Of3/eRAKoC5cic8nYT7IrD2kcoBwRWElI6L0JEH46SU5bTUi8WMxTxG5dghTXfap6c3X57rKa4xn2HP6eVkJHHnib880pQVaSO+spAMhN8xv1G6BQHYxEqGsETNHC1vengrys38SL9wWQyf1xx08I0LL1L43GZmERuaeSS9rjepoXLZIsxsvlNdbw6yu8VeiIhAqlnbrYNREKRD/AUJjuazC+1wzXzRB0RJFcSocUxmw0JkDGlCKphG4s50LWmb3FZmYUKwkoYMH9XlStTDk1P9MdHPHzIlhqrsG8x+6v1nH7mQjXHSTGyOf1PMux2pjiKpm9BZvQIyQ7+O7gwKk727A+3ROWT7u1NrOVcnbMv6Y2b/rQThGX19Avv9Xv3JzBFXmBlSQv9zjB8hozYDz6HXOIMcC/9fskC+vGY2q9RycioRLsFvXt8Z4sQbTlLb6k+GIMs1wE7fNVUyLxUwThg4WDCmBpOMWvXSTUCfaxIWKmOIWfPtqq7Uhgha8mKxea0cNU0Dv31rQVBeXKW4A22utHyDCn3CO8ebXpLO9ADclKuhn6yScg86vHaky0k3S6jiM2V/jV7gD/a2y2S0OMsmn1WewjEtrF7PXC0HA9gC0pE7FoDgRa4vX28MkimZGizn+EoJmZbQggE09gQ+IpeoufUlTCKX8hiRIg4w79dFJ4fVoxpHQsDfftmwFNEt8ZGGEnZ9ZohSVGdWL+c23BBvYYkVoU/IQii28gXL6NyuzyQ/Lxi0O326uHlfWxylGkMcfAgMjkxJEYAdQl7/lKBfOxAZH3oizNCdYxKhvhsHWSOZRldw4lvchY8cZH0P56/40IrzopeoXtdwDcwwHlwU0YcZK/4WDQCYqtI17gRtq/GEn2OXMAUUixPAgMn29/py7bHxbxvfo0sFhnuG2sDq0x+Ovsrduck9P7Pb7MPh/hGPxK3At64F7ZupDqAruRiQC37OSxuVBZ8DOml1ZwEdnrhwRRWk1piCUS9dAK4st5RjKzLhDJSGLTGmLqnoKd0TAfTAW2dTkEckq1BTHj5JfuVy4CqEbtmcsYuK3u6CNaDT3xXX13KwWyMuQdBGAwkmlNgvW1YYUSTgqrIpM9yMjMZ4NFBMyGjAzz9HiFsN4XZOv++99iEHBo1rX3dOaDsT7K3RZvI9fWRgRe4HVDHO+WfYNuo/p05TSduQHFp+OROwi6T9vdSjAqbkITxF5Nv0BPAxCJrDfsNWfydj6iwGtv+Z/dQaPvFey8sTCyVzZ56/EcGh6kuNItnq4i1su+F+OMhkQuAkfDnEosmTpTxiNR2VgvvzNGNISgKzS4n9T/PD1rpVCCKNgG1k1BXaUBdTkyF7j8Xatwqpa6W635SNGaAAWgL5LUpkrWwGz3hmivLt1quLe3PpNXB20uLkeaVFgO0/NMBBH/z4Td9gdDodPZ75JUXaX+akx2HVRJZmFhDi7lzpU4ofuugGpA8NZbydvoWUNoZCAq8Vzh24QVQGGepGooEUYXX8Y96NdBgjA9xTBJb6tcI5ncXkjyJWkWFnXxXC5+DU+9Aturr1i/IntQBYJmSmBSzR35VRempvzPY8qg+3B4IDvtue4xEzQCoV1t4RY+Dufiw4XTrv8FdBP2NCywRSjBbIcuryuCQmsu/ExK7aEy2dyAZTr1wtWD+YZqRO2aA4F6eHM2xFyMKTnU6PAsrIQO6DOFaqcDXdjzCG4nfYFvjrJvYFdOsyRSrKl0BgPEssmeZZWvESzzLfDwR8cAJoKrUSoe5xA2pshMQgS+m2y6/hYju5NSMH53wSrN99rGSrc8BZYJbZlOL2xwEtmvGnLlRxgqoGGJ3YFnvXIjL+xlIQiTZrbYyHXNYpO20fO/JY3vVwSZOtQFcbClZ6L7uWW3pg9G71Gp/WQrufTHoBkchGGT9bcChWMEoxPlKohpmCuVWYCPXF3FvxayP6UpPULU0YxnQrkMplOPznumeLsemrrwMicQu7T2wggQ1zsCklLAIryIx8uEJ00StSeAnU20KGnfJ2RlhlQ5ldIli9j1pNGE4wIoksr14+XxBhWMWFRrYQRqzeQOCt7819uqOSI1NzcwjVaDKvAiiC2RKhREj7cWP9oAeLLCMHAVoe3jk2qrkr9F4SCOwy3i6BAhARTSbTe6gq2QLvW4t2hwmdanrI5ZbLV56nCV6yknhkyIseAl3Fx4JjltreZuVFyFajKJBYDL4EQn8o7D5+388n2k1oTJbDBp2dp2YxuI49P91y6IRc9SUoZ2bt+9i3EwOCCIBRNwnangQDbV5NIq9qDE8fH/5FXig38E8Q9YZ6AuEL23G3YKLDMd/oMLmF3EmFjHB7xXpwySBCXDM624oDELbi/p86xovYYl3Nw0nEellftRAJiDj7AfexmLvyMZziV1gX8xQwVVEwWcHN1pYnvfDn6v+Fw01ywNDh4mCXlVPvwqJw1kFNlR9RAAFBxIUHtjWkbQK5p0j3623YuGTwjbEUWf8JhnzXgXT9Z0vSICTZ96trE4ExVnIlRgTRRzUU3Bz33MTp5ladV7Cdbz7jWrcOpMDDgDZaqrQuJpJO6a2ml8VM9SQr7Nmqklsl37cBtddPp+iOMkCHCTXfxWV5VligzKuY1J14e5wuB8XcvqaU89um8pPpCVQvL2jToANz5quwLSU3dC5FUWflD7oWbOfYMlMpRuBtTwDeu6Iq7c3ONeOZik3yJg/ewBikAw30D9SbriX7Q2SD/ZaGsjpr0y3cpHLUpsMAq3DMyMI2ezkaOWCxkQdoXhBh8aNYjvxaDSjK5QNy1X50Huf1wBCHBOwh6DYZpmVXUJIdcEaIXB/hmSrJGvm9t5g4G9wIKNcuiPvlZHUr+z4Xw2iP1fpXRHxd4nLcOS8I4LFXj7frkHWKzddJNrWV2Fk1c2wLtKzKc1BiwB8E3Leq4hteNNs3glsiydy475OwuzrKiC1CXakfgiIpZ775EPRpkfwtWjEzP/jf2/vE4p48FwSMGz+w7m7prYjQkv2m5KZXTvMlOxkD+Gm1udCDF5sKFLKSUFNu7l4SDEGbzoTJNjtocf5CooZF54GdSjRaY+1AnFg+EodQmkpYUJj+bwheDDDrX7kRjyszmeaWNFwI/GJLAAlNDjblFzYu31KuxChd5ti2uSknr7kadJ7bG/f+b5gt/j1kTM5UaDsWpLcEGLcHgGLQnkl7hgCJn9ymHeakVpi+5wLNlzf5uQ1kcVxztMjhOv2hBSXs661OHJPYKqQXlr0uUodSuqPuJTWjuNy0lomtHp+R4cKKi1LmbE1yjGVQEVVO83nR3bmTZ7xFZKjqBfSDIl2zbUk7MUKlgM91GGzyh78LL0T4zkNSMw97MQEN4OYT8cSD6alO0pxXCdgUKmGSbMc+3LACCL/QM4W8wQtXAQiA+eSsHLOt90xYmLQpJxn+DK5DSvIjUPKvO1Kjdp8B79RBy5xpEJJ9QXUtvpqd5hjDNw/EWluJ3f4FjtZ3z2Pj1tyEfD1nnOO6gKcSOQB9/Bs9tUb/ZRYUfRYU7gUG5WseDiAidMmR7NnhfpIawjwU00uOHRNwpRcHbARXfA+Mzuq4axgKaW2ngyMU0SwDcnDnx0342GQKPYz4fqdm3WCW7gRgDJEEUaFPGdgcKCJ/CVlFMAQ40USmxAa8DOhqySL9347PhAMbaVMBbg7SmDzDwxE7cBayBTiFgIScGVSMaU+vPF6p3ZD1eCE7pg1/Ro55l+NhtbEBTjJIyI/cJBK1ldFP1z86soD7dmUM8zT8unWpEvHyJHwEV9PMPd/40W6uLgV2nqdiJWd18afNPfcck2aGm7m9icTkWTMiFDTBWPBrq44dG3JWBLY5LH+IBcnYrVa/0SF2R2Yz16JAvmzoIA8CTG45OxzA40Qe61cUr0dKcrI18JN3H6fTEyp/+MpI4z1DlLHUYZ9Gf7FA9fLdce6vwaPpxXCazjLfehxLdKjv2Xu4KrPm2htoSo1KoeMM2z2O1S7B04l+/mmTnZVJPpm++t891dyXAEWU+kp1ngN6QGM7YPyzJLXD+fRNwIlSziOG1gyW09m15QVnAHzncRr01me+h6h5v+cJxL2fqdQzthbVwNY+3EcCdolp7IAxRc5RH/uUNkociWe/nocbPtXD0y8wVWRTfnwl26FlxdgWua/y6E1oQyDk/DTgK2QcGbk6XggbSm/yQNsfHB3Z2r9LB+Umx1alwgz1WzDggUDGQPEt+h7HehLWBsW4rEK8bcNFU+21pgxdwHDv+/vBBxBE3XHwnj0cWXlEgfdxnhXFX1DCV5N88YKeYZZz0gUuoZCXTtygx0XvILCeZp5NX3ODAQgMOJkNgQU/udu43gcN/pdmOLewQiHm8vQerUoievciB3Cc2m1LqUtTjo/BgbfnY9g8//m8mvbxhvc5ZV2zrKxwR/zaIQbrCcNxAI3x6s+RuMICSs0QI5kOhWHPvqYe+G5b1xxZ/gay94nM/D+qxQn0Ui2zlfwOTyCLdAUM8FF46d+sHqV2vqv/kJudD5jjlRqJY+gE9Y50fJ7/Ciz1Nt2jTRNQhFqPdOs2c9BrUjEsKYBhSc8F5XLIb2/1mebdroGybyBc7ewvbF7L6640HGX6CLpxETZlxmBeqfuicIFJE50nFIgSfgI5x0JzFcKlx/FyymO7HKNjykbBRltGu1uTmpE2dZZ10dPhCmCzNRGaJC1NT/CTvWtfYnl82SqdKHuvyxTP28t2m8zhTy/qbY3vbe+A0ExziYS9dKVbmt1sQJsLI2lwqyDXBmqBZHNktxOruz1V3PHf8q1dW9MyTPPqFy6tGbJ6kFC8O0EehYPYMamvW0hGh0luTyaxHJAjseZKiigf0460AHITgJ57fTHT5AXCAX7BqUPhkF5qWeeyPAvXBbjjy3kbZ0cvjO8BIroOTbIVQp1lPs+dpKw8nRC9MluDALOgUfGswHOE/SFvR6dgwS6k+ZzT87MbT+EFCVsBsslW+qZVspLufVeFmuBjoI45q6j9nySX02rImy+fXu9ZhxIA3NWwjlmVbOT8Bmtacz3j5MDN+jeoJrxC5VvtuEdeIu+fr8YminOquPDm+GLVTU9tOU12/lVVdnWNT6qAEmjIbtd56swrvytCSw3DGI462rsct8+ASnAYqvlBaVpJr+4R6QFu2hkJZrZ2kGs7U5pov5qWNDVlSkRGxnp6UqwbQ00wwCKQRi7TDQ5osQJhxY/TH70pUGNPQngbyGPQyFzLgRWi7chutaFIMZJcmFRGS0SqCHpt//KqsX1//kh+MPJE9NLERHjEdQD++EvsI3a+1HFvgMofDDCwm87ROLvofKACYPoOSv+CYn2+cm/biTjiPcgJcN+tABtS8eE8f96tdQhUDYMYsEHIOQl2e2zNd+ZCw81wtaRF7PEuYDvZn0XvmK//DlH1DCIvZNCNGzi470ArkHkOiPomGwhedcgyOWIr0eGG8GspBroabRq38mym6M222BvxsGs7BqX7U+yFr9DkebM7R4SKiLPH0P7U83GesHcmc2NSJXyNI73DXOrLwQEkCThwSVkMbLH5nGetVLtILNOEXYwMK2xTC7fcRs8t98hdsgfrwtsmHvORVRreCSzCF8i3wvJIX0Ygd62vyjjtLvfGSOtAAEdG3m9Vc2s4pJLBSIPjAn/q+X3hVIHePXoFPFMIKdHL+Mj3+aelgZIkWZ3qYNnAUghPj2SAREB4dqnyKCY8Ocb/sU6sAac+SH4kov1Pxdhesd++Upi5x37yZVXZ24LtG+jh+5LxdZPzu64cvU1oTH1Y2W8aGF12oCKXm4Csfrk2vCj8PgVdyFmgcf4ueCtZu7LkSRl+MXhnFMSihq7hGfPrit+56fiG9YYpBazPf7JVnPG2GNHswS+LUY969Sw6ydRJZX4mCOhACCImqf+xK3oFK4pon1Za5bycOMDqI5JXzP0lTiEIcqtKLenMKRU6x9CAOMjKA+RPP87GqfNItqFZsSkbvvs8gagulqltuhJbu1SmeOlefmW8cvoa3OE33NIOK8U8jMrdODJl/FSvj5S+/z6FJM7QYF0vnZndMB46Z4kHH6u+oq8hV9+3gzhnpg/8qHSsCJQ16tK4S1iKQpkx+4tg1Q3+fArIDTixtwv+mQiSEcVvAItjmSRyaEWor7nP/jOn1IIMLrKU9tv0U0wCvuwCcrtSOgeTQ06X99rPwFMnPsBxiKI7/sChyWJ4QIlDEtFiXMVg2ndozKHikEw1va14pcgAA3OlztpCiwmn3Cif1qIZJ8VrvqpOydch5kI9qtSt38PrwNqBvGzNMwfQKj3UESmSkBP3/0llawmWvCYBFU+Be1lmhSQkkoXYB29LkHyyJX6RTBic0RVJRNWs7GG2ETNH2BZ1NZ2BKlJxIGFPkH1MtpU94EM+JTfyC3zNOB6X7c8ByH5F5Sd7R1Z5MaYzoSp08kWBlCpwmOFo7tbVbyJyXOB0fmQWqxHMyhXFQUOe/7Dr7tMUJhFREkjw7ihA+lu6PddRfcCWH07ALpFe8MKMcrL9YDIQNnAg8+P9SVRWNrQ5blHa884Dvfhm0Em8ECPbPvNAzLWrYRiFf6z6vvHKmR/tV1B21Dv+p1VCFyDuSe2Imr3w9Zod1ZsiTWDGJwtF5pDikO11lGEN0DDjk1Gk1hH56/4t7j50dWyof3vaLCDtXhBIo8pgJl1G/R2UkwdC5YK94Dg/FlS45LF0YCw7LD/6KytDiGNw7r0lUNlIqfFhvgtcCy4crg9ASrjcoRrM9bXRVn71TWoZOdq8p8qe4GJ4K8BZWg1ArkLjG8JnxCQxSSNJE8/V+EaQZFFfXpfOFP2vTJ71xfocJIkxT+UqMSEh30YJKVo3R8GLKlTHfQ4KEh+FmCWvx+gb7d1tfNQw4EWO0XXHbjVS/ZZ9UB2uXTthI9EdGI8Hp3bw4BN2Ukh7CqBEpZzKHoei3TDnBraY2zf0n86vxV6MOmF/G8exVvcdI9JDix91Ia8b16Vip68KNPFPC7BOw5LDRbUgaoF5/UeGc4RAROkN3jRbaY4GaPRfndVS10CNVcd98jbc5qTwrvE7JGK6vk8n1jxaX6Zdc34X+Po5HyNWTEifSAjuItACLQ5RVaF3l9X05MB4QmqztUB7BEkUP8atQhLvVco1KqpZBAQf7WdbXfeG4jhw15SyUXnKWCttWbl6hpSAcY3tVgb5fsVGpr8Nd5RUEiX0LvlS9uA9GGr+pYDevsg/TVrK3K/s1VfXiO1eVXf9+uFvo6EEbpf5pHN9s7n5m5nLkiBuGYS8Af5kZK8pIFnM/r0qn3wn3Ci1eOkCm173EMhxZ3DAwOjvo70jgTAy97KUroU0CFjSEIp28Q5znjIqYmVjD1ABYjRBZCzOl7oHyrPmk18L4ZbAokqmwaLtutGU/cixmr1rJUm8z+j6SRAS1UTfXHFerqb6AdpJ0Ez84f3XQ0Wn18+C7Vs7ApkzV8qDOV3sXRYN+URzQp/av+KvExo0wmt5PLIVzbbBpvpSCAaqHwO0blMdWWi8vcT8XjEWEmkutb7CC6+eQCBXS7Lzch82n2ueaZhXXyW39aRYaMZ0dEynTXB5vS6nxFayFulbFCxRIExtnuhF4RHSxfQf97AoBL9zaHrdD8LeEJR7HBLK1g1OuHes1Hs3N2v+rg6tOV3qvAs8RCqKwAXI2nGWDeTrwrhUMEWygoPqTiS/zbx6Ks1QKHTEl/zxgouqd0SRxe2yNTGV6ig51O38xYUu4uBVjzr1oL/7G2HmL9byVF7QnRdAnBYakzy4pRu0nSCt0eOAXxmhzbHW3VZ8b7IABgiLPBpY5yfjeAXh8CUWgP3vIyc7A7b1O3lhWLKz9z/gIEygS8ZDF5/w6Sx7pk8YrA8tAau2+o8MktcR3vT9T51y7xLi8czuVW0OVbkAjs+rhhhp2Y6ZwUm8NHb35mYe2h9WY8IxBjxWSLBbXxQ2mzCU+62B727m7WT/SMmNZpy4pEblMBv/OOwaXgBXmQclsImMXMVn5yYkDyfZczCDceJvHfQXES7tE7YIGpaO0327g7wfJrX68kg5GHVadzCB27Do1eqA2VZmYSu0hu/VbrScctmiYqclHdv6oXO2caD8SaBLR+k7aplT2/PBdvRDTu6ZJejSCljMQG5fwBad1JnK41PAmUmGTebLg+5m/+aCEWrRO7KgbJX2hmNa3D2QC5VZawVw+Q29xBoxdr7MJTDeM76nC9xPbS9/1pQoCP7sKvvPvUa1CTnGQQyzpcOxislADgjSGug77klgBvgX/bum5YmjqNQLR6DVNBUr95NumhhxWadZoiY94DzoZ7VnZ4NG1ZJQnAID/hGlckwVFQGPiA9ucDa94rLnMrOQiprbSaA3aU740t3f6+l2O4y4b9EXZue/nPO8TJocRNJKSwBHL6dcMuFASOJWj/k4wi3Q65nclkLO1ZHxNPFPMlUjr1KHrf4kbhedqp7VxdxDv5zBL0WEVrk6LYHYf0KU56wIWcFNAV+WlU/JwbR0+tHeF19qcMdFwh/+l4FSIetTCbplCfPrkiGF1Gx9IvnFTxop0KlCaTAPwG5Zqoj+z2AHFGsEzBeUYGBNN+ukZzg65GvX3DzazrohZAHGKu5Tn5LWXX+5/SHnMXa1DkJZPrkKFWDw8CnYUbdTZTnmGAnrWitCDNd+8Tzg/KXay1nBClSJUXDI0gcZhO/Bf7ijs9AraIaqljIB7ngboQeunqESBnPa3tS7zwhrytJvIBpzwZ3He9Xb5O8jcdhdBxPCU6OQ8SQ65SuWsZqp96rW+1HHhRjMEKV3HhcILw1DVIrJ1q3P0rRDF1KJZ9fYN49GtiPLmvYQBm18LNHyEOTWdDvqJaFzOBcrIz6QRgAEVvY+VAArqO8W1tFL9Dl5N1Zp7n3h0apT2p08yH6dRsx4wkb0wR1Fu03jt1bcba/xnAJoPdYSymXBuh3n3RNwIG+lGsPqJBIVIvCRfde/9z0iynf2OiYzdfFj2xUslLbbdRi0wGl5xrwk8TkBVwlGq+AUhU+t359mHY251SISo010Yml1uEsoetbzegYT/psK2KroufdefxM5zDTDyWC4I3wXdezdR981Ku/cvaxFF4kw7iRXPMwxKRV1eMyBkDOnRTxLGX9TcnhivEB6mVVH7CdDknVKZm4WWKyzQolK8iETudmFprpqOty6mhC5V3ToFSMMnOIqqlsHVDBhpi5kO9chHVbh/EB82/58YICDHVcEAaC97QXBCGNZbm/pHSqqPY6Goqh2H+2CbBi+MJf1cdBGElMM8eaVFFkUPConC5HgfKpWuL0XdC7ZjvZb9+eVTI4nRHYDEUXvs8caQr2Fb8ggl6aarMdDG6+vXio6fqeacYYr2w1z6BUC8QjZY9Hrqg22CxIgLJfkgj4SAPjdB3PUsR+1o+d8EKDC3S4X3+Qx4dpaUJqSgKBwTiQtudKFKobWUhfEp1BnwLtlBfY1wCml4Wn6dXdASae3gI6e1ozqaNEKK5jRCdaYLvGPKjiwlz4IWVR5MdHGFLCNTHtBhpqVfYr3iql2EyXBNJEWZG92qNeTx1t5IiMrPd4M3kpSWmxLYCTDqVLMsSHT91E0fpzuEPKLEttp0KWmS4IcSoW5Q2PM/7XQUtMRIV/nB1S6WtW7aZn20iJQhIiUGQPMhRvfDrtHygiCQg7HSwYCcrbhVq2Rwl04grO+FWW/vnEIah9ujcqzxXNEFerK/U8KLOhF0s6ILznlI+7KnaUvP9DjfG+t3tgA7Ks/rkKI4cUk1mjHpP/GE3UnOyQdrd7Qf5QMEE++GE1q6piBg94eNEnKGpIvsEXhrrpeAzx+IEmofTdrGqcuZodi6DAGJ/3hqQImvMXfAGoF+yCdfW9cLmFlcWmBnNJAu0imyKgiec7oGAFgEyiFOU8m1vvxjzrtoZh4wNfsRjQ10dsN0E2v15RYCgeh3NsUxa8bbURITwgZ/pQUqBIxQlGAMqUik8ZWXHIzJQcxJgGulYfXd88JuG+ocK+UlCYzQrNKd3E88dXjXNdWJWNaV9i18xoNrMyB4hG1f81CTIYjPTyob/dWXTzG/h+mp6dVRyyITjiMnxgvDox/I4WztC5xuNoGounazm3yRguzUGjw6JUUaNxJdFSDnKOr4pnfEyYA4YTA1SCR3teG3tND9ITuyLhOE+qICJSP8qcotbY7xo+Qu3NhMfuTnEls8jtUpSVXbmo0lLf2eITXNMMSX/ZOwCXeo+dgdoA7I4z1H2nCA41nxCd4Dw5dmd/skpN58hhAGcBo/SEq8ULNEC/hbniApqtR/SOOGSLIK5vVBvJOEeUArmo2RSOHkbLnf25YKl4pobA8vi3FgsKP6Qol0t5HCbXiX7dZLTWznhlKIVOvLsGMb2P4ypimPjuYTxSBBpnbbo6kRVHd+NAtBljlJI3ADQknYdRtpyxIhVwTHIUR0UfC6I25BEC8WlmGZ63hsJKSAajQQsMeEhkKV6Ax1Uh9L5O5D9Vqd5Sv90GBvLDpKc/YcxGA7ylkysJymwOZ9kA7vitDj9UIt6xVpmJqj6zkH5IBRTX897o51qUKokueitSN2PSiayD2KEuAYzB5twRzoUzvsLfE5/yv5Giqfl7yrRYswYZ+8myciuxYWKIoR4NkCoRNv95sGFs4l+b+ZGFrqmCpPXHxktZ07Nhfo5B0/2sPV4n0aO6KmamwUfsTBq8t6l1ZrOPsP5SGKVbiu2uFBfnW7y4tn36RUGx8LEqcStFbx0kLJs2rLOuSTh4QYKzHhDKmRgEGdwKeVE9MtG1fJzGGDXfvh3f2ORcDvOtK2APJ7f1ENPFfIy2jaVdYkSmKpsvbAqX4Fhx91xMZ7hW4LoHTtO/fJi/QEoxOcDFwbVYiOdDzJ7l9NctzqswQkgETb0+sANrJYVGlpEkP0DqkAFEbEHGfbYpWjRRH27L1aHECc5UQi9geolVtROp0wpaKgLGCxI8jRMgbA79IJTGeEqygDMkzroUys9CSlqtiEbB6EYfVWH/qUgsqF42pbiOmBlOhj57foAb6aI/A5ZBgYlgS7tEMcKAnd+Cp2/TgCCjLMnA7F8pwogqVs/6cl03QxB7RuVIAitfaLFaXVeGHMS8eK8XR+cZWA9c9j5IxsT/FncYvtM/olkoyqyFSmso2ebQG17voMElSapYWmsYl9xjpftynXiuTXttgOWVu71MsNkAg6MYkmHFRet+94vdXC7tgxUy32nrXRBKwRqU7lkJZJpxzEYfXlyucAYkhymcUf0IRWj6IGpkFiPgzWOmNbnjNLOLRXgko8iq5WPxKg88dXopkIpoHJFuyRmddT7DFEmkKcUuSs3m8F1/2B8kS5BHwsxAhxYAwSDikM2ZWVdEacVSMFkMqLYwGy7iHvYHpScmxWfs1vpkiEWgHu39sWdrdecbT7MujVp5mhmPEgS1a0zfolr58PacEdwllwKgCytpJbza2hzu3A6LNcuLwEfP6M0Ks0ASddvSe6m2m7n787RluEa+p0N9ZPkmgVaPfXK+xSHrRr/QSuNH/pC3T69bNfTTliz0ti4TkSxxidhiqX8ugS70DiyM908F+/TdHOeyDMd0BcV78iOWNzXpNcbCWiR0KmQqY21H5hJLqkeWYO+65GXF67rKKvQ4AA0RaPd7QVXuJHd4+gTRYu1dkLYxGPhztKZOi5xqAPBNSaAc9bWVCMNakurbT+M8f9x7/uEKg88slRDr3FhH+OH4eGFgPd1CeAPTE27c9nHzv5HAejiTsnNBLC0b1HJ3WXbt35IqiD0fHYBnysTkwJAUPZZsX+ezFnQ50K5PpcGiKm6Mt/7VRHMT9GEaK/bbu5MwXEKQNjk1+60N//LDX9UXVAhLWJA1E9ELskOXWr5QVzyYPBM91uKZjZe9uGbMCZo2ycyAi268YM6du1l19oTfzvKKqqbYjhuv9870afqhEurRmUgBWz+0WcmS5hAJgNbSe0kaGncR9izrugQVgUwxpgEiHB4SZal763fZ/X85CFLmhkhJPtrAPN9gROn009mBhv12N/2hy5sCNQ+yepTEI2l0bE2nQM7o0CXzn8iqLjjbGkvzj7wMtCi+iN1ShsQk2X6Lt1oVypjILSu81nPVJrbuHuezeMm368iaO80sZ5UAPE5ptOzlrnMntkiinfnJ4YSa/UMHauNSPKpUfyMnW3ufhTlZWoLL688SMNu4R/JJ2EbxjU+iq9dhyq4NFjaDQA+bSRI94n9jh/Yf1Gliig5Kn8MVymQNoOQWZXI/lES0/phJu/3AtE7L/ib2NQWrNmoXUa3oFsT6+3f17WxR6Dcq8j1iGwJrm2kTPOE++O5DYLFcBiO7wOn7PW4Qhdw37IVHAuhlqpFd3DPNZTG+ElfO++gQzZson+BNCHdkvj+KLGZnOHj0ptml7/P0iZrno97TsAqC8m7dg9NHkkp6h3KgYplIvFuRepxJXelR9JkPZydWRg/cXF6826QfRTPbUVTQ693qmf00VlHkvol60HoMbQ97UUa5sWk0EpmrRwzfp5el9PxAVxWFj9LvTD5TUWIYvnveHJnSsOd8+XrPgmh5Hy8x/97u42G1r2YlyhEsl9X5LwYdCaptmV5fJ+1UtKYtsPfu+xPVs3M7wRC4hjkEUj/k0H3Q8om0MWirXZ4LVllrTayE2j07ud2y/LFXSde3cPgYs1XpcWNpveZVpJT9Dgilx2BCIzysYJPsQgHUAGL4MgmrhoosXxIpSbZXJH5rprROSSy0oRVvlWXml5N2D8q+G7Y8oSsF/J2tGH3NEBdWxATBT6cysQJGOPTQjFGtRnGFSVFjMdqJU/cXWJGCN8xO5xTn3dPXB/YY6iVbdRpxBqa7on67Op6+BQ8TnC5KhutNDE57DzwNGfl/EyzeV/gi9DgTJc0kWlNTit19TL1XO5GcErHM4kLZUpN95p+3bpGSOjTb2CInlI7CsGNe2EGzqFUksoAIENz5benzPrKt5kzmoUwDLcL4Qd9EoxJ+E7s7W1favABSNQ4hqZ5vyFqr87dIyMD5NphcqpvjGiMGiotJGGkwDI3o4vsN+7XsTR7nBdivK9uL1CenjEN0gQleMbc/D00JiL5/eCZBJBKE7FwoRk1fbbrBslf56Ag03kB81zM2+6Uh6Pe5IfQJzTzMWk7VCy+c2ZxHKt9jpiFpxJybtdo6yggcsmN1bnx3gfx10SUep3XjunbS1WP62oQiCZRmTKx+s+HBlJlyGTBVtH5j8amOkecqox8mSGEp727dzJNgmycbLN2uc74yYqMOumqbK5FN2N9oG4YaF5OJADkecdJl2cwAcO+8Ar8dSWdVgH34Hdnh+0Qsxw7DALCtsBD3WGyUor2nBlej66K8ZI8JUlK/bCwQgdYnQxeH735T0sQXzSbwSnS78gxX+qzzu5K1u+vfyEGvV/BcBeTJSLS35Zw0UJK+WN9ct4suLK7ESGIIoua/M9H3G0i9Y5at6kqdB/Q9SOjveZi5EfNUVSd6SmfJu2zUtkhl0D3cnQVRxzW262phOxkEHwspdTSi+Ov2LY5ABgL1BSL7z0adpibkDzQkWWvvJQSaEXa3JNXcuYfw40Ge8ywwk1ElMFRq+4mreyj6u5rUQizYST5pMrfbGHGkz3SSU5KoRKS+MkbulMKABx9s64jinzDcJulPhc7lzTY8vkPpGlrlWgOU9le5jHjEXopR9H91NnQF/j83VLiqhxWq/1bu2pSH0blWwyVHMA3ijulsZahiMx13e4k8KOFRErdHZ5okmvPTFdZVFCxUOkoVfGVzV3vS4aPHC6dWzq7PM3Ar6+errqBUpFrazU5DcjJ+IbDXC6DVDN1c9yLIzKMVmt8VEDsl9G76yg7E1NQeLauqp5J1WtjU+ypiQLVzM/I1Rhiy/0VRvCtJi+TC6BqDNxJAaK+/7ZQRFNmyEMrccBeOlAeCrvv2BhM26AnRjdgWyeqK0fARAL55T1oNpTbxlT6AEj90Jpvj4ctQ4U7ZTrRH7zfW4iY2eYiR9hWqNo88th2mvd74zys7mZNtLg9TkFFoR1QhyQofFWugLdXSBF9wXjKbnQe3ot297y0WXze9MS2cCMEFhrDrn2KAwuBzaqmzpJDgz31GhOMPsWK9AJ2V2izmlcMMJWagA7EQDJpBWaHk7vOIr1R/3030kHyRPWci1M66VId5zrNNumG+Ct0+8SH2bS0gwENOq9joZNBqjNzw7uj9a02ab0HDzL+SwlCIE/e2pUYvuxHwgAMCh1Dv3q9uLNKRxTVLXHd7Eb+v+4VKdLUupSCwJBBSkIbiqFiFkdaEuzgmX2Qd2CEMeA41/xwC6QtCC46I78WpdhTECwuiBYT5YWfrwURVUw6lKRxt1znseNg6MkcGTQoSNahzTBBYKkCjgn+u/Q/8VLT8X0EPONSa+wVWu5wqBrf22Ako1mhkRVWbYqNNGQW4v3VpGjBB3wBzqo2KhWjIapkb11gcKLADNm/HWYCZf8r8D3IdG3k05DADebLJjYn0fNyl958li8I36vUOIjC+1ccq8QtgCgg9fdS/Xkt+yyI8a4ce8FAnPkNyWN2GkBFbz8Zc7K3ytEgXqszrSJcJ6a1ai/uWgB98zGAAP1Sr9gKKD9ujGWhBXHYszRMjYQrm193gQeIXv65afe2qVIJK0sb+NXudPjD4LbXrxDFP8C8tstzrIhbU5yNMClLcsoeDpO6itYoHkJ1iJ8POV64OpCF5s2OzAWL6iP6fz6zlhXKbL7s2qNgbYTXfd+WikQJK8+zFUp345QnF5KenDWxgqZ6Yjhy/lw+JVg/MNL6G7dOplk6efKMujkPAS4ITSzBDiwhP+j30juAxrgcoJ56dGjIMlNGI7p/wfap5ieI/gPY8lpF6iwsSY9x0/n+06iDDDYU6XX8q9BXBPJ79chXwnkHHhiuDWwSr6fJF3tGDXhc8eDYtu3JKuF/iMrrpIjHyRCbXFdnzYAAfKH3GooH5Xt2AvRN8SHRjfcn41o2R4DVXDatlfAl+K25ov7HCopZmBAAKrBLc0Innl1LPP6cOiQsP4Aj1yQjaCtvmB3W7arAhiiONFygOWqKT0V6aTpQnZ8UzVGblPjVoKus93VE2mr5EOhATViqZlFkU0fiQyZYCf9IuiGhmsjtvDZtB6zNQ0q0zAE2jZo49DSill2vGuwJ01i4pqw2IMNKuOCsAahPElkhlRZz+R8tBRfKCO1PRvNhVbf1/0TKE+9oN1n0PkFbwImNMZsu+S41+xwgOAKmJc3sMnIe38qLID6TbMNABOEZLEIiyo1BBBdWwUyqPu5+umWAlzTgEXhrQyXRfHpprQHzqLuzwxgIMJdnMnuQ8MRHIlkr+CFQfS+KmnTkd9J6jYpb3ILofkjxbixTNX/W4zQ1+lzBS3eV9EHxcFQX+yKMS+U2HOMPbQeHFTfFtzBNFqMbtggsbIbQxzLkNXLzKGJLpiKzIms4ODueFLduE3f3tp4SoHhpqvteGtHkq4BffMfN1jLHSn6LOGob4+jdx9qIjsKGBTU/GV+v7QecG0pNdJsbGPLmEOSAjLRhadw0BwSBeyWjWXoXYSJEpuiWvNSHCNywsIJZ+MwpcHN1jH3qpvnaV3gfYd5F/EnqqaxJLD2wlgOgzzPILP953cNjxBO4DBIHaamBqufjkU8BJ+nbb8eYokujtQEF2yA7alnz3fQhvDFcoFvuKafEJmeTFMijdIHRliOZlY7D4fOD8yzcbNwLqHiXTru3DgfxGV87ZRkHaSaVcGF3OXy7pbWH2m/XnbPFsE8FBOSq46vqhKkvSzJOXIYUOTQKTSYzLOfVEjsfnfdkNSdnpxyJri8WSjj4QeIcGUJjrqxSMvxzuZyRbgk6RgiKRzEDDTiM8pqg0qMXRB4SRdBYYas5CHeL3W1Oec2B24iLxyOBK4L1VWzagVdzQ8ec3SCxmP2vsCu6wWeNFbrBDEfP6GSIUk6/e+4auqKB/7lc9APzr2ZGoNY3u7sSyZMsdqzUdS8G1a/kiBlpukAXrX2gLl4eHgixhlfj6GYWmrtYdX0Ovf3Kgfew9ICLEor+V0AVQzwvbfFG63YbIPykpN4XWroAk4UHkk+PLxsBdHankhLfKq8DctlfSswdHFe9gnMH6SPjQQCYJZ2Ce3u5cq3HwT2RE+ZetdF0E4fD6/87lnc7MM9FXXFUY/s3jh8jq3/oAfsnXOJcyxUC0WujJFYdIY0ILnksUPFEXcLyGdqD3DPLcn60gGQS/YvRPtNyH/v+V3t77ABkZwpQVfEpj3HeTyScZi2Mt2RfkjfEjG3Q6TrTOkb9qNT8j2pvP4mOH2pF02D5jGhAJ0oxFhBXC7ok+6AWuJsg5PWEHFg+F0cYfLYZyAAq746YJWuZY/DuuilVTz6bXV2ua2Af2IXFRT7oT0zVtMkkyQ1CWGFGF+BRJiwJFXMy3K+7IhBGVq6cP+S0+0DG3SCDA3cZ1U13vApdRagDsZxr+kM0Y1+kjPw0rAbp9SUkmY6MxbuDwmLkHz75UNgyQY9hJiKTc+RGGYEwuzQ6G7v5YXg57hwjR9YEO8Dctr+gyBRiLs7sOdwEKP+528omAiCl72K87xt9akDXfOHd8YFe1xTE6DwYqgn9PuIL+5SaEFBsdRMWydP4BcHM24U7F4bJaM4bayHUvXfYhMxAsfka0GtshkYTJx69Oo5jkK6nWcDZMEZ9igrcpryCQjlaAyYjGzjEP+6w6IjCCDamfhhNIDlq6ma266hskdeqRdQn7ye/a7igWT1ag8Z5XtxCjtIZPiAXg9RnzdxoTc+gURTeTBkVrp4eCCREcD8j1yfdF4MSzCFGiU24SUbJmnAJ2IQufaZnPLi9bIOF+d040WIyIe4gpvkY3TRqeYuJm88fBr1KC9nExjAzKP0DWQmlTQgKyt/qFQQGeu8mIJLfdj/rlNE97CSoqQXuD3HBFIm/7rj/btEkOwJlmjlD+60NtdVMPkfawwCzl5SqElKDSgVZzhvN8UIfQNa5tSiKcI89udI6M6T8TjNIa23f/t9yOHeGG/9kgjObf85ltC3lxnWMCDvGsFe8N14DRHLTgrwM4jOhIwXFXlV43uB4ZtAPwktlFQxGJsGVSmGmKVhkjuEFv/awEP8oCpG44ZMVwa7pebJoQxEEWuXgwLTbZvw1bPbPw/37Wy9b723AwpC2VrETKioHr4GaqRgN6g/wuufNPgCuK6oChqeJiCgKYt5zJxG0Iql5ht/PzOL1Y3sVW/pHK0/nASt+KWCjqNx+a14Bx9x6NEdUi3HKWIMaSS+avbetESaVUFs+zEFhFibrldSQEa44zU0frYUx+VCOvbPKBaq+2hJcBCcS0Q5oS5+QRP3WHgXjOaymaoD/HPNhHnVGzzW1LlauNE2TAgqNll12eKGa3pj0S3ISNcp9ZD7AkwLhMiF7G0o4nZ+IGbHUg9nlMTxbqgi4ZoAVqU3INaTwDPai/WapXwcJnmQf30MRjAOpmKU7oeszZvvjvoT3BJkr5huw2HKa3NN1sb09XHft4nSeoixtrPyWi13N4yOocm68HpXD+GLrpEK4GsYRKLHbQRDk522vCL4Mh3aw3iGsrK9/5S+pZCcCGOELXed/0DnS2g0TIE7GEZTveQRyvEG08wO4hs+VsnlxJAmItIEx8GHxTjFhtW6zSWtyAVYn97SsCEw+Syw7JhtXv2puBEr1pP3xsFd5riVqD3b43lyJnNlOuG1iekw9iL8eQKWA5GxJuXvXo/y16d8K1W2PDN5Vv++epFicaMwcg01mDWVd6R9MEeMC9JM8a4kyOD2j8iMTz5NERT0VkALUpbpsHs4rzZzdQGeeLWHrpHCHQajBA0/XE9Or2MugzzFlWhz0fvY7WDqUC7ZwxZ2/add2HfQr6/7mDtEz6N6x8/7AQ1+xv79qDHfyl5gQLle7f6D7cpHnkfFeQFyGu7UNQapD4955LXd2+UWFDGvDt+4rWa0UlWOBgrdoHwEC2JNy6ogDJJcfqVUucXl1nuIouabh7SIlTg1fK+y7QSNaavwWmhujD+rIdJaUMSDlSZDKkBBQz3VzCdkLWPkzZuDSU4PMYi9VW5boSTB5YlHKdPd8VYXkCMKlxIXPmobJNENjWwB80bgnefbufQvar9dq29TFMTsm8UsuKNdDVNjmRgS47MVzTwEqy4fx9yTeGb6dqmwcvAEgfXzRd6ueA42trMo+Lz4QPneAwSxe2BXNkp3ay487hCJLulQyzNzH1Rbd7PurhVfkwZj20XVqN+N3n1uOmkPXPTxQlBj/nuk/gRuUpyt4FLoV1HjBjMWDKJOXezq5JhSA3nfrAmuiC0jfv2aPHn6lkq+83Vn9nBphmh9dshY0YaH2YE2dtUge7fBG3TYujXWBgmr6gIXithnECqBDM/GwiaaU3oybWx0DgvMw3f2OmZQQelu0ALPy5iFL7GAO0RaEKfZSfwpSQXHhXROoro7tPJ00HEYtmIMiW8A6WexCFIIVFtbbGxl6jt9oP3E5mBuF3xYK+6iOjDQEnmFG03FWp5J6Hy5nDmkhUDXkY8ra+8xqCs4L7ttRjdUb67Jk3Q1T2iAkN4Hd0+t+1GuUpe2lqBEU7mw5R32glQXXNHpSAcdXvHjEhMa7y+Nd1/e3yBKhk5kVHzjW6GAwx/d7mJUQJLviWKeLGhL2j7NXWdxbV0E7iuyrTduC4jzfDjA8KmJl0zz+WjVq2J7+muOCuvDTHrt462TB5hrDEuOxEg7COiH4rJDNTVVVY/xzjACtWpZuW2IWvbLZ3XKFcuOKYmh5KkFG81/7L3nFHqRjss+ZmSFb2k30AAkeOuWd80nfzX4cbj6SyJBG5ELJP6ExSdhQxoWbUF1bneBxwzXRFOrFVKXs8WqmUo2cIetWDE8oewRWfy+N4r3lmRD1YOO38rVBNjjyt1Tq+8embI66HLqF8YMuTAO7Tba6lDfg4NSjVRuZAd8A5XoAuvFwD3dQ6uPh7HQ9pdG31fZdyCI1OnC11KCCNwge7YOfzPBjgtcLzb6tkNeL57Q9zQ9zdabV0+5rDfohvVjC1R7O0coICz4ZqngfMhtL9zftWPg3RfUKPJwoNvb6bBU878SM3vvO5ldsY0fekZzAqyNhd7WxyuU/baa+8XrWvFc+dpoLckKFwZ4w2D4tMv3iPeK3QrdqDuYVhqYR0fClyGOSaj5qCcM36r5GnOeXISGkmTuIFVIQYqZl92oHlW1h27dA/9I6vR+HwNyhWZqVsylua3FqCJlBFP+kLiUI6mXfGRD5Yt0OS13g8SMm7sFVlHu14OSOuBO6RwFTG/AuJZSiZC2nkFKp9nd8JxlU42g+evjU8fY2b+h3kFRxyTtgcjvTXh5GxaKaQOJR9haQgvGUFZgib0+kfsIbB0iyAXl/DSxIqfugYMoS5fhlF8EbLNz69YzbkogRadu5CJ4b4ki+wBp9nVcdIQerzuinDDLiBJjwquxrlQj1enS4fprZXOsp8KBn5BioMJtlJXvEx3o0igy/iQl4uL/JxCSnm3l05CIEIJAN7m8QWxINX9wviWUQFkLBE2sacrvd4hCOvkKa7BiFcX9xlvPEQO7oA6SqT1qExECZSIUuPQwi0QGO+01XU0MHc/d/+QwMQVxQmPi0uEUo3BAtG5ZVP+Wviu2hHNVvxRKaCpQr+gXY8Hyby3iSiMr3qgLTLY6UcaQUs6sFYHKdtz6YTs5STenZIk5UWEk1YJ5RQtWov/2BWGLXcuqLs56/WwUSiN/Vxt54a4LvaoNUwMz5p7xyDxqps4tq7Qk29q6KzS7Xv/0mkMORdq/RG+XM9EXNhXMVcVkT2WgUxf0byZPR12zSmpZiKZOrKgKGgtnzzphHYedOBCSTptOrDdu+FWsXskoSEgTNR/5yEridNEwVVKEsjNUeRSuhxvGmGvCIR0GFypV23nHI6IotuFmTIHXXDM5BzqzsJpu+rmBrsCygDhMcZ1gRX7atXKhv3ljHPau+dNkygkqOm35eFg3O5PpzsUr+3ZjjHSVNZXqAVYx6+RtKyrDKdzqvLt3Fqo2w9sZzKr1G7psT9DBGi/iMeMeo+Gc53pz5q5yo1Uax/JEp0J4E3ZPCgPwKCUB/n/2P49sq4suCJomdNbhWkpE1GTWxZv2TB3sT2IIvhC13YdBRm8Ted+CcB0dTqqmi1kAqd7d8lQjoJ5J1IXjEcIE/6RaAVSpQXKN9a6qC2s9Y2+kurJMRciOyQenpjFQ/Arb9kXRPqDWUyKGHqXi4fgL03LBAsdN+UEUx/ggBkPstY5X+DdiHLMcBeNfVs66kGaVvkLfFgl6brfzDiYs61iGyyLg9aGk3isoise1fb0CBAwd4QMV3fVxW73AGdjZKyLmygxXTMbIZU7O4NWlcW8UBQs0hIenW1PYI/ge7gw6Oh5ygBv4xoB3q+AGtyUFB2rdcL39SxqlEHFSDTQ2WF6uCKSV8ogOzrkolP/5E/+IZLmWGoj9ySZ0N/1fTI0tinzA8BhW8F+IkzN4oB+pdHmhl97CMI4psM1ER4eqf0ZEYaWxNh13MyCIXwgzufSZVMsndW+oBJ/koY/0Z9Oac7uPP8Ysr/4RQEDtOBkYhXbCgAfj2bLhIvtx/+DBXQBUfB3q6cTVQoFAPYfl+SPjbazEqWq85DECrNXnS8KFODcUlndX1Mxj36G5j0n9kb62x5nM5csNDqYlCUC5M2fpQRsw3kFDz7wMZRyjwwwLvCPsDnXB2AHd7sxKzPRToLK+SdPVay3d4CkUeM7jSrN/RPvz2/lBwcRdMWEyxi+13GxXN5un8TEY2iWPloOMqRTeh3elOZum3hMjpKEsxNSLGSCAi7sT/+SzhRooWXLDBoRde/s2MN5Kdkej0+JcQ+AhZEVzPchXkKG0u8rnHuVjW8mnAQ8W2Y9ZxbBYc9+CIJZG1dIeXiZ1lH0m4PjiXI6pteoXYid+A/b+6MeA4s2b360p6vs09rbMNwtkveSIVhyfHS78LFJzO4SQF6WuBHHyWPjR1j6VuPdKj7Jesi+goRbjaqP2yXnKReFYq9Hbx2B0AQy06nsmCTdptIYjlHnxIMy34sN6Xh1vzklbIPEgO17AkAJsbDeGlXpw9tYYH3rZWXYGdLKOSfmIdOIOtoMdylQq7q978gdMGKSJNJwC78fQioGqUp1c9I/GHIOUEep+QqMPNNe9WnhFNcJkZXCVc8tWsXNrqLBoOGq+F9gmnX0B/gMESJSm0J9nyy85Gcpe0mDb+/yx7KwudYNL4Bp+yUs9LQw2SoBwuLI3Iwkq/DjOHlMUP0mTk8MRK2q3TmZW+E7nuWdA8NexYm1WJXjQ3RMU77Wi2q6s1sgyjHXp7woRtQAG4VhBFacgOh1m2ZO7MOAPzavDm/0YbxtgTjHYcqZwFfB8ebP+ljURJwAjzJNbXK/tM3RFCr3p7+11pSpUe48MRcpXM3ZzukGzrIkK4VbKSTE/urrNijDsdmfrhJFHUg+Tm/mD4LRAMW"/>
  <p:tag name="MEKKOXML2" val="u8NGd1ploRzgtrb0uMij14iiFTD6GSzPgcn1f9lJ6uFHoR1gOsh0mP15TAoc68gNVxG/JZhFCtBaO8+47FKmgLBBOOyDqdF5hqtlt7gjGO0hroZsyPFdoHC15IoP0L2IJx/EQAY3YDRwFw6HKJY0GU4a6KqFdu9JXy2y0sMSKvQsS4E8VSR3syjC9bt1X6yYiTwGFny/i2qyk7T3kp1HY7fVUr7DIz1VrBWSKbSOHX0HA3K9QddG9im5o4sBPTyg1xpxbnWqeSYBHUcPUVFLHGAWeebiF4NdP5PiU4pvgMUHpugeeOhFe0ZeyQTukR6IHNJxlcEwa696L8oJf4Ts2SMxfB+HU4GiR3ZyRJYQxgHrwoay0BMn69mQaHNmag4QJI5ja5Y+9FHHmX7GyRyIURxBAeHDcDT0d9Lxm/GKRlNGGHRp0lglpBkZR0EuY4q7+D+3X4wxarsvvwsNbILTO4PYCAbuA6vVMx6W6b6l9pKvSfTnFBUicwroU92t5KfylcakCinKqlA1faAPmOZNV0Th0uysLxhSE2akOq50WTUi0gZCQDcIBjLA++JEFEYLY9+WQ8abH3rEeMv1AzJMd9m07Pv7XH/YcCsyRvJf/p7zyQXliuFPaDcttXBGTH5vkV8O70y7c0L5AEGsFaENZUrVpdY4mP35p3Rr6x5wjodTBMWVVH9DSKKPqvsTAtb94z3X1NZLq9KKuS5xrgicV4G+/qx3ox4O8DDpSh1c1asTnLTODBvflz38yZrOudkzqSVNzg1kXJInzcC4WQlCZt/JMT4nKZYJ8oMfR8pEPGSzlKU7mWlf2x8+y7kEWzlapWbRXJoOTrSR1onpiqcg6H1Vhfsyqu8zI0/BERhQkPoEo1jt14WO89mcSFlprWkl5ssX1S9eQt8Vs2hlHBSGF10FZgS/JdPUgIyYS6By65IAkPYH1wu9FA9Lp7eSrNvaBxy7Y16pJ2EFZAwjwliV4uz8ip7GQN2cAnDAP1ZEsgnl6RZJVVQLf8y/rlLj7YuReDmIy7o/Ij2rYtlK+SZyvnt+T9siInvdOYN85eDrjpI7zF84awxLp6/YGgXVs+PLrOv01jNmwYZHY1Bp2oeWO2FORKeieNQtP8AoMY3CO0r/QaialgtaVmJ4hDZZZ7FyP0VyQBs9qvk1dFMIit/z6KTYqzvW7qIQDKuJI7qIDOF8eG7nKvlDdh2ucJqeDSzCZ5aUoMIdZXZD75HlJvWE2L9iteQ5jTL1xYyiuLffc0H1PIuAOT5Z5b/L0/xfI18jQIc0q07NRTtjS0T6bHe2Cg+yupc6XiVEH1YYpeEqdnJwV5CqMT7HEuxZVSFUqbH+1g5/MLAsqBxCDdS7ZFfZQtqFL6ll2W+B1vjszdDIAwPYqa+EyrYckbAG7DA4zdsPkexnOfoJxdfdTR8NTT++HnJAdETKUb1SH2JiYviLqKCRUj2EI9X78w+1lFT0nJcivgJvhUeDntpIBb8+SdbSr/Pendbo5jy1hsDoyFG1P0ySTrxyz3ng8fMCCAhfCGhTh8xpXIkgEZNMe6I8OGamg0D2etFzp9BHvtbvaOjqXxAHFUzWL3MCaH/YVOoke0OMJqidFihpo80DXcCLkjO1MgsHqm7xpW1dT5ZCso+TjixZ6N75/CYLiTh9BadUxqz+5p5T0eh11WsNv7Hr1LcMSqaWhrz0cQ8Rq9z430zjHoOY3u2Y0WVzvxb0pgz0M5zcyifSrYPTLklyZp8oAFdaQHltc2Nu6MgVmUACv6ffp7Fbqama+btONggdcSYSomp4S0f0WN/s6qH6DBf0kZbY9vLP0x7O8AzQOhdTcKNPxhTFM1aZG6Bb7sjQgTyH43bZnfELEoQAc6LBU3mNR7Hj+b+XJO1te315HZTPGrwRpFbyWJ8Ef+Zfonn84SP2Nuvxb1VAzj+zF1jEKQLqU2Vfb/x1+PKqLth9L9XjN51uU5L3iBb0cRwVigb6fj0r2RmYd41Nrl4QIDqpd+4uRShd5rHlad5GVLW1Gnc8ruBKsUjc3yv7AWuFSY2rdFg0rlzepIIW2MSCduKdNXc8XX6BLUX7uYamdOJFtDjNPbwlt3yZQTWrG5rUKL0WsuzGbbwifxrB7UO63RjAUYeX2clmPH9eZsVX1ZLLKuKqZfJq/blVbF03MsG9/8OFcZsKsSCoqoJWZQOItqZh2pMLb9l9KlpIByVAKu/rSjvUsKxAhMRrCOTmgLEZd9v1S7TEQbaMMkRhKaGq/980FwMg31Y0Be7ZSmNhk8w1lE39f8Cgl/jZUNTFFMC5Zt4Zqpm3bZalclykhkq3z43rnvJmRFgvK+Oi+BaWkiPfQ2QKkB24Y+loJTSHa5atV2U51Dv9wzaLCv70JGJtaRdmiRTPWA4NpDKAG/3D0IvGMfW4qzAWBsGLrQKk86eQgMpdgk5WqQ8ES+CzYsBjE7SRx61HbSMDyO6MHOiEFPs+1OIMitYn5QKo8ifqSLnTLF8uG9Y/5PxiowRCDrIXYFhbOvxLYEHNr4qJ0Kj+sPmvNHgiPKm8ymn/WcufJkx4jUgQ6Rf6ctnsqTA+l2U8YKhGCDv4Z2mLJZk/RArkqNixwEb1qePqPyHaQV+h4O2Rwr0dFGQeDcuP7BunR+dx9ds5m8s1OPiUBDgeVJe1/h241EsbU24jPf8x2BwQYVy01uSfNXqdSUow4KGH+syF1RE+l3Q/SfyxCxQ9LfzRv3awn8TkJbwV9my4WdxYnT/4QKsFyClsZ0RXWCXkMYYFIeV/rTuCqMPjt1ySiFwvdCQDSmE8Jb899igzgxpDwlYlmqdCdRKJfB1CaSon9KDArkftNj+hCq9fZ1zxBAu871+YzkWIT6nDUVaXvISQEb8GXcECZaujJBtxLjz0CmjDXR9DIq2Uxz59b+5Tj5kNZZbvJ/iaSA2xVMiskDlUT321vMqnL4cKnhBzh1BAPH9ypTmyW+qkr7trycjYrd7htMGNXiau5ztxXI3HcRwG9nsCsT0C9w7pNh+Uc7eojFJQI0+0NVtdfzOxlBuppybqGebR2OcwZAqAGsKVrLI8h10Nb6/OSRt7iLPppXBsWVaoNO41BMU7bbUiZVCZhTlNQwqh+Q7orq+g6Et19286OILdVYxxc56LOOmRoAH0tE8l9TWnZkqU6VYc3siyma/ONEXlETuWh3W5b4Hvz8xGb2vErscm6g4VmAeiikXPCE1fawrAL99Fuf/cYypDO4fBZKRUs30yLYfV6SPXpYjQtJiJaRjazi9ii/P1VZ8GhRsEekPm8BQjuCpyzYrDgS1+bc50vf/Xee+d3kum+/RAaUtXjvbFJPpIOzDPyMRrs/RhosieEixLeoeJ8s7ne06KzBXz2aNaq5Muk0WF1gUG3gPSrqXNA023dOAqoLqVjqWxTSVN04nbgauPSYuOBmKd+qqGJQda0bWn7tLEmmZMA5/cCltCSiJC5yZ4MjNpMh87fbS+2pZaNStQENa9cUSQ496ZFeKWoUREyh4h23qc2vLXpgwVv3nuhIH2QHe5LvOQ4CimXPIiKBkhxnRDlcfwsmRMhlwbi/X7imWpE5fAWrCCZ5krSLjWTIt/cdO8KMZZ5PZArDISA0bicRtTWQuOH8eOq4WbVKoTfHAOfcTKe/HUoD79qTjmJE7S4xBQJiisTsnpnVudErQeA8aLPgh3Y8Ht5Ek7N20Uzfvl2PCNg/co9Pe+Pz4vlJ4QtkdBo3dlxx8jl6GcYqkWXYGxUWLheMl6+hWh/24c629DepCZW226KwmbDxpq91o3lHuJ3bK3jvyTmOzuIQc5fqmsAt3HYwrm79XGbYqu4LGzYgyjLNiOcxYSGIvC02aZ6WvRDeDO7+Bijk9cai9dyhsjt6T203SvO3Eq9NILWHcsrNLFCh22+0w6MJXIdp2TOt3nYUAdxQqs8F2rmsdR+XA1tOYAa7VKvNqWRkt+huC2mSXon+BObQ1NTM3VK01A2Nm8na5iyj8+3BGb6fzAB4rmHxcK42uubSJT6vtpn8kPYtIbCA8EGbxeB8uJCe2s+zNAWdAF/fndOJ8t2zuj12v19CTcjbhylSQ5w+wA1zlh6pyJdXb54dnY+B0pnM8sEfadWABicGqtIqbt3urzW+00ftKnLH/BN/+KHpQXjrZwUjq5PUEOdE430HYT4UuV6alq5Pz7knjS0HrJ7IYBJ394PhegRYssvC70d61ZH2eQqNLk8tAmJ0iEHKCD+MVug+laMvWGgVbE3c+N+kWgEIHMsBTQBh3oROEsomrBy+FRD6B+xKAFL0N1QUE0PlaFVbogGQMbnVh8MIZSTIlZOszXaMw6hGupwILoJ/pv5QhaapUy9X7JEvdtb2faLWQLnBD+jI2NbN+NKxR1eajjZyOn+LlsmOBsiviDvki9HY425ssb93MwcIQvsKM4qmWmjBAcnggjZWJftV22dEyM0Tj1c6b3Z5j7uNlHDwdhv2z5BOP58NIWdmzeB16P/V+lQ9fgYrOrY/Adl3eL1O4c6biBIji2YlHEqSCMPbt1RIvnqfMDzyIEiq/khKC3bf3PTgDLkKWFA3kN+bkTHIfUcs1OqqvpoB6ZLwZHLYak/qjVN2lyWpDAvKNwMdWaI9xvcpUFKozv+rrZ7aTNQrFMDwjGCKNt/l5qLD2u3Ni9TndLaKZLLlxtSnPNh2RijCIBdSLbnY/Mlvsu6SRMYNvk8jbslA02FuR1C3vgJM7vpIEgOvzosFiR7cE0TF1AYOL7wFls311UAXaIA/lWF6vDH3HqDvsqmUY5P3zn9zgL1PB4zpYgvv+dx4sl1mjFh9afmfNnRbNpmSNYEpP4Jr50we09X2lF6+UkPvIhzWfPRHhL1hZyfTZdXLcw/xg1NJQ/T6f2/QB9oADSyx87zIHipv9wl3o2l/Co7AnhlRiEJjCXMx93DWNMf8BRMrPxv4eBbywaTglsHHV8ikCNr9hfZ2o5Z33hcYzsJLn+WSZ0N9NCgwPnU/KYyls8mNLtyp+dgDoYStDUUNwVGhaokJ5MQSiaLh9xFkw73g5QeopdjmGxWhRtiePhqjarA0PCmfu6zzWxlMUrEopOoXFTeaa1d8REkhNajn9nEp5s3DdyPs/smEmaXw5OSsPiJR0/j91zKkL5aI2g95F3UmxfG9yrzGLuNf3ldXomhIQdDTj+BkSg19V5GyeH7/Nl9MQVnaqSh2VHTFtv53pNJprIvUrYS6eeCsedS7jTH7aawmN1ZroXQwQZd1xaAovwBE5rD4xNyUhuN4v34B0D9MKPRewhHMpQLPWlrxntH17qYWgcdq3sq1Tc39J8pD240E9j3ZZqfw1L3qfObDHr5ZM0Ynj1tldqkQp/uzjiY0dJF4nEn6JPSizsnSWXMu/ZIigk9GksA0MuTVnOEG/pkLtdut/EsTP/F4vAXuUrkMyf+ID4/Vq7K27N6pi8slFGECvMMQndzR0Wj6MwY6NEEzF5B5Y+4fuVzr88D32f32GqjZgPBxAhhDmfKxgJuWp43g6smgR7OcgsG3r5ey2RWpOrkdIBLCQcEvq6Rg8aukC7vR2Sq/lMgX7Ko/YsRdIrEOt+Zbj5tifli4Yg2HJE9rPL/7YS5eCyLyhO+UTJdHIrug0gfqp+aecp4xCo43wqucuVQmn7JiQ7cwveuD8vDshroO8lO3oEwCAUh2mQqp/dYyfbTDkRp/Tp7nw8SkOeVQ9F6pNpnUhOd9dLg5pO6v63fk7mRdCRM7a4hQvhkZ+bVjF3t+8jYlS62O7pkPPHqgfGDiu/4vJ0NZOtCQobtDybyiVzQ0m+k1qEdx+Ku4VojRrvbjxgJTkw42282a2YTNIQ4wGsbA41U1smVVWQ7tSkQwqPh1BzUt81I1+wD3gS/SaQg3SPHKAv5fl+8foJfUW1wYfxmDx8g5SmTEXzab9kxmhTOzPdJ7ZPMl+rC5+685YPZ/633KxcnCfOijtf3oJBXyjRtBk1OTRUPprFqD4N9eYyNwUOZYcJyIeecRjKrfwy6vlXRhD4ZBTAkpQ0saFg0mWCgIUUMT6QHgfiCU7Pts8UeOpY4FQKRycODNLVgmA4ONYR7DW97KUVE3V/4AqZct2glQs0AWcaiebqduGFwnHONpecdvJBiefJqY594LC127/zu7JtKb0vKZB15haW3PIeRndynIGtmnm5hd1Z+zaGWaKhbJDVZZ8jOIKl+UNAIM84rr5PP4s+ogB8oimRih2xYxH+MjRcwcwSjjGYoc5zwqk5x/QJXgweGQR9qN0KoglhYVDkPlxLGadYa1tfga0uECm00+SW2ZpIzhnYiH7t02W0QMXgsPSsYc6daFkzFE4i2brkvmqN3aT0FVUyPuew6VlAF8Oxs/PkNe+ExVoiwrT3f1Up45WQhgrmMP0Og/lBT3lS/uw96Gh8MeM2q5Xj2E25dMqPPB6j+742+fQU2aqUwR0jvyN1dpUxAy7UhtOZ+SW8Boza+LyQ28wmsnZenkhh+LuTkPM6291NeoCbcvscRHndUK6uaHVa6X9XZp17N3wRsT9yu5kB4w5uZOevONb6KH7vzTtpcJFRtd5Jt9giTL0wh+pcsJyPAXAS18tgsy7700FKDOrJ2x0iL3qKtZB8PrhRhRvUMQCEbiur4IoCPPzypZaeIhfyWfvTZlbQFHszQhghm7Zr0pua8RhMBebNdrkdDLCfdsWqnddbyZusvdz0A36Dger6THxR2JE6q+KzLUPstuZw+xATTELi5Oic9C9jtPsFPAgg6IlcZYvhV0m19QfCv7o44W1kUGgw1OUj+Qyn/VZqMivx3PHotomG/syRcUCU9L75CAAR3e5EMnb6Z7Os5kKN6RpwxsrDRDf/Kp+LJxr54v3urzRb1ZoZJ1csn/b29BkjCFpc30gIUM5MVMxsf17YHIdUWQQ2mmYAWkskIrSRJ2i+of269LCJQUjWNEJKUCblTzUE7BhHt7TKPTP2DZidJDytlv0VNOkyTGesOgSaarxySoArLRmZkVCooSuFXQJM9hFOcV1NN/ewAn3qca56uyyS2l6w0jTzS5kq0hWk+WU1j3yQfDKHcdi07Kp6qgdGA1c3eaXvft57xJ++zxe7XXxHz8oQ/cCm9bqqWpQWaLXp6MQdaYJ+q1km/GhF3EWkomo3VdCJBYOi4fjyhMgRlfU/Nephl1ErFSpNdndJ+CxcnVtTpWXEpZzoC70kj4VlBDapfIJGGeQGFSM4jm/Z1kzekYuK2TNRid6mHaxc+MhXikhXIo4HF+umzSe97JxgNMSEYd9ghYy4gHg2dPUIhe/ZEXkbArpDoUQ+An+55Vima3djCyR50PUtXtNMmTpJumKnNU7bYuxKmPkrF9ALbUG4c8XV36I5yasyjT5NAG1X2H1V/3JevcQ2FA9sRGJ+Fzf7nAt+vxOaWbSpmCSDp6FA57hMptPSJsyV3hMpHKu8/62nLV18IdcEhmK2v+hDCpwoI+MdsAtu0CjBE0hkmsTqfbmkSB9gTIGE5S/qcNnyGwI+qPzevPPL3C9432nwB8ootqoshjfRzLBqvMuYounCK9cxbbwp73xXFgz5aDDG9Oqc2MkeXYYE2Ylg3TsOB1TdrCUEDP31rc42G0lBvO5Em+pjqjWb2PuTZrg1rRh4Td4xz+/fYMhJeGdqVyDgUxgJ8gRSA0sLUs3xp5G0SUEZ3/eeoGSOkgFoult7rHheChN0T11nHbaqF3ve4GGxa74pgHwgXErXbTMu9ds367T+e09gdKWFmnKJi0/3ka9xTbueHf4Vzi6g8GQNB19o3vR+XWg3Xx0Ssj7PjmjXWDqxxXUFKKqwjXFutYAiTsa7waL7UEILoKQjEWxB7xbBKW0rYO3AmgQ8m2JBC7tGSv1m/Pb5AMrFZnXMn/KnlJLRXFgPO07OjDv+xmUT8I0h6yzsMtbFyDyezrFINt4tZPYz0X0ZrCMjw0ve7djG7CbiFNunPkiatwx+AY0jZtRLaohEvUVjMxWhsP/7Yz29Dy8bEwSp06jRY8epbgdGnTawQjn5f47IKYTpQd/uryV7ySZNxtYvsJymDEg+WUIlqz24ptQKNYzBdctEOJDhiBihocf85CK31SYgAgvGwUBSFQW46SeM/0+k7V20kHfEvM3Oc4WvoZG+YFAiSOT3iR8Dz9FwIxILt0SxbXvKdh8zY7VRjYxmKFNWMPWnGw8BnklByOMfRcJzAyIWu1iXiMx0gg+SYiAw+UUCgbOhG6um3DNKLg5AvV9j29xYl7mcRP1a6dhsohx+6AJs+KDmjXEbzJX48mCQgRCPiVWQ6gqRYFsmUiI+bmiFxBuv+7NzqHdqEDrGJLid5GJl/kxFPemkdityyom9vNicGSrWWgF/uN5DhwWIdGZSQEon/yZxkF818I14qjG1+GtP2VS0pD0b+XOsw1WCnhP9WNq0NqAHtB1nfwljLEfnzmPwZWsjKDxHiE0VBY92TXK9+gOgchiEBHQ7ezA6da9N+Sn3b9PsmzYj4HUS/ow2Yg/WBF6oOtOfrXlkaqz1k4iZJowfso8NgnuF/618LJsyhoy2BjyPNCmugxNLhiKTxoZIPAZITsf2HR1ku4iNL5wvacfwRHbxruaWPin0pRHH7wwUuQC4uLEPFeFNk+mITHHDC8cd2YrxNeipLphx6VZNqzq6843fgRpxRZ3u6b7MvYpgJ5y0dX0+JFA7xIQYHO8GkCcgqKOo7uwkMZsqGqFpOLxc4pjvQpfwu4hqGPaaSreyl6vqWKJkerIhGWy/35GqVuQ1iH99VMc0HmyJ+cEtBcNM1Mmne8bTnIv6G3qwtRfP8kcgzOPyiPzfmKQDQXd/0Y5DrTEiU6CHCm6uwtCcla0kMuBY7lHc0e3A5vumvEXXT7AoY8zMX7luXiYK42Nj1w7DG6lW2Fm2bYC7tbj5qX7ULLy/OZZqM7XdF/Cr55qhA+86RQ9oqcser0z24Mf6DdbLQeKhOdm5mW094hEzR9qWCgxNBUVVNy35DYXWHONbvEOmLZ3ejysqkQHRk+lxMkCLxU0vbII8lfeY/sAiPyqvdzMHb1nxDMA0i6BxrM+U5uEP6PPuyAIiDAicUXeDrEmI0MJbp/eME6huDIanwnnCWXB8X2z1PbgXME9RL5Pm+fngHdV8Q+Cg61/UTFn9cVOBssfb/cbs0OEsSNjshTy6yT9hNTbOn6Rz4A0v/fPzRVxd/8gOxtk7HCyTry6OX810xXYhM8Dwva1s1Svczir5EcEO9dnh38YX2H9kZphvv/bi2hQACzWSGR3xwSE+bjx0r6lLI8t3VNojKgXVd49QQjbMxkyhke1+zpzvm2Tt93O2v9maCjvm+yu2zxtddFGd8ZQn1eysVCkS9NJgIOr0Dr3FfqDZq1GsNt5EAh6AglCix9/CPjUjm3Qi/BEW767CPlwpn2++EwMN28TlXuXELWUibR+YxgeL5oYYCS2jN9jm6OOxtrAkltz+nZmej8PpQhebrYDDIct2HeWR7+sIQqbWNbDCFhqcKhUev/1JwvTzLaR7hFh7jYeZqDbMuJ7UIEjfMmlaxHVD4+84QRjuDS501R8ftcL1wG2wPzU1e9pVDwpkIc2QYv4e0P7ULL5Ipp+jL/vtdtJtiMD74n54oOwGpHgRHTy6Py0qjiHtwyBSPAHQ6K3/ZtqooIVqjXjjPH7K0hV0MMWSaW5u/C/rs4QqM+M7y3m91iRCsVWTlt+PMYdY0BDpRkz8q41IdbbmwOHzkt3C9ucGBiOWyDVPMviUgvGkB5EpLG3N54BswvDe/NlG4kjduOg3vscxpMUzC9h4uxFH8vtfTUkVBn9BOziIBq+N5itjECIApVMRc9d0wf5D35pZIH9Xxb6Ov3W73FoD3hTqUIB2r0U7eaCADjuBTEjLKIkZaxtwh8udPizXAPqZpAC5OPvVI7pkQRMr55/A7KBAmavJzdGl0dyn1bGxx0aIC30Qq2RxpIwbCt+7VWS0FwqBAh0rC3VpnVI8hUzE5b+0DuUQosQmxUgIR9J8kOglsEPbaljkhGHoZOVESJ5iQsrcJh0DEEj/opoN3wTkx3H8Miyq2c6+q2wExkwFrdHdzi/OlmJkOGj8AyicjR/CoDxL+LVNI26wFhuIbAUS1GJLpVmYyFMGP5juMs9sbuGQoIBomUtk3xHvncYT/wvOD6ZJ/hDcwnFbz3lIN0qKRlE0jn6Rf6jI9z9ZO6/OHQWo57Hn39hF288mtIHK2Ahs2yl+l9jQYv8tk9nuj5CrnOFmv7IVyTUxOr3MImnCyUjYZ8rbiteQniMyiK4XPAomCVI46/hNTyYLsYzuFvhgWN79DigfL2Rz5+IGokIAzzdsz5sIwHqMbGbQXpCTh4PTYRf8+7nCFh3v/KaEL/atQnAhwnihn3HFPYPjY4Ra3I6MH+869Jd2UQIx9qRQNHsP5H+DHOtxQb0cLLLr4FM6aA7IU07JiYSqourlsaF23rBpnnTP0XKWIFz29F4kIe02nnpd9zM4ke/q2/nVg9aIerxLEh7PPaPxf2B120dfnxyv73Mh0kofyvuiHmAEiMXlrPvA0r+bjaFXgvR29J8hFnvpgp+fCl0Q9RaKsHzdoE5ftAEKUrNcixQYdhTytbf+hTGKToMlTe5CK/VnjRZ2eta8Lhr+J1nCF2xt0S7m+Cgk0+cfFdBZMSUfx5ITJnDkFhinrvzHb6NFuTTalioR7XK3milMMbvNF9pL9Y3/LEhBZrSUCX5/3WltqUqljpJC9y0QzBVV9bYsi+n3n2QvNmNv8cieHQyuHyA3lJqT4Qyp37plrSuxl+KnTO9b5xkFQ4m6V7GKNYEXDM5JvFNVu8g4GXgSGDyULe9C0dUbrjuoiMHCI/Kc+BG192iABldAoviUDIHa0AMakNb87LIK4EZRELcjyn5YPApY72cuQ8zDr40j8I87Vpr+lM9YflxkNvpv6vNke+ameZ3avhgguhL4sCpKtAw8oqf0vJLah9UU2bY5tLL0G4bcw+4AhOMzMoPi6pXT9J047Pm27Ea53FmZ+5gGPppXJXb+KWJvd9R7qvTBd3mbHcEoajlIRLOmFrpw+nXvq4iHjIfI5SRRyoHVHYcdj0KfDO4GjYoUWvaLRAthiTACzUyd9fq9Lm5QUKAY1zpFtOir6xTHERPf5c1b+XGc0sz1K9Oz3d1CXKJ2GGwKHrW9fWrY4VeK9E41/1gXvHHd5NjeJxCkJW4tMjZVG3qpk6G6vMfbV52Q6DVCmHiMJB1Gya2U0uO1qE/gc7m/X1S13iZzZPxEeERYtMqjdHJTRV0UlDc2755tjNmGQiUSa4MJYUPIs0/a0FBldpH0GkV1qd/4N31mUQgOJqGP56/WKrTCblhhb6R3439JmjFuMP0v+yubtH/IS17pZOSpJU9wZqzaTQPoieL/wdkllwaqLd1WYAYGtqnfW08LkfUYHbrw89/NnqrzGDJJA7hsVElhkMy6DAC8Eo13Jx4bnz4ABufVYXVB5reTI/QZvh0MqdBqmdnayC4HdZJxsa4bcYpIokkqqi7YlnvN7gpaOg7Nmte8wPGwg3IQWijKgrr7TwPAt5Lbt67gpLdvDVOw44Itar3EY47c1uAuzzwGZ2kiVG1cpHxna+pIPUN2YwLIuBe6JnS7CM97yysPEGLOH+tl4RTGmJNNhLkD1W+nWxjK3Q+Y7U9PN1+QbTNxBkEwv2qTdrxTkF2BEOy4tgK1H25tBX9Bmk2Z+SiihQjLVzWNNazBcbbyJ8Qt3Yl67qP72dXjjQGuGvy/sUN6trvjq+TcEODLC3pRY25QrPdbAV9rhk1VMXGLB3SJ+s7a4FFrU4UY9O98L1q8yItrUEJMhPwgcq0xIYXIloxlUIbLKJ8+pk5QHPihmsrQ1C04D779Kjb/S66/zXzUXRXzE9Lh+sv6SoccQWTOHpsjtZByQskldh3NbxJU3oz+IX3eI0neA+GzP2MXfaQB1n746G7z+6q8bsYjH2z0WwsMF67IlCo8HF5w6jH5gLivSlOfpTxF0qfSFXVn3zbAqoDQSx8ta21dJXA6HlmxKwnoVcVIekKVrNg4noyJIbGpDRu653bo3ryRBvrS1UkV3aAQeLQ7rpYwkKxvxnPnEa4u0qn9NnAcgyrCMzHnmrHJOCvJa3ZwghEj3BClgEfVGChqDkviHR+wXmTCcVhPKptMtyUyLYbQ7u6J6Juiw2Uh8ck9EifRF1ZcI0k5/wxAZJyLer6DGsfQhEbp8VsWfgtmD2bHTBFcos2ubUg2Nx7hGJeeSEZmEFS0hUJtd/x0mCikegLTreJi8zGtI8mWyiBxqJ0w3XTparU8eioJTIFPJH0YcbfL4BxfIxW8/DX49D25UXXA03nEv11TOFs5csIdOBNpZSlh/ErnMaaYoUml7PFnaqYNFvbqxcM/Z8qZTflqzDzIyfFbU+d/DaLCqTduk+IRpATdYMQsk8O4qA946pxq/A3tMiqMOc1MqqG5P6HelA2VuQwj1dxyngFtPrTnayFEB7q2C/A0gMDzgSqkcEcs+WKmSG6W2F1C7LcSejhW1uQitrZ4uwwmjeY9YR1dwqR9u7F+vD29D8LjNWSP87OBg1KD7fpCIhCUGoUNhJw+EAYZKdf6yAt9PLWppwGuyWE+7+mjwG5VqRVBe1kikmK6Y6mpYG/TvSuMsWIiklNW3qy/uzTGbM9DBYFSpwQ3yzby/zQcecaX7hidCuidYNpSkR2H/LbmhZkxWB8SzXmA0bzlhFTjNGpDZO/Pb4oe1ZeJnpfQ89mfkgKKulworEjBV/gxcPFdA8ywUbpN/AoHSPu11sMGASh1Hbr1YRjtARRSPLwMl/IW3QhwBiqvkAzoMlQvq+QRw/8E0B5bb4UXKGs/2hdOLWc+W8DRiOfl7JjroYFq+YHfOzrFs1hzR3D0xvCFR09ICEjVdXHsG0wSkJaP1E/y+UvuFthjPXG2AeuSVgng53JvpFqTD4YlFYB/iCRlUE+YGT56UwSUQD5DhCuFJbHkvFqysloBkWSKOIJi2uORvA2NLQ6/q+3ZcwoZ6iQQFZgBqbLRG3waoAg1IwfPGLXwcH1q698TVOw5sXULbH26Cu3MhnslWdtU8q0HaPY39YD81pUdcq9kTC7/HfiNfo2bTeO0e+cC0egWngEfTuE/t9vWdpft+mE7MdFYu78t3+zZGXlohQlrGYPMj5uL/+IALH5BVkMB15o01d/PcSE8o6qGZWbrPXCIXjWpeK2yl5Tg4GoI6YTu/u0006k7DlrpqV21JAeFZONLOf8v9eTl116lcz1iUxbwMt5KTHz4eVYmP1PLQLclobA4DdwV3V96fMPH9q6HBzOsivswBdcdITONMuu4BYZABx/BTZp8cn2jt/rYhe+78/4No+8oiPmsLMA0ynopB3YGP4RVm3StCfkm6gLhT756WDlfWhrTGxo8x2xRgvN/GHxXJbklVky5nEfa8DI0HGQZtna/2WMgNy7RqjuYgvRv8NDvxJKKtAfSPRxcScnhs3QUSohEj0oLHpZKL/TgAikgY5PK4VqALnBSCeiy0nvrSX+Bg/k6Qu4TU2iyHXpPRJKuv+MNTz0hRgl/23mxVgd/t8qbpADlQcFA89tdm8QOzK5V676/T3OBtXLh6ArCLPu2334Tv3n73s2lFD8kV1Etbi9LI0RZsAfxC6d+xxYA18U+hflygRAkho0J4+n6xT1DIWl8+DfwkoKxbsz4LqDrAFzAKTCvtHkmOoHf6FlVT/6ogr9zKswxaw2exelLU1gnLiFZ8+H3S/VRD6BFpP3m8YyDX00pjf/SY/tOj87mVaMWhHPaB2BI3H3n/VVlIZpHKoAqDq5SDAzE0awfJ3gPT+EtJTp0xBGePTdsxxdb6QfmPmbw4pDWI6i7AAplJjvlcPvCl6nVLKIkfrXVbNcFPzIgaHB+Z/0VCQ4S4LCvATLatZx79dIetG8kiBeJP4Da+DqRKeHZpjeZ8RTFmxM3qy72oFqokrChN34LhPuueYbKmvunAmzHQ3KOn+m/11IDn/Nhb7u0GSj4kVtjH02Jr9O6hiM6ww9iVbg3/t8zvc4w6w1Ei0j5YQeu/z8lXG57lhFjtAqDBV8HDszCBDZQDEKmsD4OUYP0bsgh2/DDTsqAiPFOXEPfLbNUi5Cc3HM1ISNNLk+CA3yI98yPtzROAD/d6OttpxnzQu1kqEWbvTgu1TZMlZHnv6Q84jfOeA30G2b0kW2AbIJb0y6oj28diYCc6bCiwGfqNCY/yqVRFpOtWru/A1NEpTx12DGAgFBA93k2xsyTOVtIDKM3AQoTA5IN8ajFOrS1cp2OwWj1iagfLxYOvzLd3oM5Fja5keBPBCzQ7PdwyVeujVLziM/AsqEeO+rWl87QMtuWGA5AF1yVp7JodMT0WW3edSf9ijvnfQTz90LYim8CKxbASRnugZqznTGHfL5nBz5x/gDg6aMBv1uCJtR24Zcqao2v7gFU0ewaVE6Bk8D4eqo9qdcd/QDSFI9ckWFcNo6z0hvNQh5ywlRq/BF5PHBFt/Ooft7t2zxhnN8IyZ8NM8tBEJiLxOsKM/KXwA6PMncOZOICzMID7TFwXpC32f9l1gDHskdLu1a52Hhw2qWXbLB9AJmJcyi8ysUdPBZpYil3BJwMk9tC6WLu/GJApyU1CFfIftLDijm8Yiv7EDGjxfbS4Mki0WIKNzZ8yLMRFnbu5lvnUTicqrxYwJ2eGiSaXkNW+eiJJ0UDKM/VdXNznOHOUnaq3OQgy9/ep1fTARjBSzB2rjIUpi+FDO86wWp9HsU5V4ZGe3RSFYR8jJ3NnS9jVUsxULysQNaDEmiYLjxjzoxS71TlGJzFwTvGFPTAvGVeI7ExPKvwDD7e6LGf3wMcWsu8p/N3i1QhTfoBLhLxFtUAruqLsu68TEq65l5mFy93/oiQErya1yVxyZvYy/ft7tJeIlNosGqBoQWkk0ZrJp/ON0VSQVE3fdCJ8cjN6mfAwtTvjXkDvtOws3TImw6UcqdH4ATzoIXcQjn2+pKw/keQUDQfy9IandxF/eUFyN01xMl71rEoJKKCxU1i3tI8yjiaCVziBLKXN3gzE5zFVxztuR1J0wCLrCycZBB/BkinvtaTwhRRsZpZaXrmnR+wzYOnxJRhj/u/pqQlcTwDvYiNzy2MeCtSo3cAx8QbKspBk214+WC9MOeISKocC2CaIKDpWF+zjnnHG7xsHGiegy+qNBgNngyLjEQeOcotTksHmA2phGM1/zGYlBaYB6hQbZ5b24sWYEBi8gj128HFp23tRC5OGWr4ephoX1t5ZVLRsZJMpu20zNLLgI8i++zVyTv9gieIinTm3uUhAAe/NSwyzziKYPDqcdmRBVtzdiYECK1E/6ygaKn/dqHvxu7BbOVvGSDZIfdkdZ68b1jD2Zxc++B5vXZBR0lAbNjKrlcA9zrEyOXo1ufpCJKfVU5195oZpsBVAvjF/NqOn57vxs78DhsIwK+Co8eBSKsZlhdxiL+0Qxu2iN54GB9S/u5VwrG9hcG6hIuJ2+taVZqE72CrcQlMAXT24FtSNQqISCbo9j2hQZMzQZBQgg7LbkDVert222LBeXVNDvPg1qQ3tpDZDf4YticlIcWRl8oSYxb6LKMuGWSUW6VSLX/HQwfbnkjLzPzy+dnTVuNyi7+6cfvSCigL0xV/ryFQiQwXLO5U0LMB8ofTt4SNHmthIiadKMI7uAf7rbSx7srluN/orZsuDa2AAYs2rpDdUZhEzl5tkDlSLXVRkjbJnDatC9lWS8QJsDv0Nm7t4pq4Q7DVrr34SNPBbu/KEMLL/4hqf96G0nD1vXSgQgxNXMyl6FqEYJX57KlWiD3FQXpk4RIpA1vPsO6aSz35GAc8HEHbFd/b9dhpq4XDVr7J+7EjBdiplBwWRzByyq/YkYPJ0aaVZ6xPAnXYE2aDfMglrkRKZeYuoqExMQ2bgjOn87wQuTeL8eLyIlCMz12faPBWQiF+vOwu3kaM+RZQS8ZwB0CnXOxNHz83+slMLmjLV3TEPCp1Rhm8yna4HONqT1vrr1T7w4qppYD8CrV91vIMTPpSEEp1j208LKNhant2sqG1uj5//M9dS6Vr31iw1UxJVgupmCboVVtqpNlgT51E/YqZ2pNZLDBZCjqxl1M5vdYyqND6+aNK5/pKx2TKFuTVPiUrhFUSQ4/lwiX8UMMdiVPx5OyC3PsgU70lyb+SdlDhw0kcK1vXYahN9oCi9n4XNXmXkJjFybbNrjSCys0SZP9mkc9h/NDfJ30PpaLoLMqPd5zhrPqZXSN8c9ZC/uMcZgKxQHskLaD9XS8Rf9nYqE0GKKo0Zm87VnBJvQIfudxHM6vaDCPhpEWf/vK2NwQJKz0zlspGMxV0XH9uwdmAAFSL0dwnZsBjeexAAbl6OIkBgVMHN5qhVTSP9925nelTrdDbsd7GwcqVpahWK0TZ++Bg886jI0PnjMB00iTT9zt492wC+SP06QtBEJ429WbtDs2vl+7Cyyam6d14lpWVGi2nR3kR4oSJgsbWyyYem1I8r67LOk2UnIOOC0y0BSUoaSItJUsN/0RsiS0A+BTXllCMGPYOZsdsQ61JmdyqoVzzwFFaEH6hSw00cr7eeF1ULQOQylIpiUFVszGj7VSHrZP7mMo2L06WvchQWYbl0MAjrXabpX3CUSYQXnEheS5t3ff/ngoAmCEmX+bCBbjb2nQdSnnN6ZS4qhhwRlBO/a67+euaZ83OocgpCxF6H0UmpQjIydGhRkJdb5mkoMPIt2nRCIjJ3l9BVBNu4GQReiNyzH8e92MqUoDJ78vAAaIrH1aVdeFNsHgjqH1MNucRvRE7gl7kvZ5mvdBNqlLEK4/rmJaDp6OeoHkbkclOfVHrtyerZPMCglvDloabXkZtgPYDC9++pXcG3R7q5w3rvpYAeWQr+XxYCuicysY6ObfTbCkmDXBtPus8y9OmpsTZkvra8ATTxb/7I59oyvf+7oFjd18PF+afg+DYLLY5g3FPECsDMS7rVS71yNj9YR1vMp/iSxOyqI/p5GsMZnblDklJWRBeqTOXLHYfO1qiSPK7ZM3PjcY9mM2UvNtkLLqCAOZ6n6rORfPunGBtfR+GKpjhFVbETCGxhgWhxNfQZ+U5c0bajHnfYMNwlkGwlkYYqr+lnhelExrll3blHQU2Tu3N8+0QnYJPj0bWa66sNvpnf4bJ8PYkWlG1Ij4JJ5Si3Gs0a6rHYY2ttoziZC0r6HSgxnVjnj5HPeFfnwMGdnxQMkp8USS3y+fFdHROmMif/yq6Hr/kK9jyeX+lPjMcnEZelS9z0Ciea4p3vPhL/iArgSLfQZvd5j6SEZbi4KLcUBRUno+WAO6yO1SO/6etjKLJMehz0xeOyLXuz8OFcrkbHTjM4a30niwIai6mgYmeY2qkzLj2gOpPt40rwKpVOdp5ImnHOCRZBjHhF7jA4CpFs+oTww383aWlIUiEAIKZgAuSksBveQoC0/RsJw5dcVLMYFO5Bd8KH793iQu/g3uhJ0vBV9OCrILn1f+mVFtEfIpHO0PswKdwCyyA299zOxI/JgFw7VHjM7JI5kHY5atyCjW4fXfSFENe5t9tQ/JPfE3/S9j2EnL/8fxHgedSAtkWwemuqL1FgHA5WV+bvjSw7hLiqmH4q6TnSlXS6sinxUNUCW+KG3FYFBDgqibwaCEOWcdXiTqqfsbEUcQJxW1hpMLnh4izcjTF+jwE6+JPHOCc2bKBYp1IaO5ifmiDbNFG0BKqWfp8jy9Qmg7a3fhcT/eIGJ09gnGvq5hj0DbgCtvst0Fk+K6Y/VI9d44gMdVc9xoMaAD3opk5cNRAQGYM3hLe2kt+EpSiOMff0q0qo7m+4iwG427bx/rLFznzAaY4whrjiVtgC+vRcUAZCEfxuoSESWke6Gm4GZxVvWD+lgA1RUZ4/6yWEwaTl+L8xq9XRFCm3vIZmYOIQzF7QQWdhNDBfeXZ6Eqqp8RUnNU++n4xOIgPIyV+ud0rm1jTWHyTNRUqaKIfbVEN3vtoGMjXxLUiZO8e2mk64qjHoPiqFRFsLtavkg52efUNFKo9cHiAfB2HGx3kkrd01wYf3NeT4Y4YcdjQ7JhzJcrPGpVLsvHy/gaehosiT94gUxmBK8I4a4NWB+osetYHKdvs8JvmImbsCEpwbfjx51qH7dbvha97xHXHVvG46SaCS65j4PrN5a5Ugk3dh0v5hWHYjVXybE68GsdUBYe9GJMO8vss2zvtqXDHxsxAM0WAFbRT2eeKlo0i9rKq40i6cBiJBuFvZTOKOzHessghCd0lqLGkyjysYaXvZ30wpMeFl5AGEDcFmE6ZkVBouZeFDx5+odWCJBklE7fB9LhrjMbP2QR21BaVWPpEyXbwQcK3HAvdaDF4bfZAGS/xYIQ4NamUQaOwnp000A7nWexRdtQwKiqpF1VbHRXlYEP+eWrWsBKX4ZpJheVLFvatVZnOPUuP6pgqnI2bkUB1fLRyE1WS9+rB+Fo8kXy7SSUjvsDAXfjpSJ7IJMUYnYrUSIOlJbM6NkK7kHmfLUDpCOpNxZOAhrc03Sy8KV2jIuOXVFqwfCTykiml88TD9kcoVz1fhpGAqBBnq7l82HSohnAzVD3UG06iExyR0s5a9g/J2yRvfrtXOtl5DTPoEgcovNOG4JYJMX9eMgKsgiSeKGHTYaIQWyU/cY75YGJyz/sqdigGv+pgJaRwenb0ODPtA/lrR1/xae0J/DvYiyzpj9yWNZjyRtN7/KcSpvTjT/rKpZa4akv6kGkLlzs4vXVG9duyGx1k1xvaPAEBuIk9YjKmjXFY/9q8O1dhVsI6of4XadgCfSpCmlOZQry2vvlkHr5k0qhCwtBAL8hpIews0/vSjUzYJ92QPdNWRyNaQnPXri0ZWY3OJURKX++mzQvgZXwMmj/+qoMhoJGiTYNXFwMMLR68niGpGgChoxg8yDDGxaOqfIGWy/z6jjxE+HTwfsLoGI4oIGhfrQ612Lw6CFRtjUqDz7p2QUlqegOsdUg4+E6SE6AwgyPpU66KEwKc25EbmEoO7Q6EvaCbY7u9NDd3Rr1ThSfPehvSrP0/z/AtrHbjLTLeWeRqnLMeo4b++GTbJo4ZrUUGLd7YILxyT2T1XUCnuWxE/ftXTU+HFh538/qQgn9wTo02QYOsXtF2jnoQXrV8DGbbJxZ5dfLi6s5Ot1olwuxI+N/zXJYaFuFfix6N9BXefrIGBVfrt97DZ9lFCn5jkXh9j53WFQE+S3KH7ywv7d+qYU3hTgdvTUQVxpISGK+099taxedBJic+TlQk6x3JyC1rfgR+s/GWjDSSCNtOcLx27xtayR7pFwXtfQNmlgYiA4TQS/u7+d/JhRisG1cc+VELJCSdnx8fRo1EBs/yRFHcJJCq2y8E1/jwzSNkO4Ow6U8nGHaeql8QmC/ZoWKdC0U7agDie1NxhYJu+d/wpg9mnY5SHXwtN+gWQP+xqaaGKMm/vvDf2c/XxBwgjA6Ww2g9msYIGPkjsEpH4+2wWzFp+Uo2FLqpPPa+7jNACxDLL1YIjxye5FmSgHF0ch4YmaMgYxUGiLX8FzEYqblsNjVOWDrV21g3ty78XyoTTX7KiRG73d7I5p0EaPHa2DNXDil+7/3doaenrMij2/V7gcRlJ+STxxqu74Mgo2cVplTXXohrYY6sy+UW/YZP8L/QDodRSVCgqQLNz3m+5/q3LRT0gShy790ECt8plDGbE3C9aPdr5xai1p5rGE5Jakn3jgbj/2phHfHcH6XI+9FgWXmS/HvhagnFIz6QJz2OFhOdbGUBtoecORxjxQ70ot9rIkqPhiZEwJg6qRcRTgwrQS6S+rgybW0ogXIHXDT8z3wT9AkhWqXSrU1UIhwDdPOyySIdBX6HHUDIaMhXyfpm06/rVpH473JkR3wgNiCjAO1VzBUJKQuXZkm0v51btm0lqgtikOKh4Yxlu80kysYlGwxl/j4k+ccaJ6FBCqvh2V5gzisCuMpHalzkCk8RVzg8rAXYbIC9hP0+RKeMT7BTEurCRHRd35rhZRVyrkL7jnFrZYqNZdbkymb4vGOcziT9scgaLCzw6Reava2++PpviSWWNdsUYOfyriOJYh0nqyz+La8oZi6xzQbNTQEZp4JL3T0Zk1S3+l1mPuhWat0MfzRyBOFv028Syk25CKyZvjNge+0mykVrZ6bPVZE5wuLg7MZV7VpAz8z28Rg6MTWYRnrofxp5Nq6jy2EGqRLGHYQirK5s4QBQs4Mf4xlcpmFxL/DJXJJVtczvU20/41At4FEmPGA3oRJ4dqKM4jTXtNOoqBjHRoNZoWHMmOOWr05YYirR1/ZtEdkF+SKxLJIEqH9576pTK9Ws3LNfDRCr/509w0hcRYCn5M7jo3xGBpzJbtGi+ckx01/7P0yQ6oyYWpxu2xFCMxUyNHnMyg4AQVOmwSKnCYrbXjHPZm+U7S0ZIfx5xFYxKfBW/D927aM3UO0SRdZ3go64gPKLndPACbJA71ZQqxC/WvsCrGNgLjobUIG9Qp+A3vujx6ZnmNUbwQWIacfEFOUhiR6PhM8j+nyvN414tUBkpb2olvoZowdPMmGlFAcn1cvrrGD2XvO5TfeVGT+xFtqqni1EPj/w6PmGnfkAEkA1jix/qCOCRH3s0ESTgv5WbWy8zI/GUM8lOh52YuDuqGBsA/lDuRASpAL0UqZpXsPK/S8yUtNlDtzv6tun8UJdAYYF3QFWYQHEKx0xZKydNGJjVg/fZsz8xnbp604QILJurbGDMEsMygb4JxCDzKdd0Z6snsEyRgrq3CRdfVGg+yA2lhr+D+1KeFkLTXUL9LfftMqHzLc6n/0Pc0aYgI3m1hsTxdgz5Ro91DcXwsVBucmFfB5FlWHbztxh1rHFmGV/YAC+BfUEybhBc9YZJ2HhVzzDLspmlOCQBFSubyR6mjtGdrg7aDFpJjsH2KAHSPWedeft2hRAGAyPou3d+SlqvS53Gm7bgjdcCOULlQeWDfOcbDk8Xgg7y1rsfZWN7MrIVj2w3zT7s9cX1DajlvTsOCxDZKrCNBw14iFTKEzuRT7OADr1itdlc/RL35rGDt0ajHo8V7neTW6geV01PRB348fFsx1+REeoj8Ke2dyFc81zaTt0YK87aDZQk2F0Q+WRvtLBQWx41PyLiLexS/i1OPWV/VNx/g8aePlpYPc2hkWyvUJZMgN+2jTiecR1WC0Hn/ACv3tcndaFqVc+kgmbBzRBEqJO6a1jEZROCrSgWI1Bd9mMQVjsHBNbCNPfNIBVMp0bT4yPJMRMFtU6z9DrvIl9V/0l0940cKY5gUgiM4W6C3mIxSmZU1KocQoQXCTNKyK0Dqu6CBBlDZ0QYy4bWL1zMpqDqElbXGGXfdSjDweHZAlBhFAcD94BDyXtI13n2EFh7Mh3JrjEb1Lo+XKm3CSud9HOUQt8v+qaEh1YLL5SW9qCMhC8jmp7xoQnQolNcX/Qa51Urp8Mx3uzu1XupfjpcckfewJXlNwC2hcGrDroxYJD71V0WPnk4CuVkXqFQpd1JsVNcbKGmQypRk0GBxm/XhA+0BQipDUfTSpRi80fykWPqDY6FRVQqOFWVSo38MooeSoJzFYYEfSuHchlWiPINwwgBQGxvcZRj36jT3eZFZR6AOCv3HB+j85R63+wI+XmW/3sNP8xFHCiFTA+T8SxqOMGvPgGnHjA9bdmZk9YkMnkiWTAlje6r/aJF4zKbrAXP7gByTZ67bEGSesr+xSbtP057Ck7J1NRUkq7+ZgPs5HvfOkft26eS3ujav7TFHQ+Dhe/6Vh7+MDcoaBIQI4p55YcNXNBVpS2g6ceNn0W9wmEp6Cn0X5bxEPy8NU8OtdglTM1FxWc6sZlTzODEkWIHaDBXyLriKkWvDpEsmZrLmWBB7/Lpu8FU5kPehzxcL+rDKH+xLXzN1+y7HPoKi9MeaDy8q6UyCckngNTDu8yzFNFpkYE08HkD2iHMezCluVG9Cdvm4URLdd1+bxWy9J89crsW4RSn7MJzF4CLYP6vHNv22cv0F9QNusDpe4OUTTei6TIswVX1tnp5ErsiI9igLKO3tzm8Kbdwq2Bx5HAFkZyEadcqLiyWa3bLP4R3YMbfMb8g8AbuEeFqhgxBmCzNx1EGevmc8Uz1Bgfh01IXLFL6GY4USt+6u3jbG31ja9QhW7PWKKrZBAH0P6ucckx6Hvls8BUPqEzPETsS31MWZHu73yz/sMLA2Tdp1Yn2NKz9ngry9VCggeeVLrk2ymNVhn1X2mrEDNgXP5qnOxO0Jz+6GQimuXnB8sY6sVU4pDKuPYkQ+/Uq3HXO4n3MyiMv9V3YUnvWTNJCYtY3zO/cvhmApQrz/JCqaQn4gW2FzyrO2+2t3mxcR98Viyn0lBMYRashYWZwLfKcUhibHVDM4U2Vpt3rUtr3MPEeL2ynjvD/a51EH+z4+1NnfwS/m/iPxHMnknHJCK0yvpGFf7ai5RP1JD4f3cTdAmvOtzUd/2feVbklnrDqA8vx0gq2npxeDvdPv2nPclcnjq/CXcsGkvc2YyugF8zvbG/9s88uzgGOa7bpG3KDgMEZH9VG2krN6lMU1a44oeNE9cb82100WDjOHJBqJ0JFe4l80Go2MyCdcrYrVrV1f93cvy3SCY60fr3cZv/8mG0vuxym4HOcWWHadBHO2OIyK/aatb5hzoB1WakrUiId1uUd2BbY28BQkpMsvEiZ6Y6wK5UyJMfNjNbAQSNzri8eI44eW+ANFaGiKEr2AAc8unevZgtCU75KQzfDnoucVsz68YqtTMaMrYCB3HQpYVKnSfgwMGQj2WiixKKuKyDqPzF23K/0yy1aTpGEpQ1Q2kb77ZjtpSR8KiiC/U/X8RYgEqqsO1tAVI/DCOPGrP6lEAutDwgzWIGGjMYvByzdoQiE+Mu6xoFtNYiQT0vxgPh//zg1ud79UBeLLFcnrvPx+rEwiN5tL+Vt18eiTcA9gyGuUuzeCSegGD4hRCaJ/z3MYXAlmvmq9V4x0Qhz9qhaSUwlN1l8cjcHqtYJR7XIzPSJpJHqT3SHt7wRyy5NA2ue5BwIAnKWGy9In2G2QgFpY7BcEGH1euqDBlZUAzHr4FDj3S13Qe7f8zuaPH5kWpHPVkrYLOgRKB1SYy+XpL8R1uQwhjmgaq3cB94hb9vxslV1ZtWp+63gkQA9pubZE9/YMFGJqliISBLMcVozjoll91kRgBoAHE6MzmvJUpBZHSsb6JM6XVsVKJqYeXJweNl/asm3HfHUA7+Mdq6bBytH3Fk9J0csqM3Q94JADwnELCXKE3MBJtYZJWW6+jEeC6VLMjUrppRfLxp12DJkUBEuMi6kDWgK2wbg7uZStJz5QYGnCOMlAIzGm6SDLOfbFPBquEz/9CwaGguUnz80gqoKsZ3ysyrcV4apihQG6miR4dB6spuuwNiQj9a9OzTxJ+WlDCrDP0+pdmm3/KfzCTHfaaR3f4DYYTv1FR+2Dhfj6MbIRSAjRvmy30cMNwMBTz+Is5Xrtf8goXLkEtz5TSio/7gcXjH1HE1DbwOj4caiG9DD8J8KKqfvsI0BlC/4heHmqdTDbdq3YOB6ZdpJUqY4OeT0b78ACTpzsq7wqOg8j42l1g4gY0M7HWBrh8vqmz3Q7Yfa5Rz14q6jw+p8IkPJBXQ1A+kV1EahH/6z9vQQztzbx5NRUQ4I8TMFnF+Hiv6umiK3rrHa/p2oD4LbVVtjH9q6ZVmdXboa5tBjnWA4FNCvsjFgrLoqeEMS3BNh+7Ywmr8qlIC89gwmRE3PfoaLjdXyf0H7bmKHq0YcSyP3a/XeEugxgVZ76VM7WXki8dtZTDCYjcrCdrsjwORf0f6XV4FzV2RmUMP/93yawDp+mRI54AeHpDe2keQKDyPd8eUNsNFVEcyC+oF+HSiGdNYqBRMJM0XdPuSJzOs5qFwBZ17dyou1xGEBtjxNEbAub3BBqoRelybVsANN/p2qheHfYwtyIh6+vus2y0DCHOiqFYgBYUzOWdfd9LIEd0CdgSerOXSgsjwg4eAl3+Q0ym4kL0GhvsShnH8Mad3p6DH8LPKesssWGxu/Ycr0OJIUfD+1ir8BuojRw48KlOiWQ6/n7om4wQLpJM8X6j88tY+TuYZS9RqwvGcOT8REtFD4DUHlbKi1d13NiL9PcHmwhlqdxoSLllE0WDRmJfp8B2w+ry4FFf75HyQfYzS9n8JpBpEUAHPCDIAjw9oQudoHvKAeIIQy2lhN0aWumEExsyuXgfzyMmjVMTWyg8vMuRCeHXXrypuk4o/pFHDpuIdY6J6g8gV4cNDofRX3fSXqSovDG1VB1+kDE90KDU8jPtUyPtfPXbV87Vta++qa3ExPOyHDCSishkgwpxiXzZE08KLaA6DVY9bntRx/CrNlFgEpzTOicq0sQpCY9R/4T6B6aTq/pcVRIMWXU/0rXolzDhu03mE+TeBFRpiZkddsoFNum3EDYNe5RSJltfSNxpU661dMwUmk/3Kq6FClI7yDM3+uSAIvHhIpPvQI7M3pAqgnwidPxuG/5zQVjzRXNggYPOJ03Kdd2RPU358cwZGRY+FfDrGPe6iEz25cs3tFa+EzrLy/Y+m8+l+AN3U3FUU3WZsr3azel5+Dg1u3GPI2XCvcA3eV2g/Zyl0WcGKncWaZ7k5g39jbnvKpmd9QJbN6Gfjh5d5/ptUz5B9hIHhwS4tNhQC0Qjb+p+PYx8pbPd+EWp7YzqpiZVy98GOUNtKkGnivCAA6uBEznHumgeq4+cyOR6EYjiEzywz6BaGBHkmZ4p3INaXGcc/JVcSQruX8idwT7ZSZI2KJ6o5B0I7fHG1Vj/Sa45Tf07LK1KWLWgxtTdq4LlX2AboV5H9oLQI+8sR4bLFVUDes8WTpOhnk9eREcq+saZ2FxvKMXy0EhNljqfPSXWdiBgNsg+V8LuYJTC/6QBnaWTK65IoGk6wYPkitUZTcWM9MI4hRmFU8QbqJqSYegbIhBBE4OPlaHOqGjleIax7zgyZeyZU0qdmjiYHwa5W0PgQNRV5BQzPnAnVM2f8t2S94tT1Ux2q+KiR+0QEXCgGD/SyyP/Pg03sQfcZ61pnrzGq7+EknXnfgWN5ZyWqA3ENoEs0yxLIq1RyEI64t3gQONtmyUa87Zn5tXlAfGKx0sxE5o5SyDm4QGFeM8sqE+MtYCCHu+33ulV6J2r6cQRO6qWjT1j6iBucDEBzNtHUBKvNr6PWQe3/HTFH1abZjRABICajhwrYc2Onbyi22pDIOHC6I2ZiIk1Yd9uvdv77rA94IPOwucAjcLTtJ6kK+ByKgQe6LKMxdazuye3B3JpTqjjJgvoK8oBe99DAh+4IdOXJQoMPX9+B+1Ydjj6qUDAwRsUlqLGiHUsl7G0WEgIY4r7Ipma1MVg1w2+6GybyPMU7qEPRFBS6u7XKDiZkUxzQ205uN0Gh1tSGYN+KDTsjP8Ic3lqLdm0dbnsqzn+5E96+iOfn3WC1gRIGPJV6k+gsMd1q8HLlq+vAZgqFhUI/DsWjQgxAes3dK+UFeuY/XRsr4NJvfnqfaR3Pw6i+Pmnyl7Pfl00EBSPtZiS0icUh6MK2K7cFS2pslTtCKuVNdnPDHBhMwFVznwhLS7Sgzyy4S7YpIy42dZtRkTAMnfak3hKfztndXfiqF+u0ejttjGJizKbUxTBzsxNy82BXkCXpSimCzrT58FW/6Ehuxm25OmjDfMBaSPemh7Iht4KXWUIf0mDdnNAlmoVGC822qzUlimzEjAPhpc7SyfPKVUGpCQ18ePcu9KtC8gG2ruU6D7lsvxny4K5HMaN+/nUALX+nKKvg19xchQgNkxxbkeMAxdmtSW1XuvBjFveSXp6C9Ki0fsNbXDGsLUX9yg9PRc2jwSN88jT13TGRlzeB603Th5eoM9uXmZk4xyJjjh/GnQMSRxzUq72GBcxJQ4HO7Hl/JZfsig9DA+2IQFEJSKYbidti08ZC69sWbyq9dC7wookuSWq/cl/Gd6Thg88N0rdcfByXepWYfL/KmGEOeVr123Wxa2+x7fzHk6qOFJ0bfZu8BHwKU2RHEFpjyzz3dfS0GbC/eK7GicX5kFRD98ug+rY9FCLgRfGEKlLBB36PgAYX1iMb48F/awr6Y3P+cewN/YaQmMB62r3ETaMtO6Wbs3+kbw5IqdV5liuqjA839/CGh4bHJxeMMXWtk+yyQFDhBabLt/Pj8tOAh+ROIvo+kfqrusaYoweCVU0aUHskBGcayqNHOcESSlK4Fxavzt1n5UFWv22BBOLUppAYgdTMz44evBF0NEJ30NzwtDXm0Mbp1o4BHSYvFtppqDwAAWTGmHlubOrLMhuYDwFro2pgWmkuu52mMwavl9QYjgdrYPfMvB6cjfpnzISdzRKT/+gEPWEsjTXtQwVAV1oZzIkvQoKi5d182t9CzgUoqPGOp7HIx1QJb6DpjLlqNnsvlFk+qjM92Lq4WbD33EEyrFodXvCJzHIVpd5dPlLS9zpDbxfO8eNBKtIfsnLjIpNyyf5zndatgda8a79OWV68VGeVuuWxU0fOGMVdfMCj53OUyRhGIIVe+5CQXV8ZlXt69BwMHDSeh1+y4bCBaB5gMyYGgnOLKAkY7BErDVVrTjLCfioPVrl/dD40AqrNuT6VYKiGM4xVLy2D6gpOHB/1jxESZoO+fQoCaK6KT+wutShTbvQojI7Zw0lxdqbd14kcMu40IA4S9DsnWystgG69MyJKyjMqkUZhcHEEeG+sdZfpucilNnJ24uuIjgZBEYmMRt+qULYbvRcX4/u06m+WjuftdmcjtZYu+MSBAw2HGNQYqwuGdQkdgm/uUKM5yks/I+c/HNJ2frBVlqnOnKfUIX05Vwk1p12MWbvCVvbWy47D9KT+7vnvUioZJ1LLAGz0ulKozOv6TS15xZuyjPretqyNJ8lWzgdLWWDZitWmzyKsfDZmj/+GrlrCZJAQLnqMB6uAuJNAy3dOKq4LTr2MlJxrZHC1x+OY/8/+NMunq+hzJufa917SSGeOOpdO6bL4SAE3LcDAQ6yz6uTE/4xhOR+JebW2pNPqq9mdc9VK1yrdcRB0ETdF5bAfwkrcsL1g2WkSvRD/OC/psH3iVh0NFSr3/LC6rQid7VA/Pyyw+Kv7EPNvDznh0t66gTtktZoKH3pRHEqgmpaOV4owZx8qpVL1daCxBQaERDqK5iTpwZ/SwxN9o9DhajuqD7u3uAN27vaik3RYJoSp71fPmdJCrL223YVuoFDacOnmJrx4t64qe9NxQhHKrgw8EK8nOU2lk5b1nPyLZVrWoOzV1C4er2NouH3oynBMQNRvq3xMWzGEeb15y8e4xjaR2ZRYue1KxHefDMyGfxKJeg/xVX+RtgMVv0wTXqygBze8ftSvp+5gbJUPilfA52Uhr6p1Yh/hp/hNMka+M9jKS6jhrWHkwIO07NESLPkJ3124PJwojBRirSpOQX8isamYwq8r653UOJPzOPHyEjDlrubk++96+y6qdzmy69CE9t2ZDqGSWjtXrLV7uZXBhgZssm9WbQHqqn9d4sxI0sWRUKSHNehFybd71aobhr5IN+ZkB1h/DtgpcLbdk969WrmGQE73QMOmYyrq7uKaP+OFwY/jAd385usQUQNgUhILJywGpbRyk4Yd+sOWWM/cjndvHQI0RBi0igOcIgqAnwPAsz4EHAhP1hcjaycac0fCz9v/ZUmZ6laZyXcHYELmd4xz+qzK3AJqFT9OXtmA1h03DGw/TCiEmf4N3PazkaM9HUi9BCGHeGk/0G38teSdMyDHMwymj4QhnFPyFhCEOdZTUUcYIUzlkZ+tcEk3zAXzVCDnqBTqZFS3bohQeGKKWpshDiP7yjQT9lVsafRbR/SyNHUke1qyRKd8t2yHWv2NaWOAQ6oij3UyHvEinFKmxvS48fNMLj8FI/xtdcq8M1a8+hlDoKHDDaeAF1+mEo+UlroTEGiiR7z5H/lzEPpSCEfRQ1otTmCtTbZuLDoWyE/BVrqucMNxtRFJgqaXW0Z8VfJee0llTxedIeQyFSg8NlyrvAfXon2jv+qSrz1WSDXSYms24mI0VxXZz7YFgxXdyp0w9/8E31WJzRrQVicJUJlFy8vwXIO8gmC2izVmGwyCyDMN8t8jmnIL0q2pLkXnstyhc5ra5+0dH7UUUL9B/zbaQG5xvEEqqiB0ZO4ZZPPzRKwFTJnKJH6YdwfQiZbaGWvpUxk3Hz6+Ob73tZJ209J1Fg4CJVQGEcfw5iigLW1Ncx+uLcwRMEYidHq5Wa7eCTezy3y5xtnWZgwrgGRRoRiLVoez8Yrn8K7mgftkUxv/juEE6RotineU6Dpl4OF4HsWCAtEuW7fQTCg2BGVswRIxP7Cx85Cbm6IZEsoqMRYmTBm6VpDfTa9fPO/DcxAoADxz4rXxNrIDo7WGlG81LhLZ11yh/csEdJ4G6xE63/qo7X4xJP0HgcI1oWtf45n54GUzDPPPAE9yuOa3TV1iWcnZnL2p4nejDWC3xkYULzmjq1ERyg6gavGTZR38bJ2G7GuAYlgAtDM2p4RlpxUrCl9TbyLOfFaGk2rrdzgpafBpOvQkhRuCPh7xAsr/NPnLA5dkcHiiBeKKyJOjf1wzEUIhphbcn+0Mo39h2SY8+EzGa9ZMk4oESiFOZJVyVMWk9IFsIuWdKPOdusCR1FQlvA0buwx9ZQ47k2hrMugxx+sKlW5YgljBIyReheSSKxEIw6cmx+fB2XIstYTcnXBtda5gWYta8YqIaBj5RbT5c4FiGtX06iap7RfyPUdOcDrStuz/xXdSjDTvq6mQDy+gIin0yb6rmjturNhO9N+tzhpx51LErtIYqCbJZjToCyFoqvnuXmx6E9n0+N4rQ3TcBR+6faWZ15megwpgOlVNdtsWM6nO1XKEofnBBzoFtbWuXDXlgULvmmhkG/gNy/NMG9zzBDc85Y6HAxS6npUtWMAoIxTQ6VQF5363E+kH6+zCkPRKmuyuCXRLNHAkpVA57bMjXkGwjXUJ8Sfk/icJygubNwsBWDEpOsXLghIlljzn/FroQYXulzkdimSDdQ2FFkScrkVfWbgLOAFtAQDwtEo9hs8HK+Tn72eTGFjd/07DUrJ4RU+4XC7Vv55wHvzGacn+aAJ3xDqBnY8PKx1AvsL9OTOnNsScENB8OFpzydx/9QZItpxSkBCR8iGRH0Ls/ZPD4/UhMknjQcgMOUiIvg6+bEDuASN5x1rRInJ8GgJUvfP0ZVCWLITJUihrrcSprVcEXSHJPz7frFlbMEofJRyMBJG6WUT2a+P96uJKTZDdR/Ge82KdxLMhUIWzGfyzMk3EU7fy+P4Ofwfh46d6ooU+TFFgDaTjFo93PSX8Aze8rB35Flz5vlwt7P0WfZgGi22naWzqNZkSuPGKpKS1NAUEwSgyNZtMu65OoIld5IUzzgFKCWKgB4iBFMtxfy46hneywL/+SkrzlMm25V313Z8Qo8xep6ZXOAbFEDjse/LlVCF/K/cq2fuDjHk8m3H/jAR8UgKBi8Bh+xiaRKvmJxDPwcRdJR6622Ntnwh2X4dUzDElcc3QGXzzJlXpAkAf8lANRZN3C/7gF6jJ/7WerBzxBgQ7ZwJau64WVRAg4+EL779MvNSyt+JZqnOTh7ds/0gUsf4EMvgwqwAcIQrUtVktyVPpR0GxHjH2T0Ccofmwf4J4Sms+luuVrSP93qq2HRDt4lgJEAxeaM8FpeiO1+Fp2RxXqJSywz9Sgnf02MkuewfybghNOQWYmAPA8V2wQF0VPF2y/WE+l2iX1IbOh5QSUMCuIpqmayFMuhFEcU5yIriCZhuiMdn9NB5rQSampao+ILngw1EkyhkDhL4mY7v9S4/pk5gkT5CRXV6CymdP/l0J8aimxjQNSUHTV42RZLNa2W+oAO/dx863y/VF2OjoEl5zQSz7OPbWbafCM6XYQ7GqdR+uxaEBSBzRvIyI09lq2EeMusJMezno1lPpcXHeInIJ78laFpKUCpg50hoNJeyfMw6EsPk1L6Pwh0EE57TUIFlK13Onnd0l8CrjY4tYs/FBnaK1tMgnOAItrXYHGIMKhW8Z3t7aTx/EJfv3Y9le2lVGlzL+joDT4kySh2lcaZ2UZrO4Y1PvC9CkRuUZ1ObCngUo8OHbwhR1FnJUC8C5w0WzLaO0K1jkaQb2LdNPCr4T90yUde6yFtI2Hx2OKnUV95n8BwstWSh8XPmcafNzl9/CzBBI+aLKy8iYedRvp4qdtPcGbZrx58X8IqvqpZS9nMoRy/WF2++ymjggkjJ62UpSh4SpwqUncIgyGLZLpXJQJZA17s58YayWlK4tK4/+1vB+/8DDQqKLhA0s6l59JydI6uVGLHY8wP9JGYo3vYptz0vj93HRTwqOGp9uPdjrlrw3+22qKnYCbcKKJd0gehBE29nP7Vl+a4fxIepxExGTXoFU/W5VuxiZFtUWa0FtdkjeSrZgn6ko2Y2UTSqMnVdrWAFw5FRyV1bRZaFWyN65lcSGW4OAH2KqJn6buSHQpmH7vapaGf0qKdY0HKNCgv9AizowLf8Dwc8vbELckwwth9YGL/9ThepbLYCUNJb4/c0yHZkTdBK8bgcFa/OshMYCtnfgBa+6LMhQMT7N2RbBPjmtXOboTRlPpjSlPpi02bQdBHZKHGgd1u53wXRXFQOTACCC60O38XaiEcf2J4lclP3lwQC3MxxlD/KKKtHUMBRwPY5x6gC71V6H3vsf0JaylYqyX5j2qOqWgTkiveXWwcv/p/BpnQyXWNywI6x4T5GZ3pm8R6mcEtyq1hCSmaGnJy5Y5JqnlMIOk8gG4dypCxaSNO8TW4sEkdYeMpFq3VOGDqRNcY4D3gZzjvZUINjVVXI9j2wSNeieofkSi3NDapyF77uExszAD4d8SWC9nBvBKOcXi4y3ftlDdVpQXLmnewSl3rGZ/VpvnQpgsXo1mIQOTvvEZunm8Fj8QSALIIzAipF7q9dmY6o00o184cLuNM4YedNKQ569AYL1eKiGdtAdYNQAdilVaddUHqZcCItkCEl1/fTaNU+7AIPyQ2kfIZ5n+QIsN5RJ0EPWMD3UxdbbZcyzoDJ+wRTk5qfGy/kEjrgncjL5IPjQJzelcGQRn5BEcfwjUqEuMdgkBBbHcd8CQqkUAR12bXMV/F0x6QBf/YLvRKh5thnPm4FxDbFDAIcAR+MSBLrN9/Q7ZhEuIgo/ml8KMtdSvjZv1T67a697cGADs6KYAD/o42FK/SdamhQIJQZjTydNH99mG5yf5s7dE8ygp/TXAXipe3/jYT2TwSh+JpZKf+XunS1fXR24eitgS+XVSPP8DexXYb/qrPbsFLghHteUk5dIEGgkawluloH7cj5ap9LmKyXqELNzk8MZwYRv8iV9GXbo7EmIJddtvZLGakxd7jE5imcg+F7KrSc06BpIQmIorLIT/nkFHE/H21gUe4bA7x7dBEreUSDjSKAOHpoHhabxjwoAFrBpRLnWDIONyou3JzJyUquGgZ3gbOtpWbxhh6+abDx0TlW3vEV7yZl7SwNDBW1JiMMup8K3b+Arujq+LqJNbx4BVu69QrdvOsyhBck46AYnzSrlKNJg1jjtg6/1dP1rGuCybENr7v6nbJaavSnwfrjT4odUgHt4+d90D+hf/afFcFk9kKYUmflA3zOJ/4N3DVjjUNljLuVOiBMr0RXpf4fnoOAgae7LtgBHDUKKLK5tqdRrdIQSLvP3ecfK6T6bAapGeCondMMYLxtxWAL9zQMZ0Vkc7qhrjwjI4fzLf2/+1fZT/pqcG2ce2vNmnvFYGQLvBMBFDxreSSfccEse1S2A5IatnYKkrSKGZALQWjSFyZJltWdhpnRWE4P+hrP5DxaqC5zXtiGQF7VkWYOiqBSCMRiuA6qdUBbmy5QdsoDC/oPnZlyoZXfg4FuM7hPkflx32GGS69ju1NWlD+yZIdgmmhwkEHBK4q1YcsYxIsss1k+rlAGtV7H+LRdtpzWcFU/JKnQhhp/RFrpC4rragE3tlqYObvwggnY5UP1DZFRXWSlFBP4wu1fE6pmZKGmy06V9+1/Phh9zBZZCbxdRavvstgP2vnfIV1PS9MsTXzhI9vr3/AUM1wfPfvsyCJMTXE/oAeERe8khQMD/ilHZfhVorWH09M4ifaHCPFMWNWdL9QD06KZeAGMqYJVRkENABt/iZ2yXZKGH9i3KW5MYaTbsAScWXxY6Y25ndo4zMv4yavoGasI+OMQpxwREpNx4a2SBOmFZmrHW93REyUpvUqdouQYMj7ui66i5nzAvsVsjNAgBTuQrKFEgOBjH6/ZFz5aYm3jl0Kt/7OrjiHasxDL2IKiahd8vYVL0D0n6UwX0qOg/UWOy72SfaMTkBTh3as84DkG7wRf9AepFgIPRxYpLE+UGZ4C5vVKuej0KvoT2N2p9FYp6CEoIAThXazVS3BetBMh4YzMjf+UEN2LXdn78/ht3+Jf6D3ouztSxxFREdRVwbjrQpLPavbBH9IOqmxqx+uOiAbAau5HH41PX/cvmH/g98EJY9afVVcy994sje1hb/soDMeUa5kz9ZBFdEKpx+ef2xDQGSzsdrWIJomPba28MyGy1aVTkqcQN4CECS5/pS71bPX0bSpbgY9BCPHWX5tl9JAVy7Vn99cxiN51KIM12ciAsfvwDhKw8dFMnB/DUr55jPiVj7XUQEq4fHLeisfEKFWKcK3euI97T66IKOhYTBDhP8hy3dxd300gH3n5IuNkliIXfxPicSk3NkydA0t/pXFw4OpOBXmkZGbP2I5l5TxHRUClCoO/r1ZlodrU2E3VdYMVTeonXlzPdRIjjmrViiqoeK/ijRCfYbBYv6TUpdS6IOFYg4tVMx4bf6BHLYZN9vJy1VKUlbRDrExqIRA66CCpHUbDVWg02LxZtCfGepUVh4dsktjgHh1Hp5zHZg8lrVmtaeO3RmEFrdd/lryG8ejKFMEHYXBx2oSS6fY9QQUTTkuFSWLH42WWUzz4kARtlONifYd7bJVdfb4oiDrdpeKyYLOvPPmbPQXxrVYB7M4ivprrf7VL9BaCC4e1Ea/KrsBSfqWOQGcIIKJtiScq5f9szAW+5EBpuON8ZZGRMPZn/W9qLBoQz1mGS1yRKqNNlLLRsUFEPcKqvT8Cb9ODzh8W+sTgc56v3niji4xRijupmahA5smHi+pMU+9o1YqTHHWI9XdK4s4r0vjN3NkvxBWb/RqP2F6D3CvIZvVZqc8c0Fq16gSzGTRKz30TtCAx6y3mf4ytvt7zOUDWYaaNUgjV1TqGd3DRBE7rJrdLxDgwZxYAgMoRrLWhhJ46Sn16LMcZw0m81FcL8qKn94DyiQFLhYLjYB61SP0EI2LobANLQhzCN9XHz8pWo+kSXvBUfmxa8DY0o0SXD+S2GyGFKk2q5/l/e564/zQZ1mrnymsnwqRvWBKu1hAkfthXT8Hn/sG9aIIQkFRT06Qb+JkVp5wMAoAmjm6zI5Ttb+RP8//9mZAWj/FK5FovumKmQ/1MC+AusvYwTNI3Jcc/Eb2WF/FrQ72lqM4hWKRYJT2mddQu25yfWLstJYRfCIddLujceTOtJn/hEDdasHK6uEgM6E9V0uNJZ79Soz6624z/M4TochN3biVVJLAdMQAcgqM9188SSFVuxP1xMBbo4Ovuot8+VCE8bkG6eHONmvbsK6/O307Xp082ZEpoSPbWp8xxzikYN0DcxBmWmvMFA+vPDbkMqgSKdQ5XXVEk37VWfpZ3IMnfFQbQIcPXRMrF46JANvxC5lCL0Jx0Yjh2UEL0l5elkyDHbXfNgI4rhELDHyuThLIUQEsrBGEFHCzQeaEo7ZjxAfd8PoOfMkXEM23cckiC/jyd967yUP0S8a6yf40naGVFYt7RXTlJ7utbrdfARLh7DDOTL7lvF0CxEQOh0DxG2LcWeiA+/wpRC6GGC632ZKF2RuwzhblJ5cTZamSw3uGzXwsFa7sSbMfRTzIBe+epx6Dxkud1EYkDfQ4kahi6mFpz9exSSu00X9VX24P4Atpw7531xXzzOxbokwh7ON+SlHUtXl6ihJ56xmirX0J17/vgIhC4bNmudC26+8FH6kb9juWbSYp9Joownb7DwByCJEH6mJBGbTSVTnsxL3U7D9LIapF9cAmfuNKjxXNqf7Y4cBy2KgD+C5cLQ2xoz9oTrWVWEfm/OfjCy2KpmprMQhQ+c+plvE6nJsjgTy1fv8R7yjl77vIRoM2K2govx5sQqJ+ZesB/nDGGuHzHiP5/ooI5oKjJQ8H4L/NTeaJ51B2i8L8fVpLDyemIp0lGW+Le4ygSMvpap76k9VPUagWbzxrScPIqZSf5thd9dvYSS/xykXhF+ykiKW2AcP8bdGK0MxuailNQ3AiOjWTE0v2nNrkLgvr2Gp2TWzL/nfNmrAABraFVev5Sb66Gqwf2zjPnEWWK82emnDCa1NbY1HKwaiQuJWSnS2Ddz3OWsGeITUXFxpEu0RJ8lFAdTtaVRkyRyoOqhsVWDQLdGXZTUbTE0s1LKUuf3XK6zLbYQEP+DXAyvCGTlI0iUxYaDcl89SPw6I4aPTmNbqiIDtP3fo3maU3uKhbE8jswlcxOO7fsEADYiEmxSI2lnz1/ACj5yPIox1ElwtYh1DAT46iNiFWT+2EpkhJiWakCIZVTy5FCh3MT9LAXJyo8qMQxWMlvBEpSK4YDEfulvBmt4SAxNCypE9lkCu6kp/MMj7QRFTDAsG55+fcFs6bko5HPetkZ72kjHkenE4ziZ9UHnib5t0K14CRObn9vYG4KSN3ATChk9R6uQGcE5vFhXQ62ziX41kLMPkHrCBnKWYzcMZEqQDtFjCBV4qZIq/1rG4cx2sH48FR3GLNMPKFW+Z2epd9qt32XrWhlXq1PZrQBVxBoQvDVPh0gAq8NQVN3i1fV1d5czzVHkXgsBEAkTa88cBMkqM4TYqYnfAMlD/GB09BldsbQlrw7L+8P8loetvPeSu9hiL6CbRqxxRW9Dwrezv6qDOomIr2dNRepOUW6ubG6XuZIh2umB+iXzrm4tuSphW2t3dqdClypK4XF9b/4BLHHHYmpDHHdNBrshJ40iSroBGqpUN+hSszU0VgiLIIZWxAXad14zXjCKSAmybkvVSI690M5Nhs9ce4SEMyS//QyAhTVqXztFEjwfyfRFdwEZLmpY6Wiw5numoYXrWTqBe9got/A2ZhvuuMWsK3dYgDVcg/GARc1863geyZ/r8+9fpwIVI3yw8ZZGffa2unCPRgQpqb79d8Xknnlm4ZuiohYAO38dA6P2mXr1NzvBoRkAzWgBmg6eBs5JCYaLBk/yHtWGYAW0XO+d2rdzTMEJtb/tLW5lXpfu0PFckDK5EigsEvxz/OyldkZwqPlAe8HCUuI0pL2Mtk2cZWW7PDA1M4NZPV7canDo+ZdwTMD0HgThK156EFRyWpjS5bto12KSp8Hr+EcVaWkKLwdVxWg/3oYxk/9xqaLwR0JkVHE5kXWjGav2SgW9wlErOe4DZbl1vi1lK2FYVxPXf8pMhdgi4TVAPcqq6DXbi61B7E/3gO7ryRAh/p8OdvgB39rViOYzcobILg99zt81E27IbgLThc1YzvZCOVJT08BxA7BLjcFERYoTyPt3aQh98UyK+oPecOItnbDzaq4MHd7PxCVYc8u3W5lwW0/Frg9bvYdZcbJ+YTYauf4xUb90D1KBAOX27MpDUD2b4M7CuP7wmI3zofj9xvtBleNLaL3Yn9aD5tWjFrhFFUc4lcRGdg6ueeNlTFnzbr+GrJX/atGJRJ7k4PUameqg7J5Qiy+DDaUeBReYRlgcMvODgj9YncRuM/HfYEgXfmHJLcsNZjO5F9Q7D3CcGshy/WRkiUnkOltynuss+d0Y2owtUXcGTL96OMMAd2VH1D5Eji3IAw6mkP7zfVT+E3uIOnE7qkuDHqw4mYqRlFmWUd2hZXNtG13dcQj3V6sX7/RrP7XCezadT3vY6PafCj75s13FxrFLETefqCho3WbsR12zlFEwuUAgf20YR8MSwtbQB3OYff81Gq3zAjgM8JsUpj0OIZeg6sDrvx6yMOLchR6s1DwbRHK3sr4gckIymn8e1FI4JPMPtwdFcodbI8PyPeccZ5svcro2VzeyVWGoICCo1hH4e8bBfrmztDBYqxCdcesO60/QX6QmvbFNoLk/sDpuX46FULEhMUTBfsc9vsWk7JgWVfLYzHlp3uqLth2+PBxXOXEA+a7Zad+GVhf35sEHW5hMdx4kxdjl89I+P8QUOtLl4hOmR27+sROjmYr25Z60U93POqMbIN5nFKO+8yJImrrpMUOZVhtr8Mywj9Sys6kHCeUaZlg0ayUHHz0/i4MaHqhKuUZwzAAq4IIJv2+l9htNYiU/HjEFEPsOVBr2mQg6XO+bkU/Y3REBFynJR1WofQoXuUtmB+PLz1J5KZBEs4pUW4PFhB3r5go8dFkrWthKY+Nf7AvnkGdUQsMnSkES2KbBKQ9L3+laHIc8aynOSink2HY64zpc3tp76SfSSRmuH7ffXKVse13nnkGiyC1W0Qh73hJvFyjHxvyiGIRAL7sZL9BsFJ9xWVCSgwb/q/3A/Vi4NDXWBmfhKnqgoZtcMBwOPtbZxabMOvHlN+oDIGBTOLdZwx3ykDrQe6BX3QCXU55Qg/4C1m4gKbQevVzA3gZQiMxDfJ77wM70JSQEWS8sgbFnrYbRZBhAEKKTZWGQ+2i2tNvTER9GZCmzcc/JUC/RN1Fmlydc6vTpJCITnfL/4izjpjjATgI0TJnFK0bLUUHfkOm6FArOH/tOhmRpcKgX3X9Kmcd9B5ww2r5Vm2JhxaATJc5E6GeO+tKZjT9RO+8t8lVP1GjiW4ZgKjknxUAC0q+YwWAFGpqVOdwT+44pC588QgclHngE0S462R8OHA1oqrMVcNAmuqN5iMDMMRekO3fuajVmQk2V2cw5xzHMCPTXnHY7ShO7IApfW90wAAnQ3zWJRzZzLy8pDpBe6B8KLaS/A1TRYEvGZhkom3uM6+HqP+SYGuIiVcxNVMQAAWFxLQtf/Le4+/e1z3fCu/1NtFk+ZB5FukrehRMzsA8rRMearBia91VQq4NgTzYklJQuhGErvbJ506rtb/fDSeKqjmeuYBEUC4QWBLiagJSYJXiLRB8dRhO29xlN0TrfEktpnpViBDQo8ii48JK6z4UcvaBXqC6Wk5dbgpAuqdPMSX1/cs4emZOEf6TSx21k8wS6IHdsEnEo19IpVUfRnyw7pAxtiqLFjAtrD37BVYhOzU8GrSTLb5BleGR6zNg+dfF1VGJddN0GiAscc2adfhdvqE4X4PXUcksHWYmnhLFmrXUOTWZbhnLo474eG/5bqckpKxRViZu6gXr4pagMau5Qx+WJYfQSj0AfseUw9DzWJRB0swr1lTsHaiNxjmMZwRjJIOM3tA6yJvzD9bX2Gag5eNoEcSmpd+VfxUdWqWjyAy7DzBC4bF3TB/WAPZX0Ovdi5TvYafQwtFj5JQvKmCLmlpPFx+UcWo8yY99aklwd/5oMmBGrp4RDtcHWRhIPfDeoCdp9qsM+pP6dsEXF64SVGzvwPLfLYQMb7ldbhzGTaRyStGJbbEdxTuP/+mhB995q7fHKknme25HOMW9+rwWlGwcZ1y9/+CMVQR+ShdinRs/vrEPTxoZ4ccxeP4AY0A2vr8TfnEdklKN+LVjvB5I9M/zg5YFQCxJ6OHDk0zeS3kALM1JC90gR09ACSbBNZ1puAW1Uof8ND3wjTCbTHB4v1T3GhRBMgaJyEOZKsAbXCwTgLfwVlvg/eZBttdW6bpDqs4yDV/vfzTq9EdS8PtKvg9W6i1SN9GVWkKct/c3SJdvC8m9lcVuR8DdchljvqvbD6V2b6karhSALyYwlolb0Wbm4elkRJg2EJ3Qseyxffzm2x2yZSlk4paQ3HQuR1KdUy6WrSlH2OKmoNPTXjc4CeXSmk++kbDlSDSiewsxByLq5ftM4WYJZW1vxrSw2FFo5/oVU2VOicwPkc3duDD8JVclI8UYejCq/lIgIQxKXoL1RUMfWpMuHthJleGbBV8lJOHUW9IcAYGk1M+ySUJ7jFhxEEuARVszz+rd63LCg+874hGhdItrPo9CI6vOfd0GSxdGmkaA5gvyNd2nqLl9fBgqSLCsJNoCZ/4zp5yiW32IKBCstaq+rseJ1ODHoQRNW6tUbSL4Z6lzQNsU5PLF19nvpZHiwadfgvjSojOtC3ib+PXHcbAtC+wjHf74uicIolYrhySrxB/3GTrQ3k5TWI5SfDHZimRogbRD7GQVSnRKiP2dt0rJI4L+pCBlqSciqrq0sRzbaX7NavniOWIjKWquVL5n330ejPyvBYzrVYtVfzKd8RIy+E0b5ybtp7SxoXSueA9mjMiTC3GVFJpOPTDbUeclsA+y01IoTpgYy3oN0I76kR9YeCxCmntk78t4/pWk3C7l+9mvgY0z/dS7IcwfjJeoO5bk5tF96hg9oMXkEaJ18Di3K/HxOaTsl2Allpl1A3y3MvR8mOvKxxPyEIP/3m9gIq/h24TEKHG6CmL0CliSfWDukEawHD3k0LoAqNst1s6ebMYMut3k/DjWtf4Ps/BUKV/KAczm754U+E2rAsRSBDqof20Vh+E3cH85n/8NxUsCSdpr7Nd+ItUtMNw0eoGw3QoWrWqk6UMyuWq9fUUvsmsvS1pU9RnfXSHtnxn9v+ge0jaMK/MYyhzvL3KF+v2AUQt3you7GSj4zWG7oXtUoJShFKWCZjcuT66lwfBriC/rvQMaLD2dVZ0D+5GfhlE345w5GfUnRJsR2UWo843cwKiWqYqpko6ejJ+7b8QH566gkA2KZ72F6UJDlSQO08c6tja3VvIhPg0FD1hrfMRvtRxPRyrEAwmGkQQHtEZOf+BX92d4Qq+GhED+MsekUzppWL5Gvxlhnzz8XKSQD1ZwGbE1L/h4EO5iXx6ZEcW7NFP3ewyF2vM533Eyya1V3nXVrwCOE3KMAh1hDA1dEcLYtN4Y7+t5IlMkBi+0SrY/cL8LFRR6GS6T/ZuVSp3DPGT82VReVwsOBiv3rlF/hF6ws9NgHD9E0GrlSR9kpk5Cq1wE7nhKV8Zq6eYSSE51RnBrcdwxkrJ7gvrC7VYZ2kq/fRidM3yj3YAcEocQW6U5Fo9GbsGjRHSWyYaJUbnOjcMzAM4Y/zWLHTDvOMzURInULiLA9wm9eFPAmopDaJpOjD2jbgLS7XISFKSyaPjPQCnR1Uk3HHv7aF4V7nqvPfqIlvlckB1BNTm0pez3Fh9vYWLHm7ipBajRGMfO+fls/TJtwFoM/jzPemY26Xlhx+KpLFWSSBrvAAkjx5UKF4VAAI9//Y9gf13FGWr3Sc/Dkid6p4RmBLdWHZjiTDAPykf4uRmi+tOpxSgM93w4j0hEXwPmY+g4bdmFRS9vDfuY173pg3sbxHulT3cet3A22UQZwQC3/OSCDJF3RoOzVoiwoIYhUi9LmeU/2p40YbYRH+ki1D9ow/1ZF2Wnbq3oDdrkP7QuKCIVz7opNEKgHpUAzafdzLZIBX0IdLOAcuACzkq+P5e+2ioCAumxF/xeBnqb+mJO6qFnZxVTCKsezraO3i3LgBcX1+Z2GIxHnk1y9OC2vfdL0tdnh2gfEqbdWnDReEEKm0Ju7kfSCMnqAItl0tM1PGQKM2nRVH0N+atWNg6rrI/fl8uGeauLTzlnj/SGJ6IJxJRH73AMP3ThEH+SSPORYVFo2njhf9XsRSApFrUCRuSb3Fq/uc7DvHjd5CqYR7+xf4bm7X7IllGXCiI82s6czG3dyCuU4uMY0THr80cBbRLwZ/CiSKJPl78aRcnL/WO/EeCvTfa7THbJMaeV6UDWzPDl3T9smAiYc86P1w6NM47rTJkGWYEHKKKO8V4cRp5lNlFYPbUuPpLHnoPH5WHvvZ/U23Wrqe95apKfvzvTBHeXFuevLfEXJfXdGq42zemVu5bE8H4JVy9BiYquMhtjuOFB83adMo+524I2K4JP1FtQDWngFJFmGMlEnn26QM4lIAsB5rY42g3OuTRqtFA5drCxWJUgl6Ejznen4FM+7DCerEDiRGL1U8Z/ZcLE/uqev1OHagkHEOSPKUJO5RkK6f6H2vuh4pThcxLrsDuZHAHRPIrrlhQ8SqRLCSte2TNY5+aBtQe07qt+6g1LCkPgeULBo5FGZCzIVNa3lBAQESpWnb5qE4UY8Hqm+jX12VDg03/aqtOl4U6Stdci5hAfFuUAN3mzr66ui53jDkP4EOBIlSjeAVWfjjaFMAGWtIr/2sV0kvWx+jK2wF5qm1wmH9sj1UUiy0DbliCjWfvvIniOqG6swBJucl0dcTU/U9EY/1/ztSOU1fAEK0zH1KeTC1ZKG3+U3c56BpOEhXzy1B3eL6cj9OKOVZZBggqIiDvEINraEO1clXkINPQPv8JECBXrrG4yUFNDjdrZFmInnHK5uRJ+4GKa/HmFTDhX261lGL1wY28q1WslcNl7zS9HoFQl/kzUDW7iWfshQgZRbLPFoYvDSKZ+ZrK7ia+OD3w4S7YpMu9f6yCdXa6RwJA+v1ge4YOVQNgWbmQVKExFdFJ/natCXS3XZ7OQdoCpuGHJVyXAMIO3JiefeTS7E6hkCFnj3xrUgE1BINiu0P595f+RUEFozqrWzwJAA3DEMkplAlxjXNqTnPGRxqd2zyQKUz6BRVDuHQq7U20nLyV4UYVbirzQtqdO8zRRj8orteo/+1BqF+ZjZpEJ/hUE4Zj6VdcvioYPTmIWWdkgQpCLMdYxts2+1GFdiT38si/aHfMwTdr1UT8qr2Wzdf4WqVDG3wZY4MxgQ4b8VT3uFoM70s2JoUz5H0IApAa/v8HfBm/6jdpYZ+WmQuPIkrFZ8wzIBBDrFlEYpJs3JtEFv6IRDyrUKJab4Y4iSj0lvFton+lp2J4LRmnTVi1R6fKC665lEJS6NgSI9213tKPqJqrHXBSX1AtOP0KMYNQYSjZUYOSGFKlRxQGjsNBWzRdGZKLo+mlf9UCpODYSRGtyqovwVeMzoy8ygUFLp5jU7jlVMq/mN9+8uXHw6CSL07ClUSXH1/cpWTrVl2f1MYSIzehsQ7kvMqyJcQSSg1rYIiaR20z5fXbgxEZmTA2afQQj5tNzLgB+/WF1np/YBtiEq8muihADhX9dIS3sSX/ZpSM0/kqfKwsOjx9nrxREGzha88RPzrzwyyBq12Odl9+uTKxYwlNNMftJAdVpsWWkAl26rpGuauBONnj3E8XDiS5mso5fMaOY4CCTgkm4LdisCDfqtRdnV+yEfY44p29e/Xj6mOHMbC79zlB4/ZXfzQrMZD1aMPt7RTG8+zRFp3lQtFMIEdsdm8cTYkfZjzC76nISsX+D4hqhlWwDVkXAfleFU5PxvAYphmIn1flk5W6tCjDhFejtb4ru7K1A05jGeME0bB3EIVavbOGSLWpgPePaimmgVKhYceUoUlBQpIhkPuLELlmOKLGZcahV0eoOAqxlUVQ8q+qa8RWFqMtO+rrVMeDlV57xdE6uFwUqKdsQwjBNkrlQNf7WMw95Kz4T1Q8mHEeTb2kgFi1riXfHU13uQCKcdk2OnPnX/38Nq/YfdnQUkCHshCq5JEtBs11kNZSYQmuPXowLemA0gyXBxeDVhTxP9gwWu3uWagJSfWxxL0acMGubAsddbyVOnObZFVQIZROYound5auejTVehtn6hHBNBv1J+EmVbBAzgWQXDDzIts+ZpcwH5W7nemiGU4PKH/LY1dtUKIcnDmyz2Gt1n89u0JxjvXl+IK5t/cjo0LZ0TMUmf9xSegCdCCekUJ8vIzKzbXEu0tjOCRT5c25SDWxQ7WG2dOwvOlEHxFL9BtiLcIN6izPhPU3kuG+v2R7DE7FMvLcZqgk+CiiNU6gDDredIQuJCASQl1Iy1E4LabkSW/jSmXCLGR/VIf5HhKynHHYqrUI0BBWUPXMZhAiOlXfVlpAEJWQOW+UGM9FQFVCyJe7SSuQRl5CBDW86MJYhM2Ta9m0e72bNQ01h4kXoKZshRZuwgKOqMTfrAAHWguukrqxrZtJR1h1WsYh8+L2V6ux27pwYwmNFvRBsqTI6iM1KXCRRYKDaZqNrmy8glZmWS46UQ7C3eEGRaWqXc1y3FsO01hQlNzF5KJWkuhCJkrXi/XZsll/O4nMt+wa2OZJ3Z5I4ioybqIoBIY1SIZDyEJoA28LGgxRH/uPBd0TFQB0QiPjlxueFWIvPLV67mqkj/cga2ABYcnF2VYuJivIKlJU0pkBRmrb9WyHpWlRCcp6xoottj6f74I6IOfZRH17uKKLgJwlygZOBe+nPqJnGUKXsAeEpu1fB45qdGWTt7IMkp1HIBXYsxSMRNQbNyPwMCN4msvvHw50skwGnrzThmhy4B4g/L0HBE0UTb0Lt/hZ9LL/WXTsCi4HVEOunrGT5eOJHqDg4YxaSNI4R8mDVnMNr6D48XX/b5hl330Kb91izO7x2xTIkvIL8z6GM9hgOMxP2OytKNDOWQELCWj4D3yCBxax1GcYEM4GR43YLYmY5fQHJ734Idl2my5+P/fUM89N6aTnq434veVSuUQm2P3jgT4fCsHqDKKENxutqORal2BK1q3r4h7MhudcFL6gSDgyL8/IgAfqlZ5as+SYeIVQA79iu8vG9atfSy10+BeGNEfJskWWjjyYjgGCiqJqKxYNTj3XCmJ5rzJVBaEZu5RlbPhN3oiu835cSiZs3ng8E78uz7Xj6qmsZ49c/AO73BKyv7R3Z5YEwDDBrEOyDfUhrys4h/CZcr+WSfbjMnKwrBFz1FgKnxJDKK8AuyR9sEUBl1aKI1ocjMylYNamiAnoTaB2MNaU/XxBBmuoHDOdglmAS6ul4/UYMUk0t9fZDdcKldlRUjtDZ/aJf/aY5QKVFDFJF5wKug0WvsFZFfpE2eZKC/ZTwhSS7/rL8Q7GAaYTIM6u8PBw/H/qhxSXyLHwtcTQFsTT1cn6XL7uyYVaGx8tOLj+1I9quwHQ4L+GhRUQ8Gxw1USKsigP3tQTgtRq624dmRjaysQO2Yonr4DKiqZ9b+iNpKeyH+oCYGK8fHb94E4vOYrlz5U4fwWEAMEt3QB0TX5poh334dt6hZgnNByEdF8f1yJ821xT4rTuEAjKwPTFtZ0zZtQCa5tbFWwu7VqDU6AnRI/aet+BkbFZHz0JbVMbvP+VPOWnjDV81cEGRAkE9JcWD4hOOr0uAYGZym+YMqGnc8+USOqwf702LJ+ZVZOz6U53YvgTfdPsWw4bAMGPiuXn6iFqcyLBDc22/qdt9dL9V6SK0zjyTebkxH9N1hGH9CDW9AWi1Tn8DtF6SugNQWZVtG/z1kWkQlm4kUPuJkTeQ9+y0LbiY4u6IcH/Ehfg7zGUv03fa58PSY4VjokZGFteI6KPu5V1Pu/HYh5zpfMgOeIuVUTmFF4Hoss6757Od/Ud8Nf2Dd++gzQPEJ19sTX1RwMbT4ZbRR/rAIHhJTIlMSVW+4HnGxLLorPHdr7J7A0xSBb9p0kS6oge22aMbB2Wlz3RRr9uTGGHXMQ5rm5Kf2prLszCaPPUgepSYtsMdeWl2zvyzSshEPX837APEDNupLDBIGuBgro8CiCjIuMLnrn5WM5rOD+vOELZEdvQdfevpHp7BnrXQ+mlGmWyS27GnjdWrgNOAlmCLF+6WYtmObciiBuxRQAciBsAp7JaAfQMZKyJ6gViso7U2c8qqCHyhkzk9Hd2y5vmnBahXwDiEGpMUQcnZSAF+o/yckSgylc8g0pWTGjpibN3gdH720tObxL9zsMMBSpvxLcB2A6+XUVBD/YABUYM1hbELeZ0C8TPSPqCCYfIedyXsl8zWE8gRY8cjoRWfe7Ea4NtQjWcdI1Kh2CO7RQTjoVI9QClyhGTjQ2i6+m7zs+oVdl2a05ICzphroSluibs0mWPSUJYIkyniUPhZWK9pFQRu/+h3Wrwf00/96Js2sQZbEF1Xsc0fPThaQtwD2fefk73Tnm4tQ3tnfGWTIe2tyZ9zk0zJQn0ZZtqHUNRyp7qbnXAYhdzHVJxuUtQpVaDczkKTnYsjcHasCC0rsenARl7IvMoEv6fQz8c1PHuXF1+/GH3fi0OdL5a5VdAFvKKSjs/6DiphIbx8XuBVhxd0HTF0C+n7z4VVtVEPLpb2a6pamEIl3AamzGQ1IH5X8At35fHDOJSzwxat/F5r24qRGCF+fxcMSFCK42LAvLyNSufo3NBblpvADViCbpLiRWvMz8UbJfi+a5RYnZ2l33ZYThUylLDiq0PZz+MG1iJbtfyDUHQj88pNK5MAeVv99tB5xvQdn19IaL0Sodnvt5mcECf/mNLCM693O4+sGDmFcpAtWCQPXWph7Y8BUPrHrpXjTO9m+D1xyic95aFs77yAFJHc+Wh8TKzbQ42I8qmw9tw7Nuf/+1FxVKKRtxm3h8Pk5zcpZhO3ceXMNeisn+uWmDOiBVe7nALipXnkiZZumYxXZNEnyS4FLMNCVMntnKeGuRtbCnXdwiyRqs6IH4PDu96oliRFAn1CDF9kNt/4WF6MUNyOmTml0RgNXuvdeUVfywtAAPQHEBob+p6a1WrpEga0O+uxIrKpG7V+P2yISao6MBtPvh2689OFQpm9WVbDi6vBUoNetoBYl9gmhcvIh/je9GhkG+e8SIguowBG+5ppGSuoFpp0o5Lg1aBp8u0y+29oZ/RSVcpjm0BI5WFZgvyi4FygRFkRNjkSg3p9S1PGfgk0/uGpZmzhjNxcpd21ve6+SD9K6e7LhvbFBqeWhEEdoafLw9qTRXj7VIZLsGWs+IObk3mDxxG5aLqj1zOnbtsNtDNMm+tQ3ZWAn1b2G6b76zxO5mm0siYNWU8kC1xLIOMwj7PsFtHVyu9j2fWKEV/GmuWkMnnsX+awKsjo8BSPpWp60Fj83MN7PDa2OwwWJqjs8WE8I5Ft0FLE2yJe7Hf3Yh8TUSxlt+89dV4C5O5ZhjhPTAEXV3GwRQbUmvpWr4V/wYDgzxbL3LJrxJnf99Yrev+0DPCafhfRHM+IRDy6pkjflwAGDPbepRW0gIGPY6aHjDQDSambMF4FXgLlYWAEkLLv7Fo1bGYSmpun9kj7xRIvS6a2V8sD5ggjya3T+0AWrqRzZbIzoNTe+82Aucef6c4uqTl/8R7LoI+4oqiQ3aUIzHXT1XGvrcj/oFrt/Uh2qDJFaJigCWuU09MeCkALWDpnih/VYPlKEFZS0yhMZYPrImrxZLu+/ESDe7DVGSSIjKXBZ9EVt0fcuB9PL3U3HsdFDzRIge8TXxCAF2W1oW4eeVMRBF61PRNwcM+VKIiYNdh2JQWDFyER/d/AlabmoxGH/tTON9sIMUIzTyuCFrPIG+g6nfropRC4ZWMvmWFPYVoabIo0ERt6son6wZr+8ktL8oTIJIZHELNa1cPVCpvO4u5rPakukhXF9IkD1Qvxp/mwlGo3kOTp3yBgyCd93sWEVhjQahGsQTbhiun5MYVnzrXApZtBoCiTX3JsgDXFk8uZRvxU5TXICSSv8R3+sk4fdhS3orTt+7bMHDAGAbdrry8LOkbUcNE5Wlci+kacnVDEfA2WNJB79f6OWjBK7YrwFLnV2jn4pZtWPSzdbJ+wWAXayOT3r4P4jKK8SmZtUQAC0qSnGwCGsWC5U9MsgAbDImkRz36OmYhGkb8LT42LojTHvOtbAGJ7Cnj921YDCITIdVwDZ6nLSNyBDdh6019uAlhHm+85ucSEwiw4zQ07Lvs4kI+Tesm4zcqFBwI4J4CrTVZYblpumYmRiUl4KipmAa/0tBp4uIOcL0NRapZqQpVIjLqmL0RFDFB+RcmOkZdl5QASQMRcXgkM7NFEAbUskmw4yvJ34QnLY5sjbUIjWXpgPGHwRt49wodeJ44Uj8ERhoEbt8+AYiGb16J0+GhktNhmESRowJcrtfmHzSSb5s+QGa4pS7QppgW4Y4U8s+IlQSmuFXC38/E2h7FfTEPyssOQnSz44vq3ZbTARlbMDxiQ3pLkvBKFgzJJKZ7BigkI02kp4Dl2eGvltS/XpPzRuP8AOy1AZn3/L3gB9OVl42jW1PIhmUOh9woHCTamzeIv7Ll6SWn1zzaIeXigrWDT5vFwV1XGW5KgbciP1/T5d7Cym7E2opzGGhyksPKQUga9dcB0Ws4pJvmzL8yzqZgGZZTWL+++rVZlD2Pfv5z462zSihTdV++yPDCTp1IhaH+8jhWAxXHtHO0o2rjg0o2NLAe9DUnwpw02V1bx5BHAxhd0ONd+nZ2L64efUCwS5ESVimaaoynVzBjxxRCrjk1P0tR+RgTEZlVr8JR0lbHGuQwtz8GCBFk5CPDWtNF98OTYIvS1BKAqUr/Md4ll7ARl3m/NquFk6ILXRYf38cbMFlmOVymeZVB7U+Xi/v/CGOdBGUvNaVSZjnvQ8FcgqtT7oHyvmrlQrZchzikaCckJEUNBShoIvyagtT8ZGwJ+/al1VX16gojnmGjnpxWxyZurtqMA+QzU1ClcOy5diqENsKBs4rJ58tx+cY3T8sBm6ryau6KxqAQ6X5IFVzz3CXEiEFVsypv0aDC7yTusQlRdAlZUFfAQuFV4GKyEkP/uaDNJfHHfHCUcsxJnF3te0vjRi4Fq7uSD3fpoNBNhL5/xu5HJNFkUXOLk4zILvsO30XXM4rNHQ/rFu5YAUuLb+OPI5qj3QD/OECihNtfCJyBNGXTX04RazYsdW7TvKPdEuXg+UpHgb0QVLkVmIS8I5SsHmgsPNDhjlKlp6ZGGfRI8sx+e5YWRGQ4tOyvG/EGZKktMzGPnDGCWgQSFM53UvOsaYYozEOiglu9VxaZdGo42FQVCmg0M80+bMBTBS1B83IVIib/6sIr6DybGIaSpCqpY5Vua5rKnHmtQM4iE7eFlBy8hz0qIYblQ99xM6RZp8+Yr2zDHrmzXPqI1HfcpQlkaCfmHNjCW8WhAPnM+yDOHNQXJ1896+KQBhkdcvfbfcsJACbQ7lGLoZmsj1EutcXcVgVc6ONooWggxxDNzMeRp0LoRZ09B8ylCiCjtYYl61S2cPLHRMToVkBEcGlo+lweTvvM6wIy1m0Q48o73f2RWQNziZYxl4ydzb709Uo+GEcGiBzqPudutQWBhH3yk2dBjasrb9ogVgQvIixmHULXqhcq4jxkiyU23Vo5ShES/ZfpKtF4r2/FkmdwJAjgESgBxlFy7KSjKeejvDXT7ecTuMniQisUOoGVIcTrgfe+JzURq4+CB+irObwRKdu8CL7RREO80/iGGRdTEb4wTQckWT9nABmaS14Mrn6mMkPFfF1QtaTOtwsdFVH+PSg/PzBRDCQ96oQwQKUek3/xrpMaRv0ad/fzNOxV6uwhQFrfV3BdF5k2UgNyp8/rRmiidZExeSnYehAGU88rp2HcBGT+bLatmayuFTbryEiIXd5GUa+xfAQLjdK4Qimrw0fDH+CCPEp3GBKLi7743ICYv8OrngQiIRQ+aWnr3Oo7QQRsixS8P3X70MNfq3De9E5zWv3b0R54L+HKzYx6VtRGw4+z35nxSLm2/Az7h4qm7JwMuS1T2YL1v/ZrifPjFiDxUqjo9TzLyJ40GAPN/+souQHaYAep9sPelb4NdO8gKNw3Xeg4eYCLzL4RuZq8roET5OKIagOOPwYAZujJuO/kNnt4/r0Hbxqci7TXr3erOdiqz+bJXCXa7OPDfSY8+DM5o2+uR4ASIdsb9SwUjrNLWqSomGo8tGo+AFtujDzseEYvpSHx2Wy25rJotbcb24J8UvhPnrIoKp9Viupcp1TDQg7Ys8QevRK7+1GgwsQAtwkufx5T3new9Q9xug+PxRlDuEPeRj+MmwCbXj0vOWcspkmySAjI5jbQOcGQ/E2jeOo96qqOGJLuCbLpOGrTLafcui3PVqGUOgAyTjf4JslnwsnWh15ZHJAQGTVwGouoEXxneVc4RMBQwAYPJRDlH6VCtys4DiuKjfoNv6u83rwx8JhR+52Q6f5+lBXtZeX/ySIrzUf/Rtzx+tTFmsEXehk5aeLBLH9Xwb97iHxC+V0/D7awV7yGjXJwBjIEB7sk5nMchnyMM0K1tf9Q67vB5bEhxXeKAeUHfjndYdglQ4OPZX1JIqtf1Tw4w4dwz4kV+DnkG9qKDSTGtbcZnMfo+UNQDujWAL2+7mG4T7+bDZ3U83RKjai7hzjkrLIhxhb5Z5DUWv1ngvH84XNlos4qBTpPA8H/ra5iX3veG5pqv8JGLN00kPvzjAqWFP3hw4iMW9IK/Hs0RfJuIcZUgl2kGg61TixIcxj/QgRgFg2SnnSj7dmPczvbDWMHfAYMFuUoB1giW+7V9PG8rK6QdEQIIW4k62tqX2XpmOwpTzZWGv8UPN4qQbktmHnCvijkqLo4UJEPR39G1DfViA3gkiW2lTJ5DEB61722BZfZFS/Q5noeJ2G8advuzU8vs2aFpCdF8T+MjVhB3LBUl4U5z+8QwxmCdJZgruYIMM5UcwdVmByRMTMCVTxEApwSc7NEu+WLSAAcHm0rGUfpO2Pmkrx7ox9ciQcpQlHNLnLEQQXcFFx7fPjVt+3zHb78qI0nvDfubul67ffp3EYsGGgfMRj5pIkSrOoUbdwuxghXSaWpfAUKphDLsWJ9G2JhtKxcyyIb4tIIm8pNQHBRymbXvZgV9HeeYnpJzYcrtRc+vJhOzqgKUi3yQ6cfmnjqbKa2iJ/K0fHqcExkntHnpKxVy93JtiT8zbXWDKmvVk957pOgR5BsUGxgz6rGE0t9HdVweHr1t/FqnvCEnQsX1464RjcK5X7roGuAUdFLdxsUHp2/7v1bHJP8fokqdKn6r+XW6z4u0ScmJNZl1j2R45D5qfrj1jD94UiiVMDbKrSf9roNL8vRitf7b5O24ONXP1Ma/Ecx4xDIF3dz3qbOq36mkzzkcx23Ms5pu31JYG0tP2kUXkCYXA0tY/U4bsH7W6KJwkYsgdyfCaXoZOKZt3uBCRzitL/9ki+dNmOUDe9qysJKaSZzuly3P/ylZbQF0xnBHOpwfjkcp1oDKuSLJIfilfGBSFLPpb9dxQ1Sk2heCeJEPAYbN43JLvMnQ87+l0IcEpRUghjaFI/MexIl7toIiBvJ+eeB8KDcEtoGCTOGu/TlLXAiyyMWT7V6LSrBEVZ747wXW/TYJeNgebc4ME8dx5OiIdJ0Eq5MyyzqmSD1HQsNQadCwJ52xQTCOYInOciYrwhu3C9XHaIKCoV7L+sk6Hg0Lp7RUFNj6pp9Jj6rKoRQ/Zbc7tEypomItI/RqQjQ6z+8MR7uBelZZAjsnzMWhzWkZGw3YW2BJZGlmuWYuJmcyHFLIYAyQl9frko9OQBvwZaXPZj4SjggME5HVzFEh3MCfTplCGKoF11/nBi4EcEBpy//aPaGgb++RhaQQuOgBTNcAnLKVlJKHxI/Dn52bO2PZ6wz5Sue0yUHAnmMHDeEHJq4+T/7BiE9zsH5PXR6mKI+IFa+R9nB8abweEaPSyN7vRISBWdf4wXPF1rkXLDFe3uSFSNGRkowA5Rm9lpgjbJLfQ+BHdwj6EV0hY3y1uEqw7Ou9tj6rZsxN+7FKbosoaOmZ9vfBPwTLS4RODEIfarshZfDMFE1IKmm6Qr3E5MCmP3e5p5dPwRba3w1/TgRobCDq0u5yWquaoXYhKL05xE/f9K/aVCjPUvy87CRTCGQCeDDzvxvbUHYmQnemK8nM8X1N8LLZBigls6iHls5zxvVzckil+QNjnNlsMs3BKe4ZKksFs6kOjWdlVBRWCFLGztwf++2dzU4IPv33RartsiJDUXaJ2G22SQo4UwHKQnPRPrlkzhqacyGLOjUWvXczf5QE3gCnWdEIlP5w/0SIFSmET3/glXe/9ku5wyBLaSlFJtpjL0TZiKuZPOF1Iy7BPcSICJa+mDjXtDLHUQfCkBsnK02qCYbh03muiPj1eFYuHlDqh/dtWhcFszwSZWAjJ1OZml/miTuZfg48stooPfU5mIOaTXz2phUtesAKm1RniHiK2gQ040OcgmaaKnvVa5Xcy/var0cYo6S2eckRviooEpTbik/2qJzBfAil9U3lZcoLf5VNIaOy0oGSeGJb90DSXqoASvpbS5aToY0OEkZtxByiamJrT+viBqQSZOOUVm/AYKjSz7HDLhObBNr8HZfVHHHdVw7u0HpVP0YSUVtWgSz8WDvX8zrFYSPuaU/UpCQCw+Xl5zwJpot+/gb9S+ifoj3VHUXvuuHr25kSDgpNqGM0oafflVCFebUr74zNTGqBySnQTv0yAg8fjpmVzUF+FT6T7O2h0YER56kooHkTdCG50DNkEfDV9DXxHddtMUl53SU9JG9PyHVq5gH84LvADf5WDng7dXLj43Kt7hLIuz5uaeWV0js0Ak1VZbhfi6Mv1QWc7V0xngFM4OtyXk3cJS26BhaXmuGB2fK5JCNO2iaqhnvVgrjxp+Kr27cJyws+9AdyEzoOWqkC1qvl9WEhqaqOKeWJkzipcTi+MfIwVrFV1yhKXH0kY8pK5rowpnWEsjMWIcluaRdtJCTe7bWnt6J4uo2c2q5ckjBlhhbrRyEtZQeWH/GWaxJwmnj3er9aaEjJw1L+r3qR63mvDbYldHINIx1pUgDY+utoHlaaDoCjbtcNI1MH3N7cUemhQsY2a8yX5TFhARSbaMlK15AGx+5fdWVT3mPEb3ZcKapXq/0HZiY2yXX/6Ydwca0XD347mj5ufKFixyLZ3fM+VtleBisZAcYZnR7adkb9H/UXdUWr+MqluHM0NnhPlFzxjZjq6YZIh695rfwDKRSRnk+oY+vkFRQqHwD+iE6aAiQ3o/pvXJf5q552M2b5NfYkplvrdxMOJtD4RlSlWbXmUuuwqg5zJsC6ii59V7u/l7muCj2JIC9rddKNuCaLBdJsYKO7dGPzmH4VZJZA+ut/vNmbWu4hxZazWCfdXuKNZ9FBb1yR7i3YDOwHyMMFQxV3cAo4Jr30nJR626dmeK9TvsgmA5a7zS8qe2bg3jZg3R+GsGDEVHZFr9K0fd0dizGZEK4NhV1K2Sy2RDzTk1uTmHU1KqbzKEJ28XRtoxVfroVEj9k7NIbpZAWdsQ2I0Y1WuucB1c+Rn9bV4DlxuuXYBBLebNBG4tSoU9hTzMS0qX4Zsa6yt79M1Wbb2x5myGzNisALg7w2B22A8Vi7eIA5F4nikAIqZliVSpez1WOxIOGdXlPrPTJY2NTX08gfNDR1JFpQ6UtD7wKt26uR4OKRDkTzo3ElzDB3UF6WwNrbcN9lXgB+AbLyu1N/ulcrCfnixWEUj4rXjGIdjJ8ehhMB6au4odfI2TLcnwCUGGBZ5ep0ILTFWxe0H/g1MAOW9DtE1/Bj/cFt7rvbfw7SKADOtRUgzf0ga5XSsAwjUlvqCwvkeB2j2ISfmLNGbBTp0kJe368wJcmwmMBBQEP+oP74xwjWSlo9Ey3kAyAipx2Gpxmsrzjep+lKt4+iVPPuG/9OPNhauxpa4Bki7dL2bGJsVqdL55mHBCHaTtnh5vW+sOyEAhza6Oj0+aRRETNlzOq9tHL2393GXgXkLGGS3ZBFlsQqWtQMnrT/KrqYXVOTOkoanSudL3ixXr6gMgvWYLAOUaK/qgAzzyhYXf4FQV/ZZHek4FC7gSdHG8uzk7VCbmFh5MUbAlh+ytJxgt1QboimK9ir+BaAUZymMkXtOer8Wh0lek9P656Gtl+m9e3QOnjQjyGWT8sjxf1hAgt8LYq98Es9gI17deSi0sZ67LcAooqG/FOgXsBxcbzkhtwrHwlwp2avLhCNB1hGal23Qn1xW95RDAPtGFE87tpp5Xr6eNqyxuweJ8WDLyMJF53vYL67S1JJezeCe/q56cR4EZe7uDyH+1tusAon0fyPes5lMoPnhy1fpSxrEWQQ1ixrcZ1BtpvclxOXqNY4OFXD+hwQBXK3vNLtNZL5fETJ0OXBRCXx4IQmvnWaFUVlEGohYKlICyPSNgbezoCStE357B9VQlmwdLzeHkyvl5vW/WwBkMZM/lLrT2YCP2J9g50kUCJKQ+tWozDBvEazqnrGcqL4l2KOtFwoGgzHy3gUSxixFJjNVZvNYAciQE9BDMyPp7U7Hs18sjQKIznEe4sKuuyrP15glNXGxZaNtqxxIOaG+DOhru8aODcPqz07w/mA4PQloI0myW0s9jrWPRuNcgAmvSHpsTBmTqCesj3IaX9GnyoIu2XhDIMxwJS95CN1snGP4TRynxkwL/A1Em3F0nB4tk76NLxQDidDYD8uM0liNgstIJGKZDw8ARUHbfAnNIar52zpLU/TNDW2JuLDR6ZvTQyBVno8+HooE63RMBx+DBMI2M4jC4h7vutxZfsEdnkjdE7XQ3ux4rlxD8WkRssXry1Y32gtbJQEaXGnRJOr3srJ5FWDX7EOxHaKyC4VeM9TeirItOpkoogYCunO0718bjImZ2eWDWEbNj+vLbgVxG1umzkrSelFNkfHg9gW5XbDr103/cU8O1PjNzCh7qR/gl+uLQJi+ZZTM8YnuKh8w9Re/wdNyzkOhKlOM4NDXMMToBbBt4QiR4CkOwOF/qFYo2aSH0reIJXyebAP0nZRRggJ2on4jOOJ2s6egZJpTIsOPWWbKuH9MrIdhQsq0CERWaF96xZv0DGaT6Yvrn8jXmgDpFjvW1ldXGNmD+Sd/tTfF1NbjYDLFpblFBG7LKe3tTeQg+sE9OzkWDgsVgp0MX4+smdfJkIOYrI0oPmpvFzq6dH+tI7alBszIu90EmcipMk3ZCMFtEBT39eG45iglM/eECZYM3NBrkchEq9TDhyEOe7NVuDRmRStT6ahjaYo402qXnVa1ckHOennsXo+Eyl3RHtAFzdtNM8i2HVVFS5xLUXcGHDzeyO65qq8QWUmgQ/sbrQ3n3ty7yiPU+IDrFgGEjcv6fxrrtVp//1KmaPln9FNmrKzGp/FB9azOCXWppx2JdaAnG/jTfccNU/xzRLwCF4JOXIIfsa1H1DOLi7B92aDVMqAlp/fe4vLmHOH2lTw8w4miJeNh1NryM7krAiZozCGr/gX0adPG0wB/Sf74i/SS5jdkdGYwTx3QhAwKZKvht3TPjFuYPMTHyBV59IGi9jnMNdKkGLKbtbe0VxrTB4kiLlThUei/UwuoMKGZC7KoeIgWm/gfJBFXvOObyrYPBtrzFB2bQtn27s0hvV6CwNTaOYhK1gHrn66BkfcRlbrzbY+GBgz+eFfbilnEkm+UmA9v+c53EEbJHJhvi26thL3+j1y4C6umYMynce9Tlv+fdAgLnl/NOUN1SUPkuUPVrVOjQLSPUr++FM4aIPut3+T41X2wwHcOX+XfVeU6iabHkAFm8DeCTVPrSXChAgdHLFmRWIt066idhzQgUmFHHV23nhsNWxZ+g8J1pcTqaDzBLejoZKSZTSNBYlw9jDcjgVDKAkrkLr34klHqaVP6Oj5DxiyTdEXKcc37z39tDBoJC5aOkTiM3stenie590SC6dmk9GObvztyG4gA+YCnV2rLsH71liOLS2SWLTxWubAFk7CsTOo3YAHKx27PPWUTjal3J63ZJ4Xxo5bM1vJxx6CDyCVvhseeDStE3ktVwIrsC0xtIWgbhLO1Xtay3Ca5EB2dHuNEdzpHhhL7V6OtIR8g1JgzPVyb+Ln9A4f5z8xZ6XlfImI7sgWJZO9EIKOgjkoWjYT8FhYCOhWvQVfP7X+tcB7JMYCdSYVhFIJfJHPgCpQ+zyz0QJF0RRTuGszLHSi+QEbEwLWSBxU+tguhRm8xTOUMI47PsdlwHGcc29MY6AGgNz43TbQjL95W6Z03plXlro0CPbXWnJcJrYPe32abUo8doeDhYnN7N24tBU8XbYDrRvIYAVFFl4mpQg2dAM1PQ1OdOrCw0eQorswjNjPaOXGaiKzM2A8I75cPbCfsak4LuLjkLA6K7MzBgRwCxJtJw2t7RlOeRGzWRgCcTCcoYRx3UWKQVJM6mxpNjdVxswB15ZVSoPprd0E+aa51jAvHCHgSxHDabA/U1+8D3KjlH3GRq14XHQ0wyIwJIbHjIgk7UPAxJalvqCxGzSTbzQJOHG7onb9wIoim5fqIdl7sgBwDu6EWsObFiZMERHxxJoNr1cQOrDQxsVRhXxdpNiR5ElnaDrVqAZyd5iRTFJ/MX1TlRs/fIQmHxVO9eCxK6GH/m9S5rJeVTt9CuVhWaSJmfGlcJihcgk2M6Athb2Fs5HvxQxW8BAKyB6eoEkmnkb/RV+hfuJN+BuAkC8WInGsT4XL4kHyvBrPAqs/JX3hbnwSTjHgIM1gqjA2vKXfZ4uttzSpfFktZ9VaOysy9DUM6nXsK/SbWRykEKD82A3DPzINj1GtwvkjAwRijzrbOzcWpiM8j2/spR62WWX/Eegykzj8I8fSRcvOwEeNgacUuWSXDLI1tmKdtMKwZCvTfzB5LHpcUBhuz8xM/n7sY/SFMPtiMnOnavOlsQQFT6wxDzgy/6i+6tQGjvK6HS0PLyCHPLdDtfZukTmnL8lLoTbZ5C+CoLFRHsLCC7duA0HXDShaEuaAqC17aIAVMsXhbqr690nXoDt2zvkWKT4cewXT7eAJ+PupuwKeiwL/ib6LhxemCK8PdN9keDb8+L7iVqSvwjVVLzUR/GB5mKC6HsweH9rdROCraCyln45c0Bpn2xkXW3Sic0e7Fzl6HZt3ArD1ElTUf0rh+cjYt0aY/KFuGfPDZEQXQ9kZZ1F12JbeaD3RLiT3AYXHPFmD3qoIZhlSrEcBYOYzl8KiPey72+lXu/uLiin1hl8m0HLBTY2yEebQlHQMY4u7vFhi+93oS8A57KWUZGPkCMUcDHh6K28TZsihQwxJ44t2RTF2Qbt9WY+a8o/7RlIELw1qBCt17HmDasoaKfcvpRaX4sxLYj1Wqd5nft1NuJEsGa/qXOkK9yRf7OtN8u8ZGuOHVxxT64a+eR64R9IQ+AhCd1bf9OjMIbs/nTnP95rrEGgjeA9RnpyXPxUjI0OJlAM541BeUNv7zwXP/jMJMB5bjH/jqJOBAM6fmZiJjJM89cNEBl+uSPI7pw3Gh3WnQpWwLKZj/sFHhaTsUlDyy83pPa42qxsVLkc+TH8wl6tWBCcsI9Kln2/FOG3P//ZbujvnlN58dZyOD6dnj+poJ+873q8MhXFZnkYMnCtmo+pXf2Duo7IQ5DMKwhoahLTxLMMaN+V7BPQ8ehU0ovscjlz+eZuOSEmpOAvMNQA7X/Y88TTXdkQZzVrjrnABYN2W50vNPwn2oUkJcxK8+y4NLsJ0E7HFvS6OtTp0vdbrvs/3CV87yaIQp0GMaUas/YsgEV66XsUX0cHva2Pzj7uzd15aFf/wKiBlLoaJsGjCsKKhmq6JJR3g8/USCDO4aCYi7dk4dg1cz/837PzxqBkBH0exxJks7UwHYeMbRFCunqooxHC2xboYUFNA8j8cmIRUumoPShL69PwhkPKrDvz1Uwi/sX4kZTDXv3Z/U6cdkHDrP2n/JsvxdBbZVDPjlU3mP6FRZSaObkRaWKWqgN9BT3HoUaCMySt8ONp8KifB2BKWEO37Nw97auQjGSz9QSLLxnSawcARzZTuaZaOqmR1a09Vt6O93coehBASkWfjba8YeLem6A8EDDJ8wlDLAeajSlWgi8qILLeGQwg++Gcol1o2JQQUsN99a9bmBrUOxtXrFnkZS7dzgERFwwLx4vABtLFz0vH9np/y0XdgmYUl+mKjqY/mm4aQNsWKyMUsvucd1WZddbiSDgmHbunDFbSCfQijIJCRbkXVFIzhPC9ReaKi/i35f/xRgEBH1zAQ9qAAERBwwwjcTmwCuxOjLUUMJQ2eWVEC1KzSn5EscK1ip/W3JcEcKQ0EoPlnfuio9fzltqrGFn8pgszsjds3NijOqAHyUlt+50w4RdHE7csiVcBlx+jhPOBGCf4ETjjmYglu13DXguyaWZTKUQLUf6myzHaL6uDUmr9+tMCmgj9/zFqa3eBtJZHtf6wK0ffPIVPO3kJ9/jl6XqDMQzuZqh0qHkINzUG6AY+pFjJnA1HmwS744dRGMEX5obSgZyTZnL/WoRPcsoFDZbLozNOvJKNIbSFUuJHUfLXohHu2EMwnc7rXOSAGJiXuezk11xZI5PTDNT8SQMP/nDLpUq9ziGkoUbBxaWTjerh1tL75xh72crc6FLkki2vHm2KiqzKokpF4/FemKdCEyEGAwdZMFN5TzFowJczRwa2aQQNdDyq1wzuiFPOXdfdN/146wTTRx0j3HdnKEDly0RV43SlbhP0F0bThgyR+hL2L26NfsVrc70FMJ50QjQSs4L1orVcFXgLGB96KlAU7vex5UbLEBe2mSTlB7/5wIrzzEOAzXMwRkCZ7EGriUlsbXs+ddig0wIBtJnK9VFb1LGphgHoBwpPWKwVOZdB3iKS/4uXA4oVrsnfhjRC7KF0Ci2VJ+XWTQJLPlvrjPvadKhX0wQ5I9UdXxVgkvE/K0a4mzaKfL7HVjIGq8WONuiHiGVJv3MMAGjhrvGA6iW1VFypvxkoNJ9Rz9Sb2G2QdMT/m66p2bukfWCavyUWvPT9BhvYqVnM97vcvZmf8r4rREnpNc5B1rohatl5lod1TVVaq6kmcaRa+co2b6Q+nl6Bpi77vHEpcj+C72TT7zSpjGIZUDwYLjL5SfTgiBoi6YNSM3UDjiQw4TClKDX0DxGh0tdvBWhgktanL/lZbS7jNZudjurRs0WDmFShxxv3hJarI/WtUF2IBukeBhDBCmVwf8MYpmSKp1vskmw3kmM9NmpZn98Rs3h+WdEzWwQJi1vwlApyOtAXaz8wJukTN4frvamNGwJFcEpUEmXPcxRg7W226UhyzIyLSuO+EigOQ8A+mAeLMXcB/gYRtZqn7CjbixnutG+nYIlBwK6KWtJ9MZR8cEayE2PdPUY84g5aCSXbafgfDzd5QvVZsKCMqpQvv6SbNagot2sv5dEJJeFCSu0lfW1eOxkcOHRdMnO6kkuWwflAw1GFHQl6NdDpru3+PDofOGEfdHnA63kSS/uvTH268VciovPLf9T6XEZuZi2hs5GTuImb1VIbo1hBM2HTxonRpBXOMM+VZYwrqh0+6HC3l93hxCv/jD8g8f6eeyk1sOzzBIbLkJthdIhM9rWKa7dSrA4zk09tAsSLyzjmC5vvgXAXPtzb9jRUH0gPqMwmPSsgjBg3K37FrGCqSPQnBsyDFrpiTjmqNd4NHh/7vUrm2yEDHnCN8fC1rJi2+97QarnBbHQ8JtorWh3lbEAnL4gB/Z5dOCpKmBx7OnSqT3J4uNp/v5DONB9mK9xB+9Od7snRjWh5xeMFVRp8pRjl55DkMrwG04062iUIzClU2a6LD9beTJDwrylSPlAYsoAxpvGicF7fiH+sxCRr9YP22ZkF1dFp5TG4E4omr7byjnfjqRtAtftEu4FhYBy80zv/uN7C44GCRAfbSwqrGEAFvw5QRDM7gSqW9wKRM14X4sFoa8eRgm9k+jVBOfbPpmpyII3d+MQiAdQKIK7zHwwQfZYP6RI6aBMT9VbU4niOuGYTl9EXnQVACUlOVpSk2O1qJhHb12ATtk8z7s4ruH6QLw+JUH62k/pq9DpQ19o+yxf15cwvKIpeuj6vGKfQV73utcQ6sXCPSu10iadbuF7GmzPcdgcZnG4wDsn5fKe20XfAIVTQlGpSCRm+aIOsfDNNMKi5OADGWEE+pWnW0jQlJiNEYJqLkK47eC5s1+U9nhdaQOZ85wa3i4GtC0BzuR5UyvYP+tOBMrBtQJLmcxg1DVOBpjDao8CVs0rb4SUivIfQ7Tnn4xM7dKdVb9C/EvQDeTAczUyrEj3ymY/0wc0PyK4CAB0DvRu51ES/9+IeYjp0y07pIV5FneXfUQgO4jOFBltcI7MRAAaKSLxzs1pz/HY3Ikyj0x5lpfeyHu+7WHrSAvCMUxzp2kpJysotosJnrHZokyXPFAh3wj4xyR++vrObMyYDm1J7lItdPGnLu2Kw/pJM+Wknkhqpecycwtais5mbPP8IH6529vhDOPcXrfxMkDOSVr2gRwM/GRONfsLCnDHbyVGa60Jn/tnQiKP00F4LDm524OHVoR4ZRxxE2JMIC51b/LEbHMMlhwwJYyBZRK6TFkDGZvuwqns3Ap3GdP8aFRrIkN96kxUneudMV+bjv0yMQ5XRK55nFrJmTlaFcF2vUYmLwu0jsz5FgtjPUsEDnUcZxXtTmeEqR5VWjo4JKH35K836DhJ7U81bW53VwquANiEbQ/dO/vYRfIAHO08hrOHbFcgK/DY9pemROjjESoGndjrddSfIx0MRjtOIjBUl8cXPrHOuh0IVKr/o3nvq4dLOoYkkD0DQtJcoCLHio+wLF4GJC5YaxSHnfuFk0zNoLMKqPhHHKBNU9WG03FoOPGaAljAKR9Shsipt6c5wBf4ddePilTi0vHmsAdm9hHtTJ4rB6/DjV1AgYK01F0U5KdPTHpnXJkXelWVDo86wuFFH9ro5HwtKOUes9hZfgMpxkplLfVjRQ8R80mbGtT6NILuVqsfal3ZxHn0a4vSAOmIgUyh1WoRObn7ivy9nDlE6osK/YOu2YNalqUDXfSs2f+ApBrM1gckh2x2rAScQB7Xf7T/wazmAMBBP5KznSt5Yz7t0zucwnoxCesLGzH3tGaBL7qKAyormIxX+Y8YPy+JvseqkNkKWPHGn+l5GP/X1+yrSqT/zdQoSQjSBk8ig3n++S/ugPNhHPTj4Bx5Lj5YSB8DqeFXI/AhotHISXJHzXJd0TCJjrWRoZW9r6nXumLRZ3Vf4hxGxQMPoj+Ms+ZzxmTy6b27M7eZyusconTxIORt3Ko/TIu1xv5LDlN3KAIAOjSn+JySl3SUypi+GzS7aHMzQWVmyOLB7AwON9RNqnDFnTRpHzlMy5301qLahObLW1xEvORuRXtBK09UCgXSiCaEdUFdLmKqQRYrV/cPy0xi6rcJKiIHlSUxQu5VWz4fSErnkO0KOxIv/zmxgt8XYhwxoAt0ghm+uNneTfM6wNzfQLWW9CLGkvh58n95ZD7PLJgazSqdOrOZKLmbQ7FTtxaxFWR1jJEnnguQEsG7ih8+pT5PBOaVMtR/tpuNEYHP3/cQvTKqhR5gR0TPZhYlTNlEzXjsY5hpOT8bla8qssc9CScruKdAUobqz/bUPWaENO6rRAqNvznA99cr3ZGiPNgJfSmPHW/kNhBYYriuZPetyAX85xsp3yQFUhI+tfIn3eMht5o07gw+jGxeX3xcoiYg0D/7cJsvJCgRanPngNT0ZzyqeafTbtnLzXy8NtRJuk+BKmHjfjMLLrmplKdMd1EhKDu1fYb8bSesBjpT/HNGAvNmtLoV4djK09aMI/cD6ZmZiXlFsEEdepHh/pI4/KMEORyL7Bcnf6zM0oYiA0PQcoJMBpZcZorNWiw/kXxaxSjHFbF61hBT9O7ptbHQ0rW1o3P8xW5Ee/nZLhpsOCCR+fPUivAjVqEDqhkUvpsGCypKkyTTv3K0XHZUddBkU5Rcgy9Lm4+EaBs5jlVF8vgCWwp+vdFtgzKziXGpTR29xdz/SrggQDVA8HJb9f6Ns771glYO2jRIIdYjs5/x3lBN0U9fQKrkyPpGHcGP55ItakP0iL/fGgLHYTD9JVg7TCQbeu52cQX82T1oWJ77nqWNP7TgURRVZEJoVmKloIPpY3eQaoASOuw7jHAKP7cdd+NG5MT+NJTPaXswFd7egKVNTjK9iKzpyTptz5PXBXX3Zj4pJjWQ2A3SmGaManYdzjPebrZ2d2BuVpHC7RPZUvTmpwFPcK+SuuKY97M8M09quvepO+43+zx4KohmJld8I+8/jT213vMYDh9twyz6GZYNGNG9WWTiaUOIBlAZ4TUn6XmkIyW6jO4puilQoMUy6CiQVSHgeeKSsKnGSLG5HUbxrVfHwwIjpT5yYm5UHVCCPm4J2IPsqVBDTcmvfvnaaZQSS+YviWcofaelVeg+GDG9vsLAp2IzPpHEoRosWF6f0XSr+wBlcG+fXGD/JuzBZCr0+YhEMd5CGzYF7P2jnK9MXlXNbBrCyM7jTRvQsybrTOC4ROOuZd6mFwXn/ezVedt+DwTnxYrENdiuJQmBWygkUxY4qY6smRFRLAQmSjFlxN8ADE2/VHdwnPdaYjfZEmjS6kjCUHPQy9qepOptjUiRH0vd8tif6wEB25VXApQ4Fm916Ophqj6Oz3heb24NKtPE6oxt2X8D1cORMCeA92rnl9HVz9jMZ76aXaA1JtQgj59OK9bgE24aUM+FGtgPLS2/4QyYWFPEn7W36y/s0vckS5kLCIHcfz5ySxnFRbC3DN6escGVfZKYcwmQW5AXWTVTex5K9c3POJPjNazDvFlUKvibqBPGtNWE7DuQYtCLokzv5U/pTT3wjixsHzrtFp4c06Ed+qS2MUb2Zzp6smzlpPNKMiWVT4IC2YrgyPus0RVothuAjHiSLc1L/N560R/19MsSNMVgHeC1n49QSG+lnXFXgU7blLjVV/elbN3nMr3+PEd66f7RfqcMWbQDugbJ8FesYZfjkyXEAmz75HwLavLaIUq9/MPi9Q2xEMaRulfyYb2Y31NO8GTQRooP/g5a2eI49yKSBOSGIlv3LiWfmCxRhSTJzn1Ay24AClfyJPetVMyHuHg0DhyE7JENikei2ZYOAM6e35nMMwpyY0EfksTr7CGBU3ZrH7nk5R8tLNbINVdFrtcRuyYQYB/tjo0slcEHOX7rgzItc+45r9QXUgsLiG/rkPLkmPCQfgU3W1+WmQIMSOh3eNayO0JyzV46L8zzao17yHxdM9gne0ocIhyn11ttAgLoGsAH+n1IDQaBgXsLv9vygyxpPMm4qiDo68q6yyzhYnouzmhUroDstUFKKeT8QgOfo/uC8Xy3DLNw4jN0Ml2y7oNNGaklxx8/4KjPhEGgLCQyvQve3f2qG9pDHoBancWnD2YBYGPQT242nfQGx4J+0NmQYBxNNzhJ8REAZZfFPXoEYYHo9VUZKhuD6i/U2LpKijGaYzqK2XHvMolRsGhqYcpuEgjlmszoEnsH9oPY0fmtzzmbnB+0sthTrbp7/6lOvZvV3RJ/sioJLkTKQK2R9XEFhfJ4gr3wB6u0iWB1qoPoLnzYv0xL15tavob2X31Sx/njZw/J9Rl+2b7U+1GGnmQ9D9yaQmIuXMA2IHSujB94NTGZlIpXY6smEYSQasnyepm3y2xQFWIr8hqaKo9LTg6DS4dHA/GVZBUHHbj43N48l4XErQe78CBwNuWLoFwbaP7zXAcVswvDvI2oXNtZxWKCyi1BDrBQIWKGCEfsavSUK8+5lGUbj4k5bxqQ1bVfuSgMmZFWeqq9Fi8bHFHHh1x9DjAtg/tFuEdYMnbMvn5LQFP/DuVdn6ZbyF3YgIkpvz9vMg3q9Rsb5W0eJRgfqsX+eNxU8pvgk7cYybKAeNlwSOpeud6tbOLhx1y/3sw4+47WgJe0ly/fCLMtwjzNbaS8c9cc5XSvUMIZ5U7zd7Yqi5bLW1TLye9oph75GaVExW50XS/DaWYebA6PKDaJiv04v49+NaOaqiNv5Whve5hg0ah6PlAmS/ZowrC1otbrGjkvUoWfQy/HJ5JL3DZiau2ZI8ijjjb7obhsJxyUqp7pwvCNer8zRewwPXL2alktslvIFuJ3iyPqhMHL/Ct9mq/jomT+K0GKLz/QWolZ6WsjBTmJsseiy+RFBWZQfB83el+nrv/Z33/9Hh95mio4cUSREF0hOtoeqiufwH0nk3YAI3FTA4mIQc+yAZRQ/VekefbfmcQjWP91WmmShcADqhzv2EqrxfKe764711re6lbHWLLlSXEL/PmIraSQHkt+gayFXJpjIvs2TcMGX7ZNExSiWvH+o4M/LrEYVp8b8MUtc3o4iUFeUgSDOc0FXynH+0juz4EIeQQrfDjRBQkFKis5NwxUs4o3YsN2LQIQyu+G12Lipq5zAstOqyASQMewALnthI8+vzrMmUqNSa9L5PNXz+PSRTe6QWjeHQPS9pTv8XOiM39n3EJvKTsKbkZMEpY2/19hUhhv3YJ+4DfqdwZnchWm4DkpmdF3oyorP3pwrLjl202bFY/b/aqRimunOz+bUvbpW8XisXHDNPKQalD4EeTzTXlXpLlwMmGCSeKlm5xvH2hsQcJResV1NK5uxV5r20bwhrW/AyPv1N1yWLU0opejbV/x1zhsFEjP/FPkUMDfaEgLPbMSN++ZFN0H0mp+eN/sL9Ko5LggB8FI8CZKgzuflCyfAi/0NqM0ADdigHjbXbxCcXX1A87Y1dDmP4mIDv0KVndr2a6FJAyymAxl0K5vVtsvzXpOpswsDcUcH4fhK7bIHxCm1MFUviBy2jB2OL1I30h4zIVfYUDiNUTvRTzrpBcztntIW3pP3r9F84jAhQP60HUeWdWs11dLZr3umcw3poAQcvWU0Fa3gefd+cBAol3UYM0AyaeQcBp/EWmgzoZv18ZDTtQOSZLQaBICYd+6Cy1JQDsc+bMno0qx7NFMr1uImEFxi8+Ykzu4qCUIJK1CoXu4ZofQnOBUnV7naLBmHDXCuPVv/5d/jBQ1fk1kFTqZiaZQVjbg9igAyPuNCeVyJEEzZRy75B0tsIcfWbetdwweZYEnuW8i28mvcf6rwTwgRw0UEhOtGShbCfMZAi4ETyEqUtEQy5DP5+UoApZ1Fu+21bKbNg2m6Am0QLMf1uIBCVZjmoqV5Y33cH/Fi24PX3OT5YOQzs9rfyDin8q5Pm3idgFIf/zTBFnkTLIQf8iByT3UDAWNE2hfZS20sNjmscH3FXPnKy0QDx4t7SfWLScFhcdZc+DceKP42++YCNfcgoNbsl1oDTQ4LL4hAFydPa4b5DhvEcn/n8cGmNW7ett9ZAVIVtvWIQXQpKuOmOBagXR/H/blAArN0Upz0NHGHGtqPuQx1ZqJjdYvdoLrmbf67o16jRFrhcx1ekJ9MkOPYeXQW6791j70pn93U7HWolH8ykQ9kT8okLYL08Ukhz4alBCRAgtks5c6dleEN4DCFELa3IZBagpCOZxfJ5oRdoWvo7ZE/d+hfxVcM0ccYIX0YzEnqJrXYtq62ZPLj0bQDnxCi6dWARM63nv9CE8XhQre/exMgZ2hFQg+7GhSdXNhW/pBjQANYIVK+6eGF3OdEOEIJVJLAuc/iByVVgfuq+8wn69DOMZLhn46RJ0Z05k9Sot99LCnr3W+Dw4+CeDk/mBhJ2FSNm9l9l/exTKimVXr91GRXUHKxFFbUsu995o1gSA8X+nmKIjkxufV8kYjIjiWFEac6gPj3SPrWqE1WTFzDfsweIQZPP/7SqKY3rhjXdo+61VU/zyL7rCDRyHBILv9rIyzaQv5gPxmBcBY30+QakSWKw/IK0dYqMmCJmFQScdO1Q8vlyoiX288hAoJtocjqmtCo/t8V902GtS+GKKn6x4CmRcy0nH722VhtZ10XGnxv/H0Q0/q3kuXXCK5f8AK7afaMEXNhTeQP4PkEfCZ26RJ5OICkD5bpZCZgTNwwD2/a1EjSrTZYTEHwLTIgSmsNcq+H7Gn5Lcw0/2UyQ3OosnQ0NGtJECfrWezefdYtSAU4cs1+KJfsvSsKblwyloJQn72mVHG45ZFjMIKXLv+/1yqBjty5c01bZBn/8enHRgXizSIfeZEGdLY1k4+7XFgytAAF/Xy+bUhNh64WCITnSx6mqio6s/fqYlFakRcswFI5IjZnGNzqxO6cZVjfR2X5uqWd3Nd9KLXAi+hQPimINnLD5NDSZPcRsqWCivOgzWEd6ywuAXK6y/Dacgnv3Sfh6e9xk7SS7+F110XpvyQCIihi1E7X97vYkIVlhelsBaAuFrCBDXit8wHgZKpoTL0Gc9lcu2U9IvBl2zVoIS2v1WHqamylLwF/uvxPYHsLskgSbC6DufPTQ6mapmcvIqfqtSQsXj8g/r2BiPq63QF1/TmzgMFWZ+gYFKmfPzBKdtOONgfJQ82tBWSSAMDxE9hXeKR2M+gNtFox7dYn6hQ/F8FwcnISrxA1RanxBRsCdKVBd4IhX3FKxtFXrPklv4f9i/vjnhc62wzIpvvePJRXUU22x6JJ3iRCrJhw4sDbZlSS/mkwDDlgdeV/xJxRjG5LYMr5LuNoqP6BVjZLgbupJTbQOS5ReZwjNna+Vxfd/8qX2Mi+q0JRAJQBylCPvQ/VjdTSIn6snHmfGe0jnEg0FK7yk+EhJdT6v9QaO+xufNze+g8INcKbHwbbjmyx3DQRSBXNoDSgzvQ5YEDdcDy4TyBa8Heu2kIP4A+9kC69CyrbNQVLQFY/AL2ZVqzO5QsZy8Zgx4luf/82hD4JJygyU+YLBoHWGZ+0KR3oe2KLu6Wq5d5DxAh+Wxtz8cb8wJPz0pAr5mD5yssA4OD3GzG0LyrXLQT8xjQdja614mO80L1iPsxoFtLpl4E6w+w3FOVmcIqbjyrk1iwG2vFKd4wToF+VIaeXoC4exjK0kMoyRGvWGHOAIVcFvtrwDK4V7ksjpBNHemLzsD2gY4uNZVr7JHQG/Dsvzhh+p3t19AG2Y1ppzGW6Uls9yWDy8t7jGVTB5+rUYMNvJa/DkArMmys/FMBhVlv1q2NSMGFgqeL30VdT7/yC9QlmfMrylJ/Y6GlIE4RXNNt/aSkow5VUUoVs/JyizIauStcBLouaWv+L6P5uGwSclNPJ87RvviPfFfKY5wlCZFULg+lvQKWtQUjoX6jnVY0T776EEnu6WfhH54yk+qXORW7yrmujzYGuRpfC1kjNabaP66xfDHbrLVKe8q7u1JcSazF2emPS3mogOJecujG6UxHCT8MVEBkXi5C9H7J8VO5mj/DAca89ChT0v6rkcZEcZ91JVxyLEivC2H0syZhEyHZAo9vpJqgihcrDH44olFoXLVR0Sew/0rAxSn1nz27Ckj5K9HFt6VqVv//g9IRzPXb+0ej0R5j3eVGuRFQ6X4ixu6XX8I8lVRXmw+Z7YEo3k81G1YtbbizUsrn82+v+6MbV3XxOO/NmNg0nIvURjgax1FMhwIsOioWRJt8EkiEyQe398xfzpOUyyt42NShS992xM9ILCUu/Sp3ayObWBK0+XuPU6kzpJAyloF+DtIwUIl4e6oTNZU3Rx6y09h9PQPbjXrF5Almt1wK2WyTramuEsAgB1ZNYjyOMovh8OpQUISZTq/bZhMT7fop5/DMq/+bWyJtR+TyXVC9LKsoMUlaaQ5NnsEEV8GST2tmkVpJIEJQHj16ewJMvv0oGG6EhZlVdogoIwpY6soKiw1eTtjqorW6PXk7StnwImc0Zz9FIkYJ3SUqAs1DQ2In53Oa8DbGBKHXyRGaCODZUEDAoYpKTMQh9x469yl3TazU5NWH9t3xOAI3lqViJL8+oQqE6FyC3+6KvwfwPqFcBXPUWASEYXJlgL4Nk6tK5cWWEVDh5ehyx5azuoa6CuLj8qqJrAHOr8+qKB6UTge4sTHBk3EQ3JWyPF7O1zohWkkHfXZwEIUGnWE9oQrJp2+DsSn7wQndD69pbqdydGBvpGKzov+8QABm34npsfZgO/izAMoJmD/cdb4+dIwD7lLFiCPX/QrNWll4pSTk8/xSj7MczXVPoS2/FwRcuwWER/rUiLZEa8w66fDLCRJWgYg6QxV6Tkjmjcjq0+V0aNC2Lm8j49txaGX2noQTM9QiWuX+1Wx2SCMwAidLzoZNlTcNQvmPhtPD3JDoJEIRO3IPiODfCswPI8zkmhzqW6xR+0LxBTq7u7jsvsTXqB1hxkm+pSvgM4n0tE5A19PdwhXJX5omABDg9/1SJXnDGG1kg1Z7Si2EyuSRGtb5EdVgmdtM+jTHctTPvZFeiimN341YoUgp5PugQfdljpfynMygPAc1fenXk7EF0inomDdqKa7wO0rIRKwTQssGkvsgtyVTRVNK5ybzCLLoO5+ClILdwhF9u2+h/gDnAn5I/eP74C/5G5bdvznyPxflEt4PY/KQ8CEnDn/rpwzORzdBT0qPCH3mi+BU78qOd2+/Cv78pScrqynShBdgB6JZcCoWDonhh/Oh+wx05jsUd52VvUu2O2N2N2sqWAy5mxdGUWvkqIi1qwyyOyVth0Qb2c7TT/3FFpXTizXADzUk0qNP5BVu9c2Ht8PoR8BXp+CpXAK+6B4DaVIpUFmnTXhLCqTZJHg6vmnC9bmglVJPxhMUjRXBk/ks9+6KEg0IxMAho5h5jtu+uBYlPueWrrWebOlVuYqed7CQO6N52/ckwm7Z5IoH0Ybsl3w6p8iZHIv7+6MI/jm0JgnN34x1CdQTIgxSS6rhA88CjEeXhIRbT8gHG2aNnI/LBXYfT6pFKZgFtcOqyeoGwkI9BfnjOTC1j3rySYlx+5OKZ9A6o27n2idFlJ4L/jWGeYKxyaHTLVuGTUcEaoKrYLDYzEhS/u8nCS6D9nX62cgqprQfN3xcIgl2yFZ8SouHpng5jMKBbmzEzHbSYq3dGZ77xYcCaWqAptH9DsPakvkWC+wwfr0vnpRIbf4mHtVYIW5Rjh2hlxwTOpqNJqEMIaRHmVriOW78CLpJYDc4WwK6q7R+5O5KsKzY7BqT43NMHDysq72nnWcJ8Gj+ka++OalVlX2BzM6cGOxGZJdy0kIDk4oNJGfI4m1BDBgJ8N6J1G17kmizGuReLGVtY413s0d1P+rqUoLhb5DzQVj5hQUyTSSMdpohxGw3AO/8XOAvdKkXHWNzNwMejGO2FbQ1/nwnm0m6i+Md82hNROPP+90UXXXxDnPi0Fcvw08pdi8UsRxwOnWSqEqLpOzd+g3XXOlb7PAlRkLlK//wZmwtjFdZpQKckIHvyX3f1ZugLKEcA/fNlKYwH181Vk5pTjA5WhCKCGz37/pIlA8yjsJ/cU2HVuhNe8Nrl69wSn6FdsZFBkHPRDrazUfA1XjUZEbvOyLQ72kmvgpcU4NRSv737CwB84l7euV/4DVQ/Qshx7fKRvc+PKM4MtZBPNDuJSM8JyHva/pd9gtrxf4jM7Nl1b0BGLxMYFnqwzkHWQYudaCObtEtijp8gqGR8TbGOPC+z++HMXLDYa1CgjTpFDOCAJDrAFsONbqlXidnIWP672c5o5DIX8rJ/74HAWtDlFoBCPD3E8Y8HnEJeXDoe078jIiVba6wapIe1wCegiFMT/L4faJtQuRoqmENoj//reSdJbANDcPTbOcydZ5FhPn4vvahP8XeNhK8N4qJvNT/l9fssXrNHAEmp3jk9DjFctnGrw7HGpGEa1MMcf2o+17t24QMNsL9dH//kRa6tXYC0+d42rNG7gNDkTpXo3UZOgJDYF5xXpkFrlW+K1vLPXF0OQEvFY6g02WCTAtgwKckfngwEKQJcABMccCVimqNVWrDKOB0uH3xMuhxHfDPBi0MTqgcQ6jCrXXYpRao5uPTokqgEK8bbfdgJupg3pNK8cqjYoQMCFRmqYf5ngkIozOZlwaJVlmaP+OWig++Dj1Eehe//wigrCLw/J7PLg4TnwapA/TZe1PD2BFPcGrVcYMRVXLcElDy3P3uTb9UyfxctwQ6/myUtGOpibCIiZ0vJwRa8cA0joDgRKkcyXptS6mQSl4ALGSZjD5HbgMgjNFfA+O1ixNDIVF9w3J1BHRi2ZDzNFW/S11bweP1COUpJeA7G3mT9J3SV75NUjLZ8K8+IS8zyfSartDxoP24gp6FcvNk7ucSZRq/JUQN5YAvH3kXFBFdXtVPJltRzdlsKZKjYEtLEsIVHBBtR2F0wVtkttTKOWjXqDinB/dTjJB4pKxI+47JpQ2Ph6UW4igi6+Ia66HTwrlzmmrYYNR64i3hmKHjFlPNuimwAlwiBm/Yd77e2R4FmJCKCm69pIHA3QKd+stHQKgbmc18R+A6rPzquMUxnOiWaXD0PRMNThFZ5s12B8CTkhQ9r3HiRqIsK0SSeBHGkLz1nkFRIRz0lKr0sL3vs2gS0aF0T6IQtJOWjZZciqRuDKJvT58LrclQGGJH8CYFVDX0Key05JAeZNY+Ts0+jx+bNZ4OgvwiTQRJioMgxboYMBwaXnR2MgFs9St2uE/SOlu3khf8sGHEPPh60Z2SjIyxwrWwBPwBmnnTi1spxDNtSIP9fFN/k7Av+Y/5Y6Ra9mOVxjyCbKJq9d8sD3Vk8UhNOS99dvnu94Vyfz2ZfjPrNJ5Glrnba6SqjuwUN3bxw3OvFYRoqszXDL82G4hgtgdzyP1KUx8IiyGsnHn21t4eB7hBw1ctEO/xrHaVd/60XEK+F6yeC5CU4ZpjTNye9Wpv+F0usWfBAx11v4gMULpAIqXeOEInXf/0/ObFq/UWbr/axiBi9DvVvGCXhWMhuCwLQN5YsH5cUrhWSml9gwJKbfFhPRE02NwuzzTqoJKdUSiFL9VRAPHBeDa3kGYw8zUCBQvdtRnxdagSKj3QJ0djgMzPnpKP1ZnVm6aBX0FsafKGy1iPsOGVIXwwDDHH4ZCxzd6TXGkKadlHAHMID+LO0VhXUEdgG+qPViAwMP7m1l0Z2KGD3LHYRX5s/CvEe08xVKhBf4WZiN2QzHw7zvk+5FHgEactVuOHxRSsMypbXaulRQpPsrslBvAVEGj2eNrMfsZ3LPh02CluD3Bc4PY0VdcOGHrDCIa/HiHD2rJcA46iHKWmkoK9Vh6iHvHvp/mQwlVq7NsvkplSL5efqjEcz6qvS76Peo7TNpWIVl8eP9DT9j+SLswLz7EF3b+xcHejskMxhzbbA7hs5b/LLzm2F1ywkGWzuvwVcHy7fTly6P+wfU3NGfPkG2gjJMlSXuQF/njOl9wTgTqVSa+Lpc6ZTqrbyjVdFPnusj4hBccw4fhkc0EWroj86KX7pTRe15Zs6XG2xGBxNMMEghKg1RbPOPAWO/qXRhXED8fCOcm+NP6uqghulpG7Y/vN1AwVS5BfAN8L1AUBBdrAohRJnw/iXNU8AxcKqCw6QXdT4XhsdQEpTTitVK9oQW0sFvL/c50FYDm3e5JiSVPpkwundIMzppzgKoaEAl+mersDDql1KoFokTmlA7pHFgZvJhviEa8xnSMUal99wziuC3TpMyozFUMFWf70dMLHsQj/TnGXGa2weomrgXXaCfIv4HeO9cqsdg3738pNyr5mSThWU6NhC4xFerHtPBnqwT/aj7zIvwpPC0XOa9oQRneSL3VfbyPVkbEGn2QMsa4KCRPHUrfTUEvxuSCddnyfOSe1OwM8ZPjkhPkP77COW99M8cJIDErGZE3XvUTonCAtTxI9s9WMCqlCBwMTjcDKW6D6guPxFlzJPX2WY0Tt239+Ulil3yOjSIwph2ejyucyYYB5hwHkNIVku9byGd+YOVIRVkhH9f+9UpqEB58g3E/KNJXBIazozXs/XJ3UoMSyFJsWKhx381B/jQcIRZOFEUqckgUoRfvCe+oyIJAXgvxKeb4xlwemsOxAb6lWXxlkQo9oBH1ezGF2a7IKVXeK4+HrJAXCmZu+R0do6G1lDeTy1RdEcTQoNT+bb/G5iXe1IG0HFpIpHfpQII8pZivoCUsV0yYa6vwVwcY5adFOkrfoxAyXOutARfv2j1Iq9Sn1mhkqb78Ff3TuDaywMoc02a5uWLxH62WWyFW/yJfJ5ynqTxwh0lBCYgECYJc/Rp6w51rEFMmLiuhV6zT+lFDisoYV7pITG7afSMPWgsIBU3YhKDlW1eVP3g9y21tnJeCtmVr1Ob4G21PRkvK7Sy6+BgXoL9EnZKDawszc4D0n0PocB31tKc1vylt/j+wsBry6Q09VxYRtBYDHiSrVuMh+lxgkQyKCuuByZF0DOMO79BfsMh7Pnz1NFmxvrWLtJMm90svjnU1WvbJ5kqGF97A+b414G/F0Lp3qnkDhI+PM59GR8G3Lbf/N1nxE0QCqXmROVZAbJXhtulx+FUli6ohkLEy2flRk7SdIUFAdL8sfFUZAYgdgUYw8yry85lBxpYF9e6DDg4R4uGWr1KraiUTc3DGLMsN8kkG35sdroyatlcFDFqzHTZm3Uxb3n2BZ6PzmLvTBWPo06DUKIjG4wZF2Q2wKo9A7r+Zs1D18FCZ8Vv7V0u0aIouONfFFY2sfHdOpqkpRV+UHZtLL2unyJBmUrM1eQjck5emjt6G5q1QdVsGEPTc9A2IP0+3DCuUcoh3be7teIdCohMPz/R+q4GpbN0Xlisbi/IEQ7awT7fSfTBcE5mcq2qkUkqgcc6Jg1AUl87bYlXM+ShLsnVY94DTGOe4Tu2022mn0fwXPog1gn9DcT0WG/tNSx4i96ipT8+3xhOuLq7kxRfh9G9EWFIZ8b9/KCvc2dFar7x9M14m0/Mcf3abDV3grPHRKAgfoVO/kCVM3xfLQWbpDfoNxnFa3s4JQHAE+ua6bmS8HGXAzhVNE5c7hepiqfG6cbnjQji4LhfhSnprZSxbi0SbaEe86cT7oqDgWgvxNDX4nIqiH56+1g7ezRE8BdBkP+EFazkSKEtaAVqZrOW4bKqhSR+fDhcPGFVFdyr2oI7INvYqffhVTeLLIXYhH2IAbWkD/a/fgd/UOQkvDK+CB0DO6lLkbH5XzBWmZ4s4ze9SxQByrDjlHpXxMUv5pkubVepFSg2dbm9eHm5gR6+q8PdYQ5kVLfIu5SLmhZ9g/NBVsWyMpCrnwcQz+T3FT7sHPHpUndRtOaFtNq87xV4gITB5Fpwlyup7AWZbeJ5w1wR2Jxq+xaYXLn98xJhR6QdKlL2zZbwKCs6Y+CCrCjeTFHL/r4g6v6gnqiBx9o3XEQ01xOuMUcteD4FSuIIutne3prVEa72j4sPIhCgqctQ1dNkVJdNhozyI4PpsuGEpvwJQ1Zy58hEZL5oaQpVXeCppWeJnfjZAptT3ouzCoL+MB76olLFD31c51KXH1VOrXq66PdwGBw3NLV6qma42/PdWpWj83Q2C7UKF+D/PHrlXvHhO67Pn/2qNC4CZgeLN9BMwV5jKBjat9FLw/UCZXvi/9UMg9kmMnJCAzIaVfg5mpVf1BdRcfS75V+VnbOy0zdgeS7y3XarpDbwMd1sb2JJ7yLPhdeggLbgnTppYHo8S+VqQ0MOVbIYaP6+SL6WOwy/NS88oBQiHLkP/1hc/ukw/HOl7wXIXQEz8cS9cZb4jYtPwS3ynraLUVHtverrRp8vLiBPCJKSMNeyRQY01qgyFVP6OfX+7e9rubDbE7P+M+fjod9BuQEXu1xAqcxjwDMkQy/wUgf+YqK7UGAAZ9FrKQXkn63pINxAioPHAri3aqKlyKq2DIO0++5LThN0PWvNEkBlMiQtN+o0/TukwTDhhoy8XvOfv+n1mz50SPbsQ2/i+UQmTKX6BR3uOSWpsERjx0/mvHTSVO/X7JCKVorC6pwYMJzSW/GtTPD4PPr/d0zejj0agDmHHJCtjqwik5EWC38zBpSQwHAFj3lPJc/MYQ956bWH/6dFRhkoi7m0fTSrUUQbhJ+EHHazX9mZpzY3VZN3hgGkoRmM5A3cJ1HCz75WVt4RGrI76YkxOGDrjDd6WzMN7UVpR68Ku33aKz7xeMc7gBudwCadslHPWeWAHrqVCI3+ZmifA+qTnmV7wvdiUUsfi6zv+b/ihzgoNteU2PM8gWZWPcR3w37vY8DbTyC6JzrvPPO3pPd3X7oNvH3vuZAolJF+sN6L8xriGsQG9a7/IjciPI9zNYh58IvQgoISfYu83KaPuWUfr/hfn7WAGhJtD7/dZf0c4HdFXLr53ZNoiYPw5QeaOXiptFZ6SDgUFZGe9RpEyGBPm3GCDKv9F1Y4xo14tG1NNHlHsKv0p7HnksAEw91m9vfr3IJlq9U5YJqPajCICSW7rkSdVBgcYU2fcrBnmOoRESXlZqb0NEWiR24UjHw1c2T0afhUPA8IBSTaSt+KMR6wGq+LQH1WTqorAwmU8Lsm24hVJtVdcFvCMvqVvW0gs/LIG5icP9SxZsLotSyDsdUamS/MfOGFggCAg4eiUK6qFXjnBTzXoWyD/PkleYJJkONVd73YGxtPKWMnCXnb+JknRF7KHnBHisHsbE8wv7KGE6ODqfjRyF7JeW6uTC7l7wgIfpkvhE5UwoHznDJ1JjRxUNcFpnBvYSwaaCinhoARKlvLXxu9EM09cHKzkyO87ZuGtnaXjaLLNRsPsP2AESYfBbYf8s/UfX3yHM4+O+/xoiWmOTU2CqUuD3qK3tY25QfKNbJIYW0SGBR5jhyzdIhvzhClrDFxMWqPucAWPCUgSEvdP4kwkPWLOrEHu4nSJza85VmBZSD8rxXc5O7cEZkQ6QWdHUdfcw8DPquKdIxOopjAw8eB1Mqzzh3SAg5vGZRpBEEsCZZycJRoVYHc+Lg6pHmU1Dgr0WMJ75KeyCbu7mU8PKwMkdywKpuHKqXi6I3Z1NU+fzrwiMYXxRfD+zaDSFHWZlKSzjXPjffBITxMD/XuBrSZhrydEtZyAQ8UEuIFmMXf85okbaAA2Bcer3XTGEbnA/FSOwgUMDn3p1ASUszjMGGN1m9NX0OJcKsUNWJT4MBpaeE2R4guRPNI1vz340QZsQKAmPOO66bfAsyq5PKnyRBp/Kpafax8TUP/xYXDkG+LdJMqY67Efjd8PpygsyA+8F/vNZQxPAZDtuL+CP8Cf+4F7z+ZSDCQsXD/eLhKowbqgdtxoF42aCex5XlIN9zYPree1/X5FrwKoHc1BrTM69YTO2+uK3YU4IEaPVqjWL+V87tUj7MlWZEwEGmjlBG1Vt1rSU+1iFozjhz/2hPggR7n8GfnmwwcNArdkFWNIiWxDANGBDDTlP7tm0OVrWuEb/42c9V+zwhpDwgKgUNfAxQkwtuDidY/dESu3pzh4W1JMYtpWRhcIRpcMXOsxohiLPgq+U982j131jSmEvtl3fsZbyeSpevpVPWgavod/NC6Azfzbe21f6FhTdGqdyxHhhYLlhOWUniB1VtyjlKehaed7QVOgA3V1kZuuADf1H0QegG2MtnxQX24MAvH3SINLtzWSxM4joDsOhd4H1HYV1+WONilaOKSwYt7/Bp9+tu1jog4MKCQhRJsKggCp2z7qd3W5bHbj+E/aEct4xQdhTCdsGU66+51BsBTsMnBrsj3/ozDTWscjjCC8JV+0Yjh4w1Syw/V0qsd888k6huj9Pg6q6lTaew0ugg5sIT+AVO2QmVjnEd4RTf0mzDvY+wd0unWOOH1twGtDHWvfuNb0lLBAkypkUT2NoQN78JXCsJIvgnhAaEA7cNAq5J3qUx8j1yjyet+B3keNSQzuhGNkWcSuRrUxHAqufgYZG+mIUrSVj77FBsnn2PEsf4KTkSvCCzTU9RYh36ZCHxeeA497c3KXZtmJS+qRcJtYjKwn2GpI08BHj6PsMH5yHL9QoFIF2Md27i6gHZ6+wrZmkIvxCYp9LHD9aGTKg5vPKuDazHZEpamE0Jffi37frLjaPKc8F8yjmZuXmYoHl8PVf5b1ScYNsQsJbE4iKNutgvL7iL2IBvHtlghSbTEWU5vN9o2qPCaKDeZLK2uPF2wCbxGYr75mTintNTVg8wHZT/EI5fNdwiWMuW1yWIW7PHQudJLhk9+bemZgzFjuXJSsbQtNtdJHkFGSUMhoD6DD/14AvcUvBCg9jBxPKbMMA6BZC1FL5WSGI+ELWWVnLkovnFs5wvQDz41HduFgBMOXin0Sj8Ircmtd6aF6HmRLchJXKmIax4yWLHDpntbCXPo1Y8BCcBjsP1jI2mLpR0XGwRCTsnirlNZEGtscOuc5BKLqBiZ1ymdbSlHnf3f6ubJ14MfqLjHCmokoTgyuC6y7xM37v03WF7MVNVdJSKWk69K+143li0704rvsy+fFPUTSTx+udaGo8b1knZblMxGrOWSdt95GLsww6pUoaIdCJK9ONuABmi9+qEUIjLLWZhGhmedCSicAkDzXeUC3CCTJqLSmf7PF25YzLOGz0/TpNX03dlE3l+UtLFN4utzT3ZDUuP20CZdhM+g2816r3EDKl6W2PyLm9IouENWKq86btnH2wnmQsRmTVzNZafC8lHvh0Mcdq10bbFA4yewTmkptHLn4LVWsI6XjRWYxiyzAs71o+Fwh9ZC3wLvCXbg6W/x22E3h7yPf0KXh/ihP0eiyuqIw8oD+2zOuZJZkPv1jfVF0P6LuaM/TqS9WJiYdDuuLPNsL6gBijwVOFqW8aKqI0o1eTxRRlhjwWZQJlpttboa8jGemUPJnwgQ3gh9/cx9tOE/J+6GP9bJmidwZ8nnuTRDixPVRnGslB6pscjPrFska/MB30Zv0zTBvNz1PDFvhypYWD9JlIayTu0Q4HP2ohzDBoPT5YFvYKOCxw1UdGIvttIuOoP/JfTxUKLLfvXjW6Wvqy/JjJRL9ZcJMP7iwbOu5uZ6S3BJCsFS1VqlCocNkWKCqRkCy+2wFlEz9O6qLqEOHoFejLtfaiEr5uN6ycLlwy2AjRnrGO156I9xPDT+vN/TQ/im0RFaXn9nOnUGABK6kQOASTOwPUNpdAbSZ+YON3O+4fl05uza9FhHFJn6UD4dqOaZSCCKrTkLCkz0B7YS4IZOzKLWQdy+GOCNDSC+z+1HoMDNloVLk2VOaoCSNnEoz18QvOANbah2iEN8QO8F4z/uSRwU/++yi5Wsf+XI3wI1VY1ZsYqEQEewRF1eWiwHDZ/DQXLwiKC+/uFkCaGRmOsTque2Mnd32njSt1r3Ema4fh2hP/K8mgZ/+GGbBojxbh6bGuVc2W8SZP/t8XLO3eBG1HbmkGC3+lgKfdQFoDd2p1ctLMmDfr8lzHxzG7GcQJYz/sJ7FW+5+77p8HNIRXhXA8J1kaBQA45ZOAwcJBC1JjZAkRUUFPv6+fhNGBJdQG+bjQdjesuEYASG8YKfKGsVJ1KNvJ0ccC9gZKBqURylZ5Eb1baU2TLCXuq1xLbJf3o7QPogUafgDxgIWUMb7l/J5auTVBbOMuomkyqnLG3hhQ1IwTNDzwJO82gmn4NEM9Fl0Kkgv1vfJt15SUEMEqRW03OAR3jygTlikMHzIibOIbs7tEMMu1lUXT34pflC1DGQeGEYGgbCH81huIn08egedlapeb8iqb6f1IRPbYQf6ApCKIwVxDCk0B4Ks7qX0CIh/qXSFTvFLHC0CCPAQ7086OyMmU+rAsU1R8pRvcTOVP08LETJS4J7WfCSldoDgFS0fhgeGBybPbTNgYvsdvDDluLuN7ec9ROq72raNM5l+/ovJoxULSqJFytHMalIUQ9w7i+eZMf8qXcV+nJZHtalkz80IKWdYqK5KdmU9YH1JPY7Rh46RtDs0e10fpgDtRWKr4TDJ1/8VXZpp13IRD6ktcSvUakkKC2/xQJBC8QF6QjHOLli/sFdlyRzHDRuUznb1/ZuOXNnojVsSJhg2kQkurjHhI/rZefavjyja9ItNUM1kJXAUTWm6uZhkcpmC4AWT4vOZfFUioAaHtPgnueYywZJKd5dXPBeyZDVYLWtiWmo9XlaP0L1fnM6bBQTO0EdmkxUP10VJ/9+g796yg5ToUEGZnDZyr2+peOMrtRqCM8HUWhqowuusl8mqjVyRcBpmWKY1/gtGV8DdIv0A9Or4qBa3Mpz/WWvVJt0Wa8jjOi/PGAMB8hYeGfu5xOfK9aV+DJV9Sgtd0LOYDxo7boGBmT0nUmYHVF9RYiLbuYom1HBveCPM8yDRURoLjuIXusZCtDxeAXIErK4WnIeQ4+rxR5dQ7FbHwEaZ+yixM2c7RWIkrEvhyqR1vdpp8F2x6UIaCkQuNG3OGkYBPVRDPdAxYaEcs2PE6erl/WPzRsRIcWhO3BW8ChN3QnwmgDMaKfJD1yKM8Q0MYbQ0T1DUSMkj+Aj6zBk5cYYmhz7RDByiYRF/mbatEg/V9L0pmotyjl3Cl0+iJ/4srKQLQVe9bNvkoQ7g6In9noOFGETgoZvtF6ZBeKqqgERq1x36FMayZHMSyn7FMfkV/ceY1R1dV5k0C+MrK4/GdDapqZGOHztAsiFXPyUOdtwWUM/KhYCIA1+c0dEbIMYdTkY3SLVOVq29sDgC+Ix+oW6e1eyKdVrYj1c/58f2buOs4l4nAbgaec0w7DsuaZIFDs89Nq2rzmIOaQuoth+VKGlQyu5/uLI0wlS4Ji11vZb0jF02+WTXqOZwcOjV8k+2n48eksO6vt6n7YrLQuekMui5lHRGEmBwmJHRQEvU+7JSI8cpLIDxx9lMRuZVr9mtO6sddF+Nwt+rTeE8wR/RBcqrYHPhqBiP+q/yzILWFz4jIaQn9ikAi+OPWNas/jWrXhGSulfDURxEu756p6FLOGrl5HAX40e/anIe0iSoKohQrEj8dnh+vH2SViRP5hkLM0OZQJvaGI+yn5TUHIqiq7EW29rGqWEN90tV7oZ2Nz/yuKNlYK1vHI1tB6IkARbyoe3/k15xnndbqQ6ZISXA3lrBJemSkOc7+3BRBwO4S5hfwi63HhtAs4I9STa8r3U6xs0TXgkBSnUO7SQs7TbUYZN88Q1nEuERMvdHVxBORwe1KSXueSJckP2aM5PBQDYt3gFKb4zSBOI6igqRFJrrPt/Su3V8LOiSNZWYT+/3BQtKqSyOx2Atl/PApPh2T+hvfSG1rz/Ty//gSVkpurZm2H39fP/XI4zLvwiYag1e9WspwA/g12DIvfus9YdRdey7he9Bm27kWcJcTPI7BYzXmspCk9bcgGqimcZBG/w57J1z2g1CqWPh/FbfqZWnBMzKIb8qvcklYt3jt/jbGiTMOVqAV+/m9L16zBwbwcetYOr1A9SduyxuxdSgyuKCXmi+zai27UfXK50dpNls4hus8YohidzwLFFAG7Zh5GTyk3ypKRFSSnxlpH4yskvAZ0tTZc0JsVi6nIs9hA+ekef/rRr45Sh+CMYrP/0aLuZfoSZnxVRGtaYgswkW2hQmLR+jGz23MzQKpSRG+1sGbAVxRlF+loH0xk8vSUp6v+Xs9f5nfOm+tA9R8hwQlx8QRUGhUGx4HLQmSoztj8iytbPvDgcbS5zybQZrUBz1bmtFZHNFV9rhVZX3lh4WrGDhb6m647ilhDDMBiRI0YNSdPijUZJMPP5/MoRIpoqP9iaSFmTQZOoTkJWuFZacdaXeVeKKJac4ESENNTacGIzzxvn4qIidO1sGDlH+E63fZtpPLPa2usWFAMrYVRnO5h43of0ZwdQu1KuiXdxThIUa0xc46muGOG1j5V/p3ZZbOx+/NQmVGOn5JvtJ7l6c4O1cAOdtqqH6VlH+/pqdHnPfpudoAYYYUt7zNDfMioLeiKoOnW5PK9O4BegzIKL+YVkEltCePZQRlK+IQYz9Z5EfFuRwd8JWXrMh/dlTMcGDd8FienDtelSvzBRCkLyFhIv70HHJv0dZOUZBsdG2aoxhQC84p5t52//YjkhX6RHpTD7j4GQwdtvY0MLY2sLF/POO4GNzxoZMLAZexj7RkxKg8+ZCicdgNFJi1k8GHImzlBHBwTqJnY812nGcJytUIJ0rCgMk7SutMb2POGqOlO8arS+GbTtQq0xzNiop9x9GdLuBJnHD55yMFzdrxHOkTjbjjmYb4bVcJLN3pouBWC8bW5hnA/7u0l2PORaQgyBcy6byALkL2brwSiAVyROuC7gpnjbcC+pC48hpNsudP/V27RM+lp7iLuO67L8Za6ON7975tv/pswFBkWKRNwUfoUBvQBF/FrJ7on1CzaHGyeOTOcIeompSg9n1LJ+mdbCAY7SasL/wSjXZ1bltYMrfpOG0yAvJdfy3szL9gh1iFIAijCRBuGEhr4a6CKDAmhCJ3pZVajkLwb8ys8GhczylaZNI4qsAiWTMZs7gRz/vzw81/Lb/TNztaTFac3Ni1cLEjqJI9Prj752i4owSc97alVdpylAW22NfMK+fSxNI/XNZRz16J+OfaKv9I4BvjWVqwuEbTHwiCwgi1/LrLe6oHxte31SeqezZLi2jsaMuq4eHT4nEx0loRbiC6n8wmic33PbU4UN83K0EXu1eUJqHXMoJhKrHkpO4FnNWvR3SzgZKBOLTDgW5UWHbq/+J3fO5eBKOSSHUoBbWm7OeYHc5l5GFIpVVC04cHvDgKaIHwTIL+wE1rgM9sVCRut9EO5oePtaFmDR555+Tqk+6tD0nTjmNg7mZH3c4yF+0XLXNkOHm3awAqHmUKWatMMDXyvFuExY5r9P/VABt9W+/lt5Zj0GAM7VOGNSb5ykl38spY4CmNSitc7AkPS5UAFToQFMz9wCv6cV6XSFKstOv9uYpWzE7zmLUpIeEh8Ix3cQR+HcyPtmcTU/1ST902Xb6q6itHLrwK6SuGSfG0FjIemSglgAg3TxSCBPrbAETpe0YIHifVIwq8qixicvmNuVju92IBfXm2eZUi0x4p8GOQq5QlRzkxQHDZFvPqsXwxVdYDBBxFORZzPHpUjrJtPdXhTRzHmrH34s6yMWtEzDKUb5/xPblVr7YykK6IZ0XDE8k0YStoPggBiHjg3+wrmoRtp5BalrVuuCSxqlpM1GHITyGYz74chcf0JcupXo7pBPZv3vjgkbg7h8IZuFPt7oeJbv8Sfqbwt/KcdI2Yyu3ab/SW4GXQtp52GaLkR4dNQsldBTk+6y9/xeLPmPge+vtBsdX0Cpaz9TVogE8yMXap0EjL+AmpNOGjEf4YLJGkvScXw6dOANw35QDyV32Gf+5mYTFKg0tUOiBvil0MRiwQodgvAjb3CH8jOgn8LWcDzXVnBqUxJOlzlXQxNp+s9iv4U/YB49WZR2WuD0O/jmOysl2cwlA2gWsMhQDDCQikAWZNk/Mhs+V2cnyGbPo1Z/5uDvwj2wkvyTTToA6KTfvE+tJIDpKFC8MMSrASbqUdIQ53KK62NHhZFGfuzmcCMualkKo32NXT8mSZ8CSWoliFJjfyLEozJXGvaXRwZqpjZJ5ze+EzGoRXq/lj8R28VMAzeW2wVGTIzQkniCqTnGih3/ViWRwVHD3nEHfe2ew3tD5NZXr3UKG6k+Vokc/LVQve8RwyKXwFjeqPtqYJV3OTL/qqwNUNr3/PT7ID/PXc0ivlRr6psvNa4wETXZs61hC67l8jXMvrvLFgOD2bhiDwXbU9FjoxAqTsqlaYyOuo3/s/wwTsar8dWtYEeQTks3DOtTMb+R6clNZL4u7Lfpoz5WzJjzQob4vOxLCIGzSraywZjZR2giWG08ytNkHKmVvle92pIAM5QTcuBC7vKSiQlHLFNqh6DeMkP5ZkO2lwF5AJo+GWTNbbUt6QkFfsGp2nkEXV2NCCY0xgCe6V5q/SGX1N6OqW1AjoazklVdpVZmj+mQofvZWx5grSbPGplzfZjQiAuLBfGXK8DxP5ZFFIqEFGCnhl7YDLsgd/GcXwCCOWCyb0fynE57DwW7pIoBX+2oVas7SHm338cp/rCDIFJXaiz/y+a/HYX/uwQHBq/rvY6RDOpS+c5T+6IuybWacTVTlytUBjR94CTahDSltpOSaoHg4Z1gLZcKm2Y/8QC3LESdsKPVIqeDsxaxmw0nu4eCKWpPklvVx+hHZODhdYjaGhlV0+s8ps2GL++q4YWYU/ER5eIfw8RN4buhhy0J8tF/t0zF66shq5M6wI8w/NtQuOmJWLYyInYOl+EMeg1XEBx4ord6QE4yUzjkicYZqQ2Zx0KmN0WeF/3/z05mJUGy/qzFgd8YZU/2xD8z5XF8jcDVKjDaBzp/ENPtqgpcHf38D+j8gVCBhBEaeZ1uC98GSjtiZUEvt1EgyrOAZyGGCZeyClfDNfWh/FLItcs68+6SVBc8XkH9JNukD1vkFGyZB/oVOt4I6pcuONPjCmrRqvJ1GrFmqXT1Y+GwbID2c2Oj5yQK/Apzj+OSLJiOn33R3oEUgEsG03YuJUat8IpP5TWgpamuvLpzC9a+j+/7vPM511a7L2pax/8m72xcRfcTuksxOz0AziOO5do1c/oEMARwhnOgb2T7lnxZNpSPK2mcvNpGzyLv8ZYNdpPtI3YPDwi5YUw/0dEZXCbOAAjTVi54/IWkPc2WgA3E7PpLheFJbpxxrXMLGe57GTPNGrd093kZ/3sRYF83CYvVZ2QhiWjZ5F9FDds+jKGA8d6Gaj/AVNk+LhasG6IwH5zgcfZrh95pnN5b7+O2rw0rm+vVFqbq3lToIJYAC3Ce97LkmaHMRnWAzbmWkl6XxMHi2lGU5V3x+wZyGmqCKY7mJ+AmPvoFvnT7/dcPzjmCzuLNGJSdy/EkkyHkAkgUao8gN4v2ihNp7NDRswc9jo1ek3iE5a5Oj7eCrMyYPvTnMdpub9FZVNHgx6xOWzt3mZvL58Y5VNP8fpbtTZJYD+9zM3AwCdRnMhjXvd262Osx+xZIgS0MdfthyVafMSc+s0q7pRTgrfuu/ZOkBROs0XnPi9bqAf6/3KWAUhCsfHXE5cF/gvJ53i28jgGYR37YyIdDxGVzX3XLwEGYvZIKsNia8utOuDTyb1clD2Ef/sS+KbHt2JiQ1SBVKDUFqGcGIqEHfyRVSeBi6vxl2eRdeN6Ucga2oeeNyv3ufQ1hm78lJi/aFfCDRioMbYmB82GwPeHs0s8ZMki4Z9OdPlG6KvLvwiBg0FOUs2D6/9MUrY/nN+R2nPK5WztKe108R+7kA0FbxGhNhppluOZ9XHUz7tT9+SXZUJcI4i2eVv/GyyDOMjnBZpQ3Zr1tI2imgDsGXbyWei70TJnNKPkclvrlsJt+Rd8DI0e/ls9XnQQx+NW0LbfjKX8bO2EF0+eaQ5htpEVNnuWkLd1cUCYj5/CbIehaVg5J0A7H0Z7wS0AgItK3EUFVjEyXsCaEAqvrzIyx9xFgdwdQcRtdOdqJV3amK8ido0/3T6/RCLurPDwPRnQ2pYwNYNOCt50cXujL4/CMUiHnDbIQjpbbJQ0w/nYOrUCafFuvlOcGTv3T4QhokonItflohWjY1a3T8mAJjEoMD4tmFIDEcz11AErfn/RI+wIZAtYX6yYg6ZwMCYZ2YI57VvLaNtv/Z8vD1QGQmKEX2+5K/IQ5P5LeSnjh59KmGWXnnBfI4Pu+mEv6/yeN/9VO+QyLCMLPNde+wr0cktJYnc/x42IsnKCd34hGwxIYsT6LFT1ZCZ/9NF8lCaQ4Zg+f2eNm1YiJHx5pIn18PxxldYPrT9irgvwD3xGp1RkRWxX+47z6daVBWIsPhKJ75Yqd8Zb7oEL9cv0qaie2fZVGOBCYQBys8zPLivTa21b0HJ6X3N5z5fJIfdu6LqoozfEZW8AXqg+soydRkvvFLalO6D9IUJrP7iWE9vBl7CmTh12M4KGJAMj+Rg6cGvy8qaum0eTwm8ED5ejeB6HsyxK8eiTuAj8DdQaw="/>
  <p:tag name="MEKKOXMLTAGS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False"/>
  <p:tag name="BTFPLAYOUTANCHORETOP" val="True"/>
  <p:tag name="BTFPLAYOUTANCHOREBOTTOM" val="False"/>
  <p:tag name="BTFPLAYOUTENABLED" val="0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r4Jr7f9HfWypFXtqll0DxkxDrKUBb0bJKAa5TpGg5X2HfNqBDfH+ixdO7sNEN83Y/SqzrMthJMsSpQvuSxU0mXYKEf4NMkoDLd1HimFX4zHM4e032HYVth91O1THCFXJMGznKnSICRwjIH3VAfx9nNjTHRcdDKQ3kqsDxDRcmNzdVq7iOX7kShznT1+/MJlw5yYOlDPPtAsFWCYIPCcmDiIlljrZzaCWgvz+hRloe1cka6QkwBCZraX9868WqJ7ZRwhAQ73EwGy5bazG1Egl9/h5VwnPnSIY3+gbkjaaKTFIIu7K8tGiEHjlYdYE/qeZyRQxn9aL18/XoQW5K0BUChSIItfpIOy0leQWBHcjSzJkOa0E1vUUaRvzgani4KsnRoJc8iucQ48RnMFb1mHGbjWbb7sWE9NUeEB8JooqmNhMDL3ee/p/eZBO+k6b0bB9ABwetdf0djRgchOJ2Z4jrXzAasANZ6aLNmDkqmPS+EWgZ9i8Ka1LRojw5yhgfsp9oprHtLMnzRWqbBYoWtABAIs7SHOM5G2cseI7ekxJN4OOzzl931wwur9V1f+L5cRWs2BYHYQD5IZGOqki3lpgqkWzPHKZr7GNFCzC/Tbtd89x1Krb4K+b7/4/7boHBihzlcFUvj1CxrG1cei/QvUDXEBDs/IQsHfGszXq9s1eYo7qFTz5EK4/KtUKOODX/bXHsWlBiViu95iXlf6MhOWvkODHnEIGjTSu7wrykdg9VcWwnlvBD/+eJWySIfXxcyUw/Ya8wVfJ0KBh5mfHajEZYc08zxZN8MnHKXysrEPGML2MPJpug1tPSglwcjzP4wY5dbTqfra5z6ByavUr9bSYG057u6hEHirRSeOJJ/o+vEMwubIKuQD4Ez+NoOzmv8wQ1XAmokOldaYctu2/grkYhkaYK17u8w9pr+uomhFf3tuDQX4Rx6oEnEZ1YyZOjE/cVxM/KRAjE2yg4Be/DEC/caGiK2/wBhTdwHXsfznVAHocp+23gFnpTEw0dYmaGBUCSwa6b92lTQoajVyGSsWN3KXiI8tjIMA+aeUKVA6/EbO/LkXMffnv9Gs/l3W+4UKdAlmZGeMFvfEYCXWvM05e7zxLzI+psbQwaSDz/Fm4mKOJ0Qt16E3y6ufWyTHboQ9CgyRzeW8kg9oFbtUuDRqDn2wzF7LQRmGwPZYnS1MOBlHi1gmXQpDBcRQPjI0NtA8/X4l75BVlLzI2y2qkOVt4NNH7ImKaKl0s4jc1w0VqD347TDvd8tFSbvou7n8/zvSFJSf39eVRaiLQ1Lc+RzPP4iRdIopIhIduBuPzEwjj8H8Iw8yzIoarpQm7L1r9ux3mEWEKTMi8xxEn7yON3/HYseEXJcqBeVr6bWQDId7jLYBfQHNKGLYzVnW2rSRUnnPPhS21aOW5Cpur48A8a+lDLobq1cFcguYih++lbN6A3jq7R3Pkn/+RtSFRy3fQ5ZH21/43VINGrl7fyClt5oyybOnwZo4RF9w7UzEMp7IRcbOnNK3ZGoq8aH35wlpbeb2di3z9q1hW9hDN9pb/uae5lxMOYB7/+JrDeOePV48sZu9XXIbdj55zVJplW5AM8L43NbxjAJjt/XiIgnVEg1mGtkPg9+6YOMO7GTHCm+zbrPiZDURkbUWbZjqbOjEvtrUVjGuLk3VAhdh9N3twbzF4krx+L3Z4Zg0rt+MO/mpgy8ZfB7s2/hJ+C0nMxVV3RYWCaVwqExsqj7uNZ00RRajO+Uiq4M0TsPDVHQIgRSwDM3+H4MfTIZDbEZuX6s9rObZs2w2O9E15MbTbvILRhxuaa+MoHvug1bj/ORc483GvffCJtJYwFGwwRyCfDGd8VR0V1ujdu2qfBTAD4ao4TuWUDleBivSWhNjFBr29XLaC4i9M0n6jQIK8zaElcs5oOtkOexOSCPgW5ZFn+LJi7rEVxW6/OJEZXT5Un9sOZgDlfCr9EjwwctW7730QPHqwa5riJg3WRQU+1nayaj4HQCXYX2oPPCnrATLfxrFR02OwXHLLd8UuVwixyBH0MUPn8PZBVK4HqwRfxlUqv1SRflxEqwg5tl79wHDGbRWzhTTv0nerg5llMnAMzj3P6O92XOHeFaJADVz3lYTkYB/T8m5B2/+z60X2aW2dN6IwSTk5w6GBAry0sHX2NyZPoG/5QlQ5qgZNxCSFXNzbp55/UsR6n46Fq3BmUSWQtrOHpPicwCoxyJxCGgEo+U5BEd6y2gUqFdyM0MtL2ImL+X8Xc+Xm0hus8m5TcYtsCbtYZX7sfD4siuoJp7VDa9sLsMmJg+AFEUpqYugnhxFkD+p1rdtc2ERHWFQjodSE5Y4SwV05feIdB+/krk9uIi0E/e016RGQvSQk09q1hA5FGDMtO0uK8+pe5CzJUjnSHi9OoPJYaSfvZexBQVqF39WMlYiARQhmX8x8LWWurkVAdn5dLr8G/4z7fGoHAWKVzQ/Utf/JPJUzpy68x1YsUQqc+3mNEs7trbkbT8445HRUL1WeoEWmrH9cA8tEB9/7jhLn5TGjHe1RoFBYwO4K/ICVDDxyzLDtRZ1Z1+jx4gkjta3A6hT5eddRvdeM9IsPSuV4ONcXgQpc5tmwupDehHv06I2mtUxXwg9O3OLo6YISqFWWTWS/8LW8shNM2khbnrs1WO7HR99zWVIbyoNy4uAyu7dSpUCneZ2t6EvrolxGO4YVdto7dhDAnZt3ZbwRZHDD9vdL88mcFlwG9QFkJF7Rqc6hp6oE5lUk7MVyj75gIPosc7jWJnP6KT4OJEch5utnADwar9TftzlUFCxzAW6gAs6DV5hzImvLjjYQMt41rJgbDYtt2aTPVIKZuT7H3BVkCyxhirzS6kiyke8Ypt3KYElqItU8g8jzYOHSaxAzAqbdrWfnrLOnL+65Jp3A6uorSSv0ba4+AMoAq2e4wITQLWZEHVCeyAKT0OmA85ogxsUzme8PKW5hr4QxInF6ZPMz+iX/MxDvwo6RNwIUYqySwdPviP8IRzfMxLh3oFhptMaHuF4fpK9vIVuFwEX8e9rs8D3k90+QsL1JYvEQNRf4LEGUDCxjUY+sA1nwN6SK0CGHDAc/yeCm/UN0oJTFTQiwEq+GMwBHC4cQgdjwQQiZ9gB0htK4p8FEEESFcEgiJ3nk4EXcrSODg1W74zLZl+ar/6tCjkKl/OAQwbD3H/J5342+13SCwjfEpcG9pAt+kJAojCmVS/YmDkH+IXl2J4OX+JYqo4VnohEuRs8uLC+cgTJzCLL6ASzb+03QnoI9TJhqxJcf1AEwgLK3MDoMtejoPsCshF2ts783Qjf1TF2VI2DkzWGmeMabcaKCcHmMqmY+DqczFYRSQ7LmtMwNp1ZUTAoTusFTSEH2DIrDCrOdqVmbpeozmgSKqAfjqbBc84Ubtrkppx/Ye9ybBNJkQ8x1IQCYhD6BHlcaV+Miy9KirvO5BfEQkKPrgZYfOcps5ls1x4gAWrVUaKfBvSxBKXpZyatdofprFPesIB9Lx+xzaARQxZ13snMGcFTTebum7ZvxVJIxsxXWhWg5w8qVgSzGkPp1pHHHXeMOhOeeBYGeTq1F9Sum166I8mtKOc3nXA4CDttwEDjgWWkeijxVap7huKJeSFf4KOpRjK+noQ0smNPcCTVRPet/Qp7IfdF6V27+pWaGuItxwPQPpxHJjldkg5K7aKu3Bu8Un6KX+nJ2LIQmu6heVWJnxX3z0KfJbGdlboqxPsfG9Iofik6b/PsK7A2PMqATpbt1Dts/ZaXBtZ18ta8c2ZigyM0OUNCvb5x7jnJoG6cC+rnQd2ZW2PtyKZkSaoUerjznF/+9ysEjRPCdey42LjWk8oBdtuJZw+1fQn4Kz7/K+2v0iNHHUrxehX0Vpa489C5uIUPX9lvyQuZ+WHnjTuAyAjyXx4sPcI8VSi3H34o3dn9Ks/oNFSS6KCE3xEZFTVwmhmcFj10IRqXFdLdD4atulGVwvcqvDvWRQ2FBhBkzS63wTLYly9o614MPJPJ0Tpzc/Ev/jdxUbRbnTPefTELM8xjJFHLjxAyXp1tZvRwKBYGmk4g0fFWIfDqc4nb+bcF7MARQL0gtrbOJr3e2tadqDbcpIbt2aCeEq59xiGDmUmt4Dw2Cjpk35O5O9Hm3NEIoh0Qg7FNOe4+ZfHlmaClhilUZijB+GHX3xIxPnvnwn66GMgW6qf+ToE6zhHGqLl7JR2sGNJ0mURg/5xKq0QjoNUtJpSgEdyClyT2bO+vVBfNBwEBJ9zRooTvXgjRI6sJRP4HEJMB7nJr0T5dncXcHW1FzeDty9lgDJvr8lFCgBwX0C8PgBNVrT1KJ7MGS0G3Cbrbtu3cJgSWbeGZnOtl5qb3YGV8ivdRpnig40e1fgkExI948PibgFbYqe45V0Y/nEJwkJ4KFbGacZDrEDp57Rs1NG7gzK2bE/ZREAiNYOFy66AF8vcaGwjrx56oT+lhmFOi5iVh58F6Y+EgbKmlsxjUyFL48y9I5u4EsQLuoTSi5/IMmEtanjEg+T6wNjgjrmsdvG/y27UFc+CImIM3W+EJAUIDqzgYqCi0iA11QIlFmyaeC13RgsQQ1Oqv5RYp1wnV87QrsXZjmE0pSvbpjiPYVN1vnkAt9nkSPlYnA6tFgd6ewQNAoM7dmojoDAF20Wv9BhXyIqQS0werTXEfuaGaWv+dyRA4PzrWsx3oCAszDh7HTAASPrz++/PmZhHZHZ4JD9sRlp2JNAJMs+z4Q4/dfv0cuBa5SO8XXkIHZ4EpJg6KvNrJy453/N7BI60Gxtri7YCPzsJVgDjYvxP9LbByxB2hAWGMS28wMso5ZMKkxi+UuSdLS8/zfKDtnw43J1znVOzEKR7fYmf4mceIUUcFXuLiAZVx6+oYd5sVbsAgmpBzvq/iQsDLt2NZEW93wf5u0b32zr6+mBwEzbz7UvCYUqyt+5enYn16L6OjG14iDaPJID0sezq19W436wjaAPAR2LI+AX98V5atygs2NeNpqgd4xjAFTlQNoii/W1qPiP7PulJ4HPz2bRWeiMYfx3FkEHzkEwOWmsK03KzGdTvRz/C+rqGpIQ/o5Q2zeudtfKDF/Y34IDawSB9cWCudRsjRJZKc8riMfdc2peMPwT9JcGQtH7XhWFNUfYxzbYF5rc6WOgSUJ99UqbZGc9n38CQEGKOf++pKcXguuBhm5++8BHXXaJfL1zvwb8vAA+SvIBff2RS2DeFRo9HtrimWsHiPV/Psf1PAgDfBl/1BpF9MdXcAgmMDQrAln9JbyWri0+Mj2Y0vRPGCey8fDIgsO3WGwLYc8F58ssXEhqjYQ6wPxnXWR/f0ty56pOSmQ+0lAbdW3Ux+AVKEwMELIOlI7JeVux6OnbniENFO15C0zITx9tWMfuVIlirHe/zyVzi4/0QbopMtBKnDor2VkrGfE/a0njUseIogrjKxGWeoaUqHnGuIXXkT564jUgsXymb6qsjlkisiRvog7Xndjn5uRdz7gW64Sx5l45cTLbCZM7svO0m4xUtfeXyxozicgP0l3RwBKzxpaRu/Cw2mNVz5HFp/uPb4fOr5Ke+ZafSkKYi8lRwydET2NY4TAzlIcLueQ6b1vLbUFft79qEPoo/7QdoBkCCbzrTCjTLFSOlsmhsrUfHkQiAMILSsVKNvHAhe2hNSECVtH4A0LURMUKGjQsbbdzSr/HXQ3HjsHgkmpumiJTmyFUz5MdFVvl9+fVXShKrQjYzKcU9xSctvwSh+dvv+lAKzrIZ8PYbqYW9uvieNmAuCfGg2STGG3XOF2RkWFCdVgriPCqZKyPNXQp15xwN0g1AYT8c8FcwQBrd5Kl8CmWrDbVTYXnVW/uGPpH91pvl+Q/sQaTZp+Gv/qxZ5GwhNGRrytl2wgQvvDDcWyATYG3AUnmzvaE9GiKZEteNdHYwZcwDEXIgXmyBMq0g9iwpmpoj60cB9mTzW+FEtvU6k6MmKk+uUPk9j32CS2wsSiR8aBNGU50FPEdLjFfQrCClczLpNqV9BFAmtIPa5gPMiclADuOdOZ2qGT4lRDQJDVuFYgH6s/kMZswp87Tic/rQaRBb9MtBVIQcCnzS8FsVZxynR6sK8ClMMR7uhEcjH+6WBI7CqAoluuLToynZzle+Wjq2P1ix1iW+lmctWhYplzUEkO4XIn+7v3x/bfN4ZOnxyK8zoAJreRshLdr4FozFdEgZ7T8NwUc+0Rtj9SxVyhfzDlz6tbNjzGAp4nwuV+2TtjfAkSy0OJEZAoRKc3K8qwQGgXyxHGCsfXNLbjJegzbw3I7S3ytxTtiFr4GBzXulN/AL7eOkAeqQS/K6ra3vkaTm8XnhDETDoKLkwRtNv+zNWe6MNJ0xe0aSwyHvB5gxRcAgwOi80dIJxLboNH2TCIH0syD4Kcv5ncukqfW+IUc/0td08WtA2yUR9rE/qu2ntXMELqTFtZbfnZsNIJqjyUxt07XVVs3aow0bLw2uweL+ke+dl/6QntrWmsF/Qi0FCJ8pWQlz/lkfrEhK0dskVtuarpoPo4bU+Xt2nWqKk5OgrPliDue3iVkWWBpGB2wFNtppR+nOyltgnXOMWdSVY8coJ8FCnEGpQsXDaX+L1iwUDfsEKhip8ANjXYyzk9ZDTM1AylmoV5apQfhOp3etOdzDwye/HhDRrW/EyvUb2gDRRPhSO97z9Z1Es+EJ2WC5c3ZYTZA1TZ5GgLdX922t1skcLZ6aNVi2VJWNLlcMtRnFcXklzO/kITpn/PJaYYZn2gYi0DZilNrMeUn/nQAJ1gEDbuCYucIPCtTjk9ewDZgXuBqpYTe29bjYVEiJZPHDu5h6s9q4/Ql7rDM2W1LrRFoonBS/7KMM3gQLgbSvsMKPdFFaYkAHgiXIKbx/uGpy/aaTsBk3Z52feYP8rML8DHbv8ZqqzPhDGuIvPwk36/X3bJMrPexupj1BmEWosRnd1q86chbksfBBnKj8pqTs2wm2WzotDOkW92/TyLUP/+JNohhjT0hlt/lI1ng6v6UFPpJp267FpLLfd9O3fdPcmznZq0I2Xw2xdVKFxuchPo3gzs3qZa6Lf2mih9T6/J8nsj4+WatImsFHEC0eWMWncVk6+SCEqzrs2rRMAK6ZdN7tCJqthGgylJ9GPzqmWvh1aSKPKRBkQJ5I7LVIuAUlNs+wTR0HbFJ4IgQuvEgLyduDzE4nC0Z/d7xxR6fvxy18plBGlAihBKSLIcujHHU/PejEXLPVcxBYK16kJMKnUjPkDSD1WrAy5l7reKO7oP3/8wkwHcu90mVvaAYxxzQbQU++Mo6w2IXWU+FCjsIX4VoofRTp4IAzuHhGiKQ8N5/4/1zl/tstTzEo0q6kt/cEZOsvnEjwdBVpaihFjNL2JUgQMXnTfLx6N0KxqxELIKNnqzBKbmNFIScn8CRBMmhFcRPZKMRkwZqFn6WFAH/mDDsHTlkLH53R7XfnPmheCAXIg7JcBnvrfweSMEnfSdD84r+8RHBBKIhcJmf1Kv1AVH4rAsi6V6CZ6dOYxt/etkUgjYNK/fOR3Jb1Vag+T8E8p7sN72lRbnWf/QZFW70mJcRDtbfeP3aty9YidZfP7v4SV1yfPvULhuXeWzyJKZj89yCpvaoWqYt7XGdLx5IWsenjR4vjRQsmD8Ms76/dk0c4tKsenPz0nw5w3Bp1oyM6Uwhq+niu+xuXSn+PDeXtBDQJmpdEmHF6G68uacrPO69BdzpFIMnmdBSwmBZhg6rpMAJO3gpv85j+3B168tIwuwzeOeS+dM4CvuEbvp741fsdk3dKIuzcS6YjtqapdrDv8dzY9X3Rqgx+Rp5ZQiIqNEDe8/44iuxEvtHdVyh5JdP8VktjLdqwLiTRZ7kn9F3TyCwxYaFPLFvj6BB6FxX7WJNNjxiqGyjTM9FUgzoc3trSN8ErCZmt28yj3aBBQ+AXYmsp5Ys/GVZ/79gYm0kTtQan7N7Ej1JL77rYx17Q9Jnq4C+4+0ySFRg/gGJmdQ0jjwMKqFJY4xHwF0u3iA/68jrFoWivsqS49XTJ6oCJe7psXKydvqVaWYJXlBfB0YYvGhgmucy/bN911eCZNTea/GFuYG3ZGLlTgFy3GAT7F9wgU0DcJrgsvR5JWMAE+sYd3/HWcvxwgLxvnf+4AL+BMLYfdIVrtf0xoOMpMFgv8L4MOfyDuKqji7g40Lc7WbcJbkFpa2//V8FlteNkZEwnfIOoHRy1bGJScUC/EOy7Hv9sZ7CJcf+Ez/P9evXkQb0v3FOFAUcGwmKFcbnZDfGjEZhkxdPW+sAMoVfdJrGkifBvjaGJIqFJzu6qk/JMk/7YzrWKDstM2kePIxlinJPvyEGsEvvD0tdhwRAXVVHTG7Cl6Ebfyo3P44f+dLXsez3d3xdKEeVbuu52hmnY6wxQSc4WSCtF0nxGbtI93bgv5eIgR/in507Y/glHTxjxK4BtgbJffhNRcR4RuBeJ4c69/j01eN1vNbo/+zo/yjVLHjCRQkGPwTyoKDm05zTW5Rt/Lc1WfjiFyVuU8YA8Gd0sjfsPBvtVpySxX/t29PBB71Hk7Zj4ELDbsf78+arj82VQfw+YQXhv2NsSwPbFLEkuwbTXjmeqLzoKd28RLDy0m0/1GVn1hvWrZlJUBY6KrBbwSRXJgrHJpdbBNYguriY+kDIsU7O9xc5I4JVDipOH2FQoaOqolkTw1opjSNHIyYhKMUVjpO7IZ/IQ+fJfGujNJ5qBKtBxP3YTfeu8EluAxc0yX1hjan1jzDZqD6UbmluZrKMyDHOPqTlo3jkzDc2FYi8neRFtz2iOdrglAX73n/eu23Gd7BYaaK2rVnx0egCzFWUFalzmqbDYUYaSSKYhpgz0IqUU3ah1WxEUH4CZvKEFhyDKkmOWEKgCn0OEYmoipi5hLE/Oc4a3aSp1Mx2XladwyJ/mwFXN8yLp4i3R5mpSP32MG8rWQ55DdNkZeURx5DxeACvt/8Pcmme0S4ZIOUHZ/SYPOuBc4n4Zgd8/p0EJl3Gn4kcUGa50y+CwK6eQVIH0BAJwGvOAbDnXAfuH/bVm3e6EQFfMM3s0rLuyrv6QVHko7chQYroBUfvDjL4MMMbdTrMljXs9IHoEqaYEBCQi6cbGUJWtb0G/VVtLWttMajVhI5018r1uM/iwfnnuTo00XgVL2BJKvsYQmMH9OMe2K+fsKiGZu86SwAaa+9e5iwiOE2cPJ232BGqS1NOEg9H3suwm5zLi5kEVlwgDpv5xyPZc+CkqGPWM+TbeWOTrLodH5s56eAx25+OeUh+emFAaw7JzYFk96is/uG3Y3z17IMeICreTGtpjKaNny89tRuRa9zgrWRO/AyeZfyMyWlTTJ8WL5BUem71JpNhSuMXngxQvzy5+hH/0U9+NxS8CiAMqssDUV93nk4WgjNlN0VBLpcK0Mec7LSg0fMIPCn45Ql3kWkpUSbo3s3QKGHKbXIma9BscUdLhp/nr22kPvO1c8E6zFP+UGn4NWIyOMQtk8JG7K/Rt/AKFOUva5PlTMEQQSEr/SNMZpUiAd5BgJ28cgouIvgOsmvVIq9hZwb4IN+sYGoBGxn0tMIYtZ2NMtlfbxabBRlBP91L3TMprT//BLIPrhOA5moiWiQJf05T5sJ0+hSqtifWBhTfU9W52SAoLjOupa+/MQ2/Owcd09+epqA+Ij/kqk3UaWpPy3+ftYBOEdpuRYbwr7CLVkoPSVsalgMIl2pCM76KlSTLb9ieCAmkZRJ8swAc55oBTwJ1Ju/YtPfdJ8z9EekzZuV8MYfPH8FJ7mXwfCT/mkUEDJj6tB7jUPCHleMACG07cU5fsJ2HB3tEIRvVHnYqE4ut18VT344DqdKnCtlyt1f8l1LqGWLraL8QlVqZMD6JN7rFYD9mLfiO0/VpdrLrKpT6mJfPIFItAXZeiJBPIb5Isx19fonCChQ1YVNN7wOLuw/Yk6l9+Phd7MQWlpkRYQIoP4AcWT6FIoI3BDpwk2yMAvKXNYckHXqhoDGBV7WJO465mkteknc2DTsq7jhcdnMJT9lBXS/Uui39VtgQGQkwKX6jnbcA3EbMkCgQSdGHbtemZ3ej0PkKDjvHUMhV1YFLFkLTuS3x7QRwJWyHgb/sS3zX4rNNzlw5WGtIW785psw0bxU8aCcQrhEBqlerRjKIlxHMNDMqQViTQRxUN/kSNTYvzO7DFE8Q8uFD9rjbeAkyyPATVPx8WaVlzmta3jl61jhNOU5fobIku2I2B2dqfoOU/8+FfW9BJ0lJ8IzkLM4CyJ06wz8Gilywmh2nlOkrjfbuOESF7AkS68WTGBZzocYF3WtFiir5utQWSuSrZFFNBfXmdTNVXmIN4kPH3YVZiOxf4fFCLHSEXhIzTBloTqBG5HAXOUUVMRlobQKy3WW2U4tIVsrjcR9hYwUU+2jJj8he2fbeSHZ0chcx8fRvwwQfmTlyGSZ3PjyvuKKJkB/t0ZXMT0hrD1zAoQZPYFs2jdUQA8TWP7ftsvzPrX7duBZzLFoLijR5MkLo4Xyb4AiCFtFHPnGXTjND6dBQ7lR6oTC5H0vL4nER6AGsv1n0MRERlh2zDpg2rzvYTrfOW1e2yLAOf83BHVnNhA0lY9OvjFSYIqTxkAk5pqlMXvlzAfKGrmgkMpCu8fPIYdhrNgW1vr4Zuhy0W1/CbjCEU4PtUf2STdNvkyrrLH7fUQ6sxApq+NpBsmg+4ITI0SsEGz9UCaNh8jrXYjyVprF7EcUQzH76yoSuI3n2kIL0DvGc5iu4A0XnEDFfku6ZinLDK+ztzVvvsMAwU0Pf0lMZFiPCR7kEHXafnQPCUZkc0CaVQfdTjBo/P8KVahOKd06+0iizAabw2t73IHAs8x0n5Dj4tr8CzBlAbgeQ63bA56brNCadmVGRCrOiLaovtH2+3FgZVhD+I2KwffMIlQYZnGUpeUoLpZpQcbb3x7/hQFUlE1CANLRX8meVRusXVOeEGI7NdxPpuTh+jWzxLU8Z9w7TS29+MG+NCiWQw7+7pC9BgEkjEzPjNDk/AI7ZRuI21fKQ221mBPVvD1IYJrlHbT58BJVIHLS6wq/MkFZBfKptjFmVhZB74pG7YbyBA8pRCBlC5GPufRUEQPHbJXqzNbVfpLCbxVlHgd8FSeSTYfTT48qbwrtz4XOo9E6tIFqSjE2yxSTfTSAj3UtpoTIRf5oTBU5WTM7fNJr3dR9VgrNMcV8MaP/R6NqnXYIakcJVsusgyRH1NS/80FKRgHoM6wkrdZ4pf1LjPjQm3WEQbSXtubqnUonB9QKZvfSk2f8rQeYYXqGk1/U0NC1xcgocCzRYnO0qbSOgeo7m4xrRPTNIKFQEQdziW7zDxw1abLdJlVtLgkkonmJEFK/+nS3QGcnPT5n4kYkK+RNGXqlXplkrZjelp8aoTi0dd/4bhZkK9ns78ruuN88ubvAFMGK2HkjuufIUyU/fFkhLPuqyZxdgSpj79emHVjQvTt9lk7hBI+BYKaaFknOwu8iTjc7VDXsyUINC2I0KYUBMY2IMjx7SA3mtMPTdR3uETdx7HWPLtd4ggdhCpYLwCGzJV80BMSnz6z6kCJ/mi7DNYtJ3loOPNjUG3YkgQtxgFqxYBAptnSfWf9BiKOdrzgYuDiVXAIT/GsFYEb5W4rZ+SWPGOUL1pyRH8hrtt+1D4n4CBvTf17sUUC+Y9fM5KgciLaLv4cU8iYLbmbnJ2hrpYb6FLOx2ydOu87CTepB13oOh/n/2lepu/z9UCCY6i6+dEzvzuUwdEqqS6nEF1XxlxZ2wBC7sdb/7U9TRhsPswW9K74WOq/2xnX7+/vSje+b3CSPp9ZnnGrcoN7QaK8DRGECYNRV+0t9ShD6JwGfeavtjI6gdZnpfMbS02ba9DWg3apsO3T2N95bIBLgmwSoaWJYOO9U3lWgxEdoEgB+SM4E/JxvLm9TAX3AbA15/6rGdap7r5BbKO/qMhM0sGC9gnnnd0tR3gRr6V28pQvi8a6at+eGNdtnkpiqLrug+nT57mGMYfvoswG/ht6IquyoaxwxeqF73q+6B91pOdJJ5kKLBnl3ai99YiSv4T9bUH7BSgMEZ7K9ySJrhpbVVJUyq6QhCMNTe+4NyY4T3M0CSxtEGBwRnlO6xmFJQwTlKFBzmjtzyfjnt+kMI2rpifeH1tK8DODC9/WdoUD22tuKTYFdpawo15ZDL5kWYR5YDpztX9w+5Ls3FcDNmnxNe7JnYozIIZe6GAvZa+QY3Y3Rzp5XNACvQ3F2GMBvhL8NQPMk4BGGSCykVkXs6fDnkpO7YldIDbVcLxFafcNuBpF5ITtgxVXZ4sAghgaewG6j+I9jEySknDhtOjqQGBIIQnDRAUVH3vokG+G5xDteQabVdkzUwsvWr+qQgFmKJmnslHD8+XdH/hLtXKCMIp3Q9GB+9dbS5HuRhr7CPmvJrCdpnGx2h11ICc940Q6o+rYCtLkd/1XABCjRWV1yW9e0AnM2PYAXk8fF1g1kn1rI/6ay94EZjvBGIviB0dykOSFqFITspk1bHncG8ZchcMYbF1yGhIMHfTd/k4N/kZBO080x5nwLyjR8gkZGKqK2QavAsxnjawGY5OFunqD5DmI61uB3amiC8QxmXNdDIBIM3gU/As4FZPqCl3QUCTRCdNlS2iPyFgSWaLgwzEukwt76LOWIecMdR/jSNsDEWc3NqKvZJuPUHf+S3tJcQ68W8SztzW1YhgLPaJaHA8SXlJ+tqn0Gjx4weV/GVyh3Is46wqUj9vwHnsMXUCNxopcKvhDAMv6IVvUN/fG7oNz07fwCJIJZC9eH0VQTBpzNrqkZW+/ZKCNi2e4s1mZO5UmBp6lKKarld4TedNsf7Ozyauidc1jMcmEmsew3ulqjcDicvhS0hHHYJ4poPTCyclcBWOEd3EYsRSyqRgUmnUcIenT4sNg1JaRg5WULVZQySK+pyIt/umumXFAbTe4Ny/loDfPihRbvuhaECnS0jS9B/CWEWwbOZrAYJWsNibyi9VQPERwl4Xee7/HHR2+5rEkgOO5Nif191+ZU/AryF4mlfY4TZBizFdAwoN1WrKimLk/ECP8ZKP1SCDqhhXGDniczF1eJjpNmYhVHNI8/ocQGcv0OB0bu/KV6kAMknp28+Pw+fYn5A0/YQuFIRCdhnghEPYfHzmUS2W/mnE+8dDUKp58bkst3UOZ1xb5o4VeIXZz1coCrdBBFk21SDSD2Zr+aEjFz4l086YsBQ7uBLfhkXm8iUjL1bieOuunS/KYmFYrAGZG9vY8YoFbdmoRxhWAdK7iEmgqJTBfwwTKX3p5ud2FFOxCovpARKSXKc6KjIw04XicvS5rKiYO4+5d/5tM+HsGpxsu6/D1jQ2ZDVFBcKpomTsAD5SQpyCT4R9Pjm3Sc5TqJYVoc2Dgs4evcYI0kR0vpzS2E6qk+m5RtQttXJtj8TV2a5Px0qGfDE3SieUe3NfdLz5sBYIyPvnmiiGK3LKToPrUHP7YXBhw5uuk0zekdIZyW+IRpl86sdIsBLgR7Af09cSKteu94iNrR3CpQXXCzAAsymtW/hfY0SsduD6HoJD5tJLy0lxNnZG+08rM5Y7WG91e2BwoUlc+e6EjP01GaVRcWvKNxyHL4a/GrPhgR5LUEzQsm34eRf5ef3N1iAOTW6y9SLKYW66/ZUvQFaETsW5ur22XCmu5E8XMqY8EtmD/thNRkL9lRhCscUYZL5ez/T2iM9oMAthUCjUDCFvEn4LJdeKMc5fF1LKpEHaTfJ/Qye6+qKH/ayIF79KPH5wCl5oxte75bwBZvbqeVKiZrUTx0+P79WB+GL5CxiMb3MrK50GkQxSBlNFTl3SfnlwXHW3IcN5CHh/pIuFH16syZpyeaoR6ygZTwiqQ+d81tNAN1tvE6i45Xn63N1QwTwmzDowPYPgK22lmeexvSedGW4m9FAcNpFBFhGd5dj2ApP9raUgFPbvknw6LEp0i2bfa3AfcXRLmWPIak6nV2QJrI414DAbevYApNY7Yguonp6DRynlWKvPbUr5PVkAHl/tkV1XNmSs/Ny0cB/0WLJ7V0mCvMtmLuPUnfNXEVTWGcoBKXHztWUMT/PaNJpPZzEffO34yfrEfd0JzGbP0QKcSHo88C0WFqQBjmwKEtx8wGBEznYp3Dty68l7sFlZKj+b9rWyofk2czyIUqPzDWmGD3VdnaUGqrt/3IlHY8GCIC1/3vOQWYWqtbrd+u58M29dyyVdhs5V+HVH9VspsdlZNwus9j2Hpmzi/c4AUA+kp4jvXHSlnheswCR49/lPbL6o2YzQS0JeAWbJB7avp00rEtNEqDETGLy5rUIV+GV4rW8zSeZIH/7fq5NanKy/8ERtlSYM7ySDQbcqgBYH2sJ4tndLpsFCbE55kgGxvtPEKDEwC1zYMfSLJbjqquqKwfnXlZuEJFHCiuwXKma0691B9qnX2nxZm99TnGJ/0qcWW5StufXjxtdbIvpUwYZfcYjC+EouJKB00q0wmkOfJHSKiN+z0AFk3vbcjBGiD+Yd8guDsUd6MU382u1fMvTqV6n6ycTnKa52f8FKBT6xZkgufVWhCO4ebWb04yybaq8FhGJkYasD4iychRFKRIDQg+CN5kdHwiwjPmm8HzBE+qQ6k8mWnsSupVNBq51ledO0AK5kANjp7xRbJ4Wnr8Slq34WIcU6GUh9ayX0v8u0I9lrqFy2hbVt4vjf1eE9/g/VrCn86+4PkWo3boz2LxeZZseV/sHYbqu99shqIdjq44Hg+S5BH85DjlkXg8gIXnECud667usNJqHbJbIsjxBNg/ui16qZaCW2dairDRCcAiqi5nbLs5giFoBEvPEHCdGBgw4SF3HkQrrNY7mNHnAvvlqMmWrTo3vGDZYCBYWuHHJTsM0UOabHfcZxXSWKmipe3KKuxjQFsFgkBnPZ9hgShyzgSToVptKNrMKe6xePZa/HOgyYYCfwkX2jYAr+apGKT1+0WiBc8FMccI4ANRlh+wfdrf/c9ZlIUxUsmATOtgU9N44+7hvkT3M1Xky/6j3xx5vTHDrzWzpLETkj6oTl9/QXAOQvSrbRXMxcsBAJWmzYvV9KBMeOZCgnr1v5tTqQA8qwzEYUgM1RM8Tp9pWpv7Yz0t6wX4n5/afRU86FxQ9iWgZS2vc0u2V9VtYJn5Qdh1IXYrP+DPN/TuZkOagk4ZMEKQfHKdN0YG+mnpQcrfG/IXabGjgPetQ5sQR+CHkzwhKy9of8E6KwiZBJ/E3f/7Kf6Ma7dk00QZ5IJzSTBQ9YrPCiSTGHPyuAvLAm8CtvD+jnP/o3yUm5f8zfYUCVz0AlEvP3ZxAhbR2BolLnwgggWnxyIcf2geDRQI0GQmdGH2P8zikMT09MbQPeTZAoUYZbqBaZaDJ/yH0T1JIX7qwx8RhFrGxBitb2eV4Z5GPIfhWdYT31SmtNabNEE1PGLRv4ovd90r52RR3CCdEH1gVOpy3cKUd6HxmajbMV+zYX/WSRmjJKN9efJyL+S5j9R0ACkFB8UsyGj4DZB+jCwgu2X58tyfT1BHE66PRhnBqZtwTur6RZMHDHOm0HKoAenfIFNH3ALAXkIc3KN+CiDnFzJyPiq9yGhKsTOqkuTdK7kdzdsxy13x2VnD6iX80bMdIsi8IQYn9yqMOPDGd32VUmOah2UYxy5jNGFX0QnYUDfNWTJkHooxpZbOsJFkocbjqw1MblgM3q8df+difHynXITW7CEWob61Q7x4qwUwS9a/xcuhgaAwOQ3k7gs9sZU0DWkLaOtW8IZmqtg4CWety1BZEQLX8jjYMbu2UDS1sSgfHF4APs9qjR+62VMvQo4DuogVcF02CjVpHK7fZuCHI5aLRyo5JAjyZq8n/micBvOGvp9al2o26AmRDFKUAAe3bVo0LqEevkPg/wY3xlwI/1DlsDj19NJgW1/47K5mH33a5poW9bTvtKFguIb+xedRCz7loSSOHRtGYHuY/ycF0ZUu6dz1doPY5XdUxQwWsli8+oVzBceEmq3DzoARTjXr5T/5XJQt/JUL0PMTVcgjGFeO188Wz47ZiyheARYIsY5qNdcvSg5s1IqHSOZMkv0/OR4PGPSsYvre76LTIbNfXdm/WM7G9KaaWUsCONfuQptdM3uh+YD7jzwBmPTkDxJWXtn0OWIAT9PWOXlaGliPZzYtead9TSNH3u/atEXeZ1lJF8KqrzlcyowXtkS9asJvyY4aSIYpgCOSsDIRDjIq1Wvi5brlSeL8IZzLj495HMUob/5U9eeNniHaDVhWFhmd3ZJuV97d54jRCAJwqk7aGVhBlOXjKAxjRhtP7jJyxSK/3CljQhTzNGY+4SDuy6J0H2g5Ldw02N/8H1DGbSScxZPeKElJpsyIjaECgE+sq/cZS5Zoajj2yvZXo9FHluy1wRtet2C79ks3mSQRSQt8fti7VyZsTVOdwK05w0Rm13rWSTK9lcRJiqhsXMT4uQVbfuDMYjwR/i9C2r06/yzBDy5FUJ/RJr9zuhBiiASeY6IDUUd9yhNv+eE1U36gyqA8csb0Kh+4eqWslUdRUubmrKOnhRQJr01U9FuS1yHwXaGXGPFYiKUkrpb1bIwNkQxiPUs0SCFTD34vvnxvFNeDPNJ5pHnG6rUH6ZGljQQgkSFpWrC5YoQHtiCMkQ9kO494JXqC5nt71z4x1dkPYse2bo0xK2fm0YiY4a6FpYpby6UHna/WupAXPpXPJAoMHytLIgQj2d2ylP3IDPLH+KJcYey6JkeulxAfuVc3UO+aXYW1HmWef9ij5jf8lc8Irl6QZol+dWRv1QQEnYYM/AaAJQksR0V2Dh7LashJniXI4YjzLDcSGyTcbfpjCNMcI2oHaeJHPEObtRnD2L0Nq1IXAahzqbRTrLIJv1Mv52mqvFJ6nEoCIKGlE+FXTO1+EKqllCuRKjtK/UW8tEBG1c1YHJ7xYjlqWwfn3+ht6z6YAJG9AEQruRAyssrv8p7eTch51w/PfsaxgHSu1fJGrdTEFFngj+lFgl6D6rg8QFvJ0FEPIu8bW5G8UBa5cNVSOUKWanCENA5AH+QCb0wYSpTIyQ/13hppH71dgJ7uI4ExEWwCVfOZ4Lh3efTjBLcfrQ2fhvkdWROpktnFfKS2iKd9YXp+6m8oLYvp7QMxQdSe+jY6l9Vz+XFbXeGxfHKSU6/QxgRGlPu6HaUJobbwH/VZ2UfwerOVwCS5Hg+yfQEPbyBlnve92jE0xNkqr4/9yxxXFWQvKStZN+5oXnGJB6E1JgXCCU5sglZmEZ9RqNC/6nmLSvi8UGE5GjJ6iLjbIy6xCPhQ6rZnDAZtsVsKKPzsn3Ach93IAXZYUY1oCOqER5l+D0Zvs+5INL1b05Ig7nxEY0lyHJcjwZVbEQul2MC02i4ybf3DEW6G7g2cMnEOrmQ+6IzxlRT6lYX1MAUce9sykRQLH/O9CCP6WYagtpggA81gE7PR6wPq+qvMCOtWIIjZGruhQKX8quSoJQWnmL+G7Atiexe3Cmih4kq79yZgizt0rMjCbEysE1vZUHPS87LL826tD3mgrRO/EeV9jCefqS9e7Q9Sy7TabnpbY8dWo78E/aDmXWS8b6on6CBtqzaioEgVvxSI1GDggflnTg9gxIGmzydhr788kok4psD/Jp5KXfegKfoRo6dUJILoPGA0a4PDz5ovmPXOImXj9jyyxX3XvzNiL7mSgOKgQ769VnQItrcfs8aohu7CZatjQCu4VEqDwqaNPkGrd8iTde+Na+9GGB5Gxhwjuet7iFExxoT1sRR7MwLBdgEJT4YdgAeOnfzvU9A5KTOAaI+ODNaGiIVWML0x0yYFwU9cyV97BZd5jrjR/6raDNtqKBKSAZy+iYx12H+pSjDoNcJUJ+H+amtd+yuuVckIrpVWpsGALz9e6hTZdG6UXVQGExTKJbLyS86J25uetp5F+6kQNK+cXzSW9uRrXDovCQs+P7VQVjreTb+GS10MXKdt0aTJZ6YPvkB0mnSdmlO5ezCwrfUYCKY0lxovf1ZfG6tft3hUnVvQPjLDddTdbSR9ZVGjmPvpf6GBKt9Xr+X/bgsM8Eh1s049563AciKCdgPYgqHFTkawRuatetWIyYNYdwDwt4mLMME4EYQpApG+PSAnlUMhKd+pkEZ9Zl4ycGY9durxUEbzsq6R9uNK8fA61BDO/iScG/CsJRUAX7h+H7cKYComnT+3sTYu+Rwmu1fLJ/A1/iUfus+qr0G6v5td7ZMt1PZnSa6dT4Lk2lyf+5XmeQLPujckWWRsb5PpMgPo12Hu+NuzHhEdObW9VZq7XIDIwzN/jPw5bqzKgRLwmO28lyLIA+jETFvoGgDcp+AIl6+luVRqu3LSUG7RwZwVojRACfHud9iu9wfrw/x33UGVl8ZDJOobMpaWXU09Xsc7Cmyk4IGleIQt62mvbYwA3p8XvcpNnVFowdvFv1PR9ROIjf8StJOTa1gYXv0grACzhEVdyGkHHg9vhq1KP4RizM06OMRibYzdao0P9fR5uH6LlJJ9rWX4msAtyuZaf3gCv/6+CoAOMwuhahzZfOQ0KzMKMFcAT7HxvOcQj22emsKrn204Wts4xOM0a58gbWLM5G5VksoQaub/Do7e4/BbpMtTjzlshbERgfAGiIDA57m8U+sPVzxKszzNyPLOVeUFVQq6yjCt9GWWIL4KU50H1fBG4QGhB7yWWP3zlDTC+JwcuTtVPssuKgyVw+6jBGGMEJUBSK1IgD3L+1+5LzvL1MqCsauytvNpZnUZYKiCm/LguJGBTFZJ9h3QnLsRRQmh7OZHsdlHCm2qlRh5UllLPeIyDuM1cjV3dgvb/6oqitYLytZ9JCsG/J1zHOyZ77uO0ZzLGiw0c4gnp8WwCsCyE8z8zzx9h0P+Qgo8iBhPWF5ME0JgmZWUYAJAed1FvizuBqsdU7vnJa0/Z/OXRaZ3tHYFZ7dEOHRIyNtefnPmS2s5aT6Cq83vVVmwKkif2p4gxlxdu7XBKB5dczvyU5RFMziAMs7Mq+FE1N0drtxxHFpDGGt2AJeCFuM30W8AJQNw6oHtypt6VqnYwJJhypgTRxULPq4s2K8bU/Hz/23QEq466e8pNC3NPi0Ic4R6Fr475NLut414xRALfAFU5nkPkwS3BbJntWNoKmf5StPRmQOwEwpEevRSvUgfbhxp0X5e6T933TDQ6FWjw2tIZHdKo/LFx1iY84yWIlm6W7RxzRKhvaNmTT/L9mHmIgfvfbrQ9FjKZGdyTDL5ZoPlPE2X57OzkUgkG2yXJ5Vx5fBC2V1cdFKZHzaWCXNhhuDH55vUs3p2NMJNm8sO7yh9Y5hoW4UWIDMsibvp/YAsKmaO2pVP2UrckPHhhVZiGhEngQ/XdEZfLbGHucC3tf/hxqMqXMdci7QhMajRGyeevhLmTv9MPc8osh8E/1h6LZGXmsmoe2R2zmm0AvCbiNQbuNCSDLvz4lW1bTsxbGSizhmcvNqjF0j+Vj8M4u1YIzzBesR0f9VTqpzx5ky5J67pAIuTkYTgGik9W+hxo/eBVi2wwBu3+JWnbPKzet7I2jCtcbZl0y3JRSktxjdu/jwIHQM9io9viSEErR9sc5iV3RZe8s82tOBoP6pvLHaUgR+YPfDh+7cYpGe7Ao5x9Ms0ZKDFnK446/4IS+Z+X6BQwc5tT9792/tkNGvvytAFYLvHNxbHmMUvG0U/vNOpesmhICpjhsEAvw7wh2nSktCFkMaqai7wDR+Yx2pqPe5CHew8VIu0P4NMKKgixXqwVYippPKz49xB0uHTW7O8w0XyosYv3CtsYLeToKW3/e/5Bwbj331HbrgYSFZjijhEJibuOPC0nweEpM8KSr3ajS3kzOPCu3HleX6JnZ8tnwxUjEfnyFipbHfwbl0iaiWH0C5K5zNTkyseAFjVP0EkzObfFwECRr1uwAro5luyD/3AN6Rk0EZGGiNtyWn6V5riaeDWEAqCtioRrQm+5csnSsSO+LepBfjeLiVPYYMEAJT2b0USPJZKeclLWmbwDfLgeJCNV/lK4BqKPrONFSmUxd7izi4KBeZ6alXyByfM62DvLQCqiX/uaNdHqiPOAMT7jcfx/WHFPOPNYHZbX/8yGk2q+eIKDWaPbDhi/T+Y+Ngb44kMZPvNmsZyUJOk0FErF5jQdENIFVLX5h3tivGfxcA4vxwImBt2MphtLFyLvE/o6tpNOl12tKVNTlVluuqDb2sJ6Z5yFTT3OS59LNnl1tTxY4Icnf9xf3pmfvg6jrjp0i8EkVH3/dspIow7YrLb2Fnk1hrhuDE7yZ3JbuXTQw0tWCNBozcIwPWSS0D0ktjDK0S9oUsA9UK1iUbVErcR+2w6cW2bwE8VG9iAKYZgOtwzOoqbqY9XFJqUMNJMODwqjf27ieszdb27+3EwBl11EpVWNAUBhfeZJzUigvkOpJBfSKumupfclD+Qtn91+QJj/k0qeAi3xmUZpNE5+veQHy3ie7xQ2mdkxN3dhvDp9tHmcnKl0twTZvtRtNOsN4t6yNxQhEOlMeSQLGtFH3V0ahUb4AiW+LZVUpHAbz6JPGbBuqLLnGjuy1UNMurKPJI/8Nx4nr2PViWiebGe57YR4gNYj+f0lUUj+j/clhrnRpIpXvVolnoDymVOQZTAHZsaynRdzWQcjhHsETe7ZVn8unwq5Mb0nL40i+D552f8eLtUq/1yPMUC2LSV//5D1m8KtJx86AyDFFfRC4I8KfcwyVBBIL56QdO+L6obMJH7sU5GkSS1I2wQ4ky/o0PPkFBI4jKuLp91lyOqbBggUIF1GgLK7QOFiJpk/xJR2mKVt8Ygv+qHHaBSoPBkhhKG6yqRxW3BwOhu/D587J08L//ibxUD31bfiSDo/XIiawbCSGewImhtIfO/auHRSmm2GURHKPbQFfLlks6n6Kha3DFbnjeX9rCeGzoM+uMqaia3MS8ixRVWSZNcZmlmyxUJZRxgn8HT0VDnKWq0NbsSnzHzJV+3Fe+5A9IBsoOcZnxNhBVloDxW/nPH2gHoqDkwAcyS4owXSJWL7mkvubjsXhg1spKNChqR7d0LPnYaJvRhdJXS2zv6B+2dxq9LUCO1T8wh84vKSROwIt80XWjKVeB/BhYkXcrtuv22n/6FsFntgLaYpB5r62/wLdJHnIbIxUWV5ZjYgQWvicwmU1o4lLD83ChDMz2xqKY3PRRuyeAfXW9C0zVFAT0PYhdqxsBn69Uhw8hF2v8wkW6AZszkSJ3zqy3uP4jS1zlmPIDELR4oa+2cCfvwQu9/h28cau5r4YAUV1wr/QAGdLfYCFC37mG9tD/oXu5mnsgSTkl1iCrNl2M8EPewoTe3ok4DxHoliI4CXIEoz74aSwKK7Z1j3Xd1c2CQI7gx21Uu6ZG4dh/ZzF5IuUWX3jhWRtDXBlJLtEZYa6N7q34pjKbJLIz5zNpu3/odaSX7NUuPf4lXfGlIwI9NCW4osQJbqESOWx/n6/1pIJFxHjx0RgvxxYvh2aJQtIGz299rpjqBhoCJCOmDNPms/ey/clmkGszguLOZ7InljYipg5kP7idE3vavq6FRrt3dcACac+afHX8+oCPqYgilhgzyiB353Uw3rKG2lsYqf4q3jcrZ6ZANuFd+pa8n+wdWO/ttczhdOGWE6gOnU2ps0AoGUvg1T7ZPv2iNPd4ozz1UGzIAH6x9IVwQWL452K8bt2Zx58Y45otwFkFXTu91zKPmDqkk0GVIOj0jBAAnEf7NQW20Pl/GBQMTb0yQ0fxHBQovK2vGACE8QDXvqJvk3XOPPs8YedI8um2SrYtWb9ko9QAYJO/SuWET89Hm+HliuK+DUku8tZ0o/iWyNUzZ5MNf8CyaTYqouQLkTK2eIL7UASuPbbGxfLtA2ASA+Cl2WICzhOk7o4bUt/ORu4psCRSygRH4P7Y/IwJVlSzdqVh9D2pzpW8rs50dRTJ7PAE9fuxlH1Pp5vyts2VSHceYZPOVRkVYjHZlzSnP7JuLVufV/uapgdN8SFL9mqdvW28Zz57dfF6XqbYQ9vVtQ856EgwbsCSHE5t8jpTNzCGpfR0Amf6cmelbemWOR4L+PFUgVW/VYWIxkQ2vFVCcTFYS2ZJEaL79mPavOhomWPGjdUC5p3u8OSLrJUpwxx83saF9T6vgNm+ntMlxLr5cR1WFKkOCDlezM1ajVlaVQI+sKd+gFBevsRSwLAzibCSP72vazj7d4jfyEMSxIuJikYLfrAyrzT5EMSfzyVT7OafNGv3X0fG1Ya1N9PP8eb98xE/hQaPOG9wooqRCr6qhaYzeBffTWoKkncMyxXbqRVCUvGf6KpLY3agmxz8aoXTmtknIbQeCTT1r6Mii6PIozXgTt364JYYiY0m/+8tx+r/skvT9HXFIdyU/SjRKQE/qtyfb/lHYImFQDPJ9aX+2lxn7BiNvJ9hYHIy/EsXLIiZrlWdbuksWmGpqqcmSyZaKpqx6VdUyi76QPnwbw539zkWsMcWRJcVIs7ZSrw/YDSxTBmwJHbStxtcurDEhGr4GOXvj/NEHJy6aZSDo5fq/lfUf1MU+dE7A4c+nRVfezW+2wBZodSZIaKyGJCS/SHMiGkeZzfi4JgBfvApC0zr2M5rq62nAn7aJetaQuEeFKs7lM0m3FU6RIaM/eb4bJhhgI3i/l9T66bq9x+v8AiEqPPEilOmyUlxAK6pGR4eukMgR1xqjJS9buB5xPilKfdLfjLa+fWs/ODAR/J42zd4YE41PNFjtEHOS/Ygh/1Q8uanlg+KDHFRmZLMQaqZOdSloV3njgFDfs6vEtoGvB54BIGnNYrGIl6z5pkv1rPB0CtzlXa8uPNhnKqrlCuAMpib5jEZQAlEjUAFiahjNTJz26SuFBp3ql+oJbPgDwO4z+ZGevYodzhl+R1o3ScL5X0K7AszgrnKbDJYiZUofIU7x66MTcRQJkFP38UvC4iNAskbVSNULCpzxzlHxmd5ot63uRXUm0OZsmx2u+xeoUAv16sPiaStvQrd+GCD8gRfHa2hi3o3QMYovduQLr+3WyeZ2utu1Xm1fRXwlypufgXrUpgkkR70wdWKpU7dqMCBjuvDRDH5QYKuozSep5nWnMqZr6Ml9+K3TaEMqyNcaHRDu92NjKOElyr57zeLSntp+yb4ClvzWOHRqmNgsUrZjURsORDATRxnohzLSXaWIlB7BJaxMy72ho+YffcVdLz/PG+b8sQhLDq15xPQnMGv2su9vBmpK/3sQi+r/6PhKx0EQed42I/zWOOOkdlWteM3mE3W04iYc3uSLWq+0nIgaDrrqulkOSHy8SNJkwxQfBba+CysjgcsTaPMaq/WdymEn+azIysrfC/dXAikF77+XTNaoS/Bpyy+SjP4ielp4htsJdalozLjjUV6XY4Y2McxsnMVw+F0obkdmFddyjk2JuWddL3U5TghUxQhQs4wjEAvFzKmudF97scVEhxQ5AMhffCqFbsDu1yQAxeeefy4Trslk2TET92Vld0Cexoanbwe0BhJy17Q7FjYuJYbv55CWK67jALOLWAcQkzRR9MRF76T0nli9z/uLag3nGY1QL48PcCu1y7yycR9DNdVCMSZwrSHYewbK3n8tZNskn+/KUAgwriEliHNXG9PUpBz3q5VbwfjeN40ZaUCuaO8BbQOfhfAKh9+TLq3mFGZ0fQymlJam0LjbNxjjk3RkrBbgNIE58pCSF8RvYT/yy7yWpWustLfrBSr3J0lTitAKJD/u7VaGoUcrVU4nrUHFEP4mRh/uwnB67iNNRWBY3DKQFg+V+mY32fbHOZQAf1VV58BGWkLFTPSdMFlIqJob2xXk2aAvUUc+uRXhaTbT8iUrVq1RTIsXITqJI1Q0HH1wFiegTxvfAeof4sQJdYeSfa/IRjDBz2cOmBz7nCL9v0/B/ADDxKc1FCiHOX1q44c8a4EXWy7dDwbyaWmT6ajFxmQD4xOihkBK7LFWgero67UMkrUtHlG4nXvADQGt9H6ieppIVruSVuJLnxetnZL5sewrfMgRBaiqbVRFF2O7pDbNioePGsxuJCsGoA264h99S2+e35RRVMMOF6VxvTBD00kAjjZR8cLXZGy8kGKmNsmlEk5wqhHCr3+3rxgFuQTEt/KhA7BKQgFJLnmot2GR9nPuGFGH1ejv4eee82QgtMiJzz4Zw4+f+lYOQtqGWDIj31wIPpNY4ZtQlFW5hiqXfEoAsiGTmg+Uy7Shw9TZmczH3oYMvuHqjCqnkh6ZNQGpKKmLQi/TVZMbpMYgwkv5zvT4bejejAndt0dNMV6Ud++nGIAHp3epL6nYy49COBVUMa8sMiXGT5B6WMUlXQUr3GW8kuaW3FPjR/YBGDn3R2Kv6HtF3+Ox/nnfoCYsr9GB5Sqnkgl77ZzJhZc12pkbUDpAOQdRY0A42n+a1BAS3HeWQrw83t1Ut2doO7+Fe0fFN5ernoE1ousuPxri/KGqC1f24g58KDojO8nZ/pr9aW3bLF/EUh3ybAVdRyv3lSuMcZPAGFXnQsr/P0+nSEzv8fu2aUCc5SGv60uT1dRWmpG5arasSwItMhbQaZ9/gjbaq13LramC5ZY1q85StjBgqXxHiDVDFoFjqFmJFKSp70nGFTsAOHYEDZMENhbqwzrism/u2vcnD85QrJqioPwl5c2pLoBWBET6PLrts3XZ2rEa0juwDoaDADf/vxKf7ajKqGCzDFhCh0L6hBaRld5sFvPqjf5srDjX1TN6aycY+H6UsHxJwJ1YpjQyGSkq5X5a846GLgBztQY1k3VHA8Q5YWEgo/xjoUTlBxaz3qyN+vlwysHLWGRhnHbKf4eXHCiThzKMuXTrPeF1qc9rEptMIc2aC9SI6SP+fjoZEtYg5uInVuzKm1EgmHxO7+4b3q+kHIXJZE664nmXpBHBs4teyohj8u260ASzjoPJb8OZPbbrBAfQepn9DVIv+StaJKRvOc81FxYt6tsN7LuyE89ccIYS4TCK0qtU+anQzU3u67nTqaRVaeNL/rILU86J+Uimp0AkANHTPge76OTAY5yRqsIJgSg1rxqdC4VHC7Zs/euuHEuT/lTvypTD9mlmIBynrhhO9k5Lwp40IDSyAU5reNhvJ475hwqcSlHHyNynQ7XDFoB3xcWIOWfMXVtlUZgJbablzDjig7NQ3XhVY2bdM3BL3F9HSp+RYRFvG17LnTjkz9D7x/2wo2UBnlauje3w39Leuzb6f0jgT7E3cpjVT4d00DCVuBJ9NxWG73JW/cF86T2Ygj4br308+m7djSkxncTL20Er9ZMo/QbWrFqgrxAFhBODlm0GaCLNiFMzdxsO0+Q1r+GEnapjX+DxcbgW6SS+K8FU9B4SASkypBi2UsgihBcR45pJ5HczXkn4pYGhI6zEoOUE9bTtGWMtHcedspZznxtKZw8r2DbsABGpeeAgzf7JkA5coGSWYQWli/JPwk54+ROqzQVSQ4+JIAq3VzLDNKAO/AogU9bRuxDN96INpXeoU3+GEJypYv5xCLlFa66ijRZsCO5BvuXxlEdGZbMowAc1sNHn4SxynvJCV8ErSmJSPFzJX+r7Techdw1h8J67pWWMowoC4FsnaJX9hsE1OC7Ik+v6VY884sold77RRk7obMT3XUqlRSd22x1zOoJiAzUXZJX2VFDMXedFdZcOyvQL8nloHWswkepRZKK6Q45i91HHuHMu9F1H+ZgExhOZUN/POC2ZAPDC9bi8T7ENHif5e9sKXV3F1dumUaeLZ+WstdOY3GZLJ0PsPR4+KreIZKtFKOiTjDRJbvl7ZtkqOx+VwFEwAIawmibhtBvQpQdDVr4IrUNjAFdEpEc7kCrs7RRhKSSIoDDGcbmnOwLHKUvb22YNyf4cgtr8wEBgz0lmuaAUr5mj2NGNHCWN8+AOsDV/REpvWKPHilno0W14Pi9/0LS8jtsa3mrz3cO/Iz/rLV1nQlHLoRckAZwnOTb4rQm7rGtoqp1SHplePkTnljfht9R+ImrDXt2hCZbob+sc5w8urxNnOfEdl0Ql30R/YzY2Tg87R1cf4+RQiQHC1StmY9EWNkT9P9bW50ej7BtrQSLvzegj7oJxkpxwZs7xtXxyssijifSOrL0geGuoH/PZcjLIR6DOgikugBqY5LHXiMjQ+8ASOsXyTBBz8XYBIdPQLKISxgvOIBlJyG3CucxpCJOh1ibH2837ubOjTRc8DHTGXpBh17mWqVEoysDuEywgqOT2zATzmtBzz/SUbxEwbc8LH1RcXRI8RzpuZa2Z5f8IinZZ6KrfNSJlVDP8n0eUm36QRqnbBlD6sDNT9P8F/QyMcnRy969NqUPJvY2nLvXtyY+61tE/Fv48Wel3+4ICBRnC1YZzuCF6ijv3ZA4q4IqGVyL6IeQNbNH8TPRIcOHDdbQiK6aV0pRri+effaLioOaceo478hwAse7LIQU1pqGu9wtlKZpqr5UhZM6RoS/83eFtTCEaUVifaqxwUe96NdUPORd1J9V6xW4Mh/Y6B2bkcUOIVlB0UWTpsZC7tLDLiHm9B2Wm3/srLff/y3THJ4V57y53MXO/dwVVGf78LybcLpvoI6PY6XLfwAVYFCxUrG+eQxnWzjrcIdgj8cTT/zFWLXRPISinU+VmBzbsUszu+RjXTo9aEb35lwTXtiAMt2rP4rNLw3pqQZ0LDhGvdGUszlfhYVxn4FERdYOV3wttJ2bNoX6jwADNbGIsPciDDKawXUcyFeKOAoSP8BO3vyKrZPwxeUKnoG5deAK3fOvTOQGG0Iur4SSaMtmjILFd1ubRu/D3B8De59a/ymt7zQGJTqmCscmImXttUhKn/uL2Em+htOXGi37TBUVNGDr84HGUMy0/XLotYfDAuYHXZkvF7u1R6PjLJ1asYmUD9X+WiZZspGUnJE+TxOdoL/jKt1hODpjGsBhWW8EYdvzfafsFK+5Q29B/0DCqGWUj0w60T18bPv6XrDPA5u7TR5O5NQWg733oYP8rTm3ivXfqSq6iZIBCgKtM+zREqbv/UmG3SqT3R4Q/yEUhLUo/55ZZiIdaztpJZmp55Agq5PLUhY32SlskZanq2NchdyeO4Eh2XkzJGXCY0X5JQQgAiRAQ2R0G6F/hGZP8k4gg/yIfc7yKrTiGnKNnIhSeIjAby+/K4yfbTlvnFBy9QgR3ACNJMHFgJqfhpdp0HD+IW/HJ1BBYXY2xZ4lf2CeX6Sc3FFBNOpyD0z8vcqh+cERfLrtBb48iNPdtwV9vvsV4Bnnh5/U/jeaehVhiIfibSoglk3kiS8ZqRQhBGilRtQNKzfF+qXfs+no7vl9xscB3EEr3CyL0+vqTQsWDPqGo4MZe8SvC5A27+jhjIpR0T1cSgxC/lw6QnWu2oJwgv9WeZdZhka59r5+fq9bnhVmmKaMBCYQLz1yskV6VV2lTKzHDbzebO/q5PdiEnXZxfovnn/WQcfPNVVND6BX1Z1xkIFUdEdlO+9cS9EWbcTUESijlyvjJCjlZAGt0+crFOnBYWDt+9oZSPGP64smYFzE/GjwMb8NdoJBww3lu6srhxxCEK2yIhwUQfZ4D7FT1rFgLZd120FKSF21SaCo6fyK/4v0EIe9gvPzEkBvnJSaLcGAfbojRBs0Z8npmlzUBVbRJ0mzBubQmh5TVr3stJUf3EumLnDCYkcgHA5NN/xKEqm8SWCa3iF4eN6urOm0cJnkEtYxjWM6GvKMOzecSaIGOT4JskeANlKsMTAgrbDWiy0CRl6FtzBNfZ0FAHxlSqEKbsfe5vYfP1dNNfP8Sk2fOP90ZxMnsbRafGTnbK3hhbYHv+TFui9KS3Vh2tvN57oU/rKpWzZtEfS9A+jgMWJ4u7jIiUtUaPBXBzJ2Q/0K+YhuuEa1SHsR/KkmusU/rTGcEvRQZrhN/vi7XZpIDP53ToCH5atfJ6hO2v28POSPqRF3y9L31O7T8h5GF9Rx31p5P76NJ4a11HPyfvbW0C+oqvt7bPR8+4uB8aOhUDNiEdXdExyqyUdE+AWoigvPdg1ll4Uec6W2Fl7OzcJwNDp2W9Jbsul4VJg5IFWK6b/rTPXWUzUSbYBzHM0JI9XNa7svnCUxHDgfDoMA/ml1JqnQRDx75z/PTW4Ufw513HgDH97MauuM8/DPMVF8h8joCLxje8U3quF9/O5cVIoYCaI0YobN0b8biz59ZKO3j0DZpFs60Cf+TtVoXopd25qjKCZ1dPD3oIhKRTGIk6vUG9xdkR0lBOKy25DtzjPlOBXG0199DO8+xicqFDb4aN7XrYU7MBP2K+hnLgohrKMvWqzIzsleu2lB1Kl34U7rAmafvn4dtDKkOO+damIN5GRTeXFe5TyQW/GJ/haSIQ2YvuOUwGMofNPm0ak916ORoHwaey30SGL20g32R5gfGTKVJp3qUp5RwqSRIFPlMZwnTQiuJ0B7rrsOtOf3rYi65nsGQKqIAgPMtcuKObNbd04MFyVTJgqhy1MHWxdqwMwqzItlCmqlx81vtbCPRnM0bN3XTJBMS+8rZu1a8G8TuxEF44LXG5hNRq2jv7Oz6VhP7OSSz4NrXO1t2+QOkMyFJOqH3Mjo4pDy3KB4so+9CUzx/HqwdPnB0ysuEapn0Aw6EuVOn7+pjhSpAWcUXS/u8wACHCKqqYGz3ge5zDGtuKjff+JLtUadDk+dev59a2W4Miqp7itDRh+hZKeyuMrdxHwWseKaGhSCJmdx8ywsoli245NegFKkNbnGPPTqNL54VU4i02itxrBrO0yYbsxRyEUgDITnTEWg5fgzZZkVscxHf3yAzWhYCdqxYCyD3gnmPQGD8L7xUdrucAYjXRN4CMC5IQmy6rWbPkWHbbxurPJ3cw51FjaEwI/uOOuvmhaanD/xtUSmKTvEXZvFZDKS5qq7DrfxvPKb9ZN+J8p4fVFj2i+VWFWpnQbwXUIer4scFY9i3dK2Cqw1IrUAjPgBv+UdrI+CU+pzWhLZQ3KExejSkXr116T43785Dmy+uvYpKWKEp2CwFnHqqqfVf/hyBeKbQYTSIB1Q9vZCjbWHH07R4YW4Z51ZKltjyjhp0KzihHb6YGbQ81gCrto0caAncoNLXzAYxtglEB6SEJm9ceY0/FNU9LaZfV54PjZ5CkCxaT1YGhQdBQfPyz3YkGZPNN7KdRJiNoetuckRbEhPnYjhZ3CjQyhM/5UGQgFTVCiO7GuV9dp57WlWWOAlYAP+x2kISRjFuaS+HAli5QwO6nsir/LYwP6jMvkzabQqmSLrOD4psRtcKp8mv4dEddvNRptae5iq511Tsdtj3jHxPTedy1CuJtLIppdZJUa3VjsybLJsWSk0uo012Rl81iQ2007RXsqjquHIs/FgmLgGw/9TyHOZ8pEqPestBsmNzOTsWlKkV330Vobe7QoHgAHbhhp6EHghMCh/xoLeORXRrzTdS5hRik/AJY299oowKYwIEavZrxJFcubbVzceG8L3G6fVxS5xrsBEgsoOD/v3fSPf4LDwCM8hxdY0UjqpZeVVDyGZwAXLPfkcyh/koE4Yx673yKMisZ+u4js3I3bDCPRGe8bXknTZgfrteoLSQoIlHD1rzYpcUYTMZEMIFM6PJa7lf1UfIcEzqlisFhQJuNJ+cI6DY63Dju7x/2UUKGgyBPzXx0LkpSuA/ByfnTAghVqWn5++aw19+zntvRpKPoPDCJZH4nWsHpg0h+apqfy/M2wMh75RhtxHeX5e7d4mnJpE+OnlY0v9979nSPNsKVuZ6QuWdZeBPsnDQoGS8ZpJ8QEytP4H7Yyr0v/sVqjOMZgrnCyPEiEqvrLqnBDcAqMV+3JGueU7XNdTbY08n0RfBbomcU2IkMUZsnEX/6U7oecdgOVOFe/Gvk/SWg276hAbvr9y3z8C/AU6xX/zbScjSOlxx2v3OQIGETlCQ++1840YlPWwUYHKWNHYTIh0qQorPb4zpHfHufTi2Bu/kAC8KKoZDtrxEJCzaj9D18Y3OdLkoJebiEr1NPCqN78OLqHbfhvN2fDH7I2ArbNL3KPjBARvY5kktMMbiAFB9KaBfe1GaV0pJhWrLYKu5AKJ8govZamQNYMgYbVpIzRZDJYGa4VMT12wXBT8Lt3Mw3rgEiINcAR0TOahcron+h59Qty1vg8tK/JF0sIHJY2tL+oM+KdjLkyVqcjAB2+EzIAXjhvWUVVBZF7Xez0z0V15TWV+FGD1zC682fAF5vN77/s2VXPC7J3KxD3x8Hne4yiMyYhtylzzQsBohkRJz/EFGxyD/mN7MAXN+2WyVPxR7wp/f7bNWOvoN6HXBQ+Iso5CCkq3e4qrQzj8cOHVk+ZeR2zSH49g4H2glHMEMPnder1ZlCgGu9lAImEX+5NpaNBQF6zYtoI4rMj0MyxpewCCs177LRwqk8Qs0AFNSzLLtyYiiNNWz1WRfNOBDk6nzdNb1WBUiCCdiFu5RkT/XkPCbULQ18J6IDbOhu+0Q3XdrO6PPKU5CWGlHEQs56xB/kncr/UR8lpUMJSzxhAau65asP/7pdaV/C31dcqM1Nf32YyYcXprtnqHlxTSJvygDV/YFdmoj08cj5AfKhgHSnw8vWpC9OQPkPkLXSg7uftb1TNVGycjT/aSzn1jcC1rrc7DO8CzoRvSBAcgNy0xdxIq66nkUCzrEjLk2cfPzK6g2Yn9LlgxsaU0pj8N9GS6Dh/VAdcix8UbfNUk59JAOTElQiJ6rDRbyWVGfUlrstO1KqAN/VWdp037U+G1lXQfKBj9pY67BnzFr585L4edPn1b5/Pv02AvIg5jLbKbY+aalNKYvhwRTrkirlMmeqlHRQpXo/wYstMsH1bEePXoz7Be1iG+JyQ5btcRmznI0DtYcjhnjFfb5VX0SlhVc9wW0JTO13Jr0hNAJjaAcSuSxR8tw/flCE4gxbIg0Gn6scE+uCo+87vFTgdZdplBpTR5nkFLJ+Ri/CxvMqfbPV74rY1CslqX4sSRab3quJMAr0t47RlyNd12cUiGZe3G+tpRh4tqKQz3EUPQjaiB6OmQrbAzAFea0sLpN4ucsROR6tlDut0w3yvfGeWG37BRFuaD8FXsX3njNuoJ/dd3ziuTlJ8qE1GZWnIoGtTgwga+1WEtiT82yGhjDmKk2R7ReWs/sIPp8rM7f+OxYoVp3UbYu95uTSYBMXvMMF1PgriRiAM4C7Z117LeTPZ8C3ah0o9u8X50TkWHJPmAwc64/g2MUM3Jb774cGIAfp7hUdIiME4u3ARkAjnD5p/e8PBP0RAvPFj8PFHqZ7KTomfSvfUUAv8V6EMAejjXxfaikEqvPOVplq3bNz1L0xMgYWa0d4LExky1lAQnDgaHqQt8w4HZ4IyySXBAzNF3Jby2KfZ3kPhDyoAU432jUT6fkabc0eIsf0LvnbWZ0I6NxGXX764xDjZjvNCu1sZOuWX72IJhFS2aE14BnXHXZziXjdWgm19DRTRFRGZtw6X8P0GlB6Qtv0QwvfFWjW2PPszOm4HmMYrjNqNmG4JGIaxCR0QDxncCQjRR3NRGHr1jEpQ2nxgjiraor2MXGLiOTw36667KOWPaAOKZKnV6RPk/gizofFWgJ0Tq9F1HVDMw0vLB42Kj4Dr3Cfw4G+M45PwzqDeDXHPmtlEJNAjTRn/95KUwkW/y7U2dp3FMNPURy5CNgxPsru9yiJRUweLkk/JZtonlquHt+JxVVzabozva24Avv9/j34C1S+1sGDSvnuatpyUBSbROdhAPJfEm9NcHw2MH88SThC+pxS+RvF+hZvgmwrisJFOK0hZQma7PH6pCHR3HUpUehMxAsOH7urR00U5HrABZexFKk8KpuWxErIho6s9JZ6LuQ30/zDFphm+/8CPZxvrHAE4eUSUtHq/0px0E/7Xc/3P3F5OxXoa13Njp7igdKszkeVHt4kX4V19ebEn37z/2dvW+ymCn4Qo1mCUHxxUcFAJatixWi8pgX+4h5opBTHzEm+lEtjZsfo/BGlWAeQZt/8VwsnL792E2NrzA06++F0B8ZwMArR8z4tBpUd0VgvXuTeAz4WlNfCdq0NARNkRj6nQjnh2hZZdriBoBAHcZHZ/HYddTLYcxRNVAprL6CmAcB3C2BrOVU7LhGzXtIIZoGpNA8GFjf3j9SQJs3IesI5lAxr6d9gtbjytlnl76z4WIMIJNkr2yZt+i1Bp2/wn2W2oEApOYr9vBr3XJGeeEYBLohGN8xtEAgCyYcZkslB2SWNbvaCn1ug0exLsdT/fg0JcjJbCWZhys5jLUWxvv6ECxjYZu9cabK3Rpt85yBENfqAjcBTwPHPDd0MbBM95FEksU8fQPeOU9Ncm5uGgtOj99jbRmFo7UnlXlo207dE4iU4fGBzdK3CroCS7A2TgXJDY80PTYru43XXidXxGJdAuwy2MUxU80irGaoll9T+gi5OKkN8R6Ejci0aeU50dilqjFPa3nUm1HbCjhjl3ZUq8xp+bKuGgXZ30DHKoTM1KYHkbPa8xme2HGw1iui0lv8AS2jhM+EyrSu/9NOY+zwSmxu9SkkT2Ne9q5RnCs8YP+jWARnkvvH7LqKNVb4aIfouxqnxYMfyge3F4zSJynfSRr7WFnJTOXr9TEMMoAzNQSCXN5Q7Tsl4TRPqYHMXRci6ENVL2E/C4AfZc28+50ZX0dVf/HnRUeia4KFFkc1hIbJVwUxfh1yVXC3AdJBUrO5Ubr4zZeUwyglvkLmLC6/TPo/i8vGl4VWIy0DOwxzPt6qFky/BinouQYg3TzEH5yrIye7o713Yq+tn1EJBcYAUAJeA1B9VmyWBQP2lK7qr1x3qpfZKQqGBzcvnH9IpOB1jRwxi3mqZrcIBqt7/679S3wWX2VSh9M5kwF10TuTMM7Ho3nTb9aMl+r3b69+N/pQrmowwLm2taFRiHC5xzFLFasFbsT3owEabW2szBbX1gyaQ0ZY5mleIzz2VGCCF2fFMUjSggb4YRXrgARkCRc1/TJghKIGTOad69qqM3Ny/zkeycJ+UnCm0YihlfI5Cjx4d6fqr5DJK4LnqKPz/JZ+/2y15zlj7Ns+s16CTtWUCjXWcG5L3RElT5SFKqjXNqStbY8fQ1AV3qqddnthyJvDCODhmFVk58g7dMTtpFdRT7qr+3ExPpZmF2HR4dVDtJdib/tD5GtdmjSqR1G4pL0ORt3KCFrByKjjWc6hwuobidgpsk3MttSHdI+Ec6As/i1vOf39n2dc0GKn8OwVjVUvCqw0AWhOpcys5x+tb5bq074ly+B+4c6oD+fk2Uxt9exD8HI+emG2TmFR5iQ02YRiq2tyLs5VBb0OTnMJ5YXTHmMahquy8z6l3noZabzYhgR5ue7FGDkirPtUP2ZB572OUNWACdyF+ettn9Ha/PpaTEGxZzktBKBNV68CdXa3WGnF2rHYiOnC+0aHoQYI8VB/5ESB7dmRhmpbBufqCiA+SsruDA1ZPAdCq+YU1c9Tg7hA+II8bGFKKfjzWMx29IPck+qThlOT8LIDP9ep+LezJ8VzFnjEZaRT1lmjgS2gPXjLZcQg/YlmkQPfVhOgmAkcnZAFLtvY5FEwJNZHaR6pKMI/e8rkbf8It8DwcKBzHCbZ5vRV4c5j7/iVhdbtqpPOGnwi41T+nAM/RLcNl8x/DdLoQlVkNfCMQXCXmz1oMoHHtHEtCXkUeq6ScYZbgAR1EiFS0SkNKPY1Rkb76ckv8k8+Nrude14ulAGCkBnX3qKqXbu4lIUIsGSHOZA31tXLat7uVqtqstthsUWlwpLjASW7C3whB6kHUOGwj5DU8Ye9fUrDhsvRkej9sTSmcR7GPaIEPJEm7neTpkP8oCY4I0VQtR5Jro+2/lvCMK5CFR0YNx/fYz8lMVztenS2SeDK0D4vHHbFslfQYKo/TZirM3z1uaXYAZK+/ZXlrnjlQbrRTc6eIJQLy3Ovy3CAszjkcpLr5K17knnDbLgDQbfVQSEIT04WU2sl42PfSwQZ2FDQ0VMl01cA0f8R3v+LEBXXuim4FpYVKmZt4bNEXQFkPJlBSmC+8YuCfp10CwIyv55uQSGTzy+oNA3TyYRi+/OUrTN8EGKxeZuoRdlvkianV6ebeGURti2uKvHwkrbtd6MmlffFHjz7ngsmBNfydn6wEGl4ZqqczzAFFhocXaHsEdzyfnUdQIy00LMmhQ5MN28vZdZ5RFKAfnEyO5LJfIxtHzSIzVm7F257BuABhFkL8jJ9xQ9D9V02ChK84rRcyGhqMhIv6y0YO7CeVE9VbFiE9c23trk8V+h6fHY9AWjm2cu2NoA48X1HBOOQDfI7IXKegOr/gPIPYyyg6PaZVr1IYKR5ZzjmHVJlwD1G3rYFNSNMzLDNYqKj7Db2BHT9yyGqSJ8RHVzC35UB0rw8I64/fVqEeXazvr+B0auGQo2Fu3YlVCnArfXhSpvuZQeS8obkIk1RmPj7jyFO/OouuBQqtJ5Tah9ltj0obVceH/uLPvfvilb/M40LHIywn6py8rAi/MAMTiTbxNUTLBbg92E0mkvL9OwUELrIbf5pPVyT7R3l391C2LOfTZWb+YhX1mfeRZdwMo7438VG4QMTFKXun2ox/lrSN75mKHhhakxvPQKuyqVGki+EtEFYDTB034ud5jtf0XUWiOmfWi8NxkiHb+rxQOV1n0mvon6GZpjNs7brMza1XWQAiqyFPqLSeJwZ8GSBbul81tUrNAy+YusY34QMIEKakK5xdih1/Hk6Mq+4kt0HDgGQsyTn/rII89JP7xrrCpJOYJplTriUfjTy8BhCRD4MDWV8sP6aFlsksGyb/8e6qM7OHlw++8J7o79sNzP2SEDqvNQb0umyjp7dzt2XlIl1fOQLwli8bXS9znLwIbbFVucRw6cjSxP/E+0Y+R4IuQcw+wqXgu7+cNcFl4Bo7hFUC7N7pFeg4zJ39JvIBJWGvYmfoxbXyUxHbcjZ2iNoVKsLoYDQ/LNdFFAfNaYj7YIsuUGNMVUzthzIIfqnLGQZTfTXekfZ9312HliVgKf4y/AtzyFtIKfgYHnz7kX2HpCgvyiDx65PyLNyn+UUI0QN6WQ22uC03YrLyzypa50bn1CIQ2QLASUCvCGXrmH1U6GVcPRWDu8S3TAhjQD1HPels325Af6cXLESjvNZXauBQz53dUBqx6XPZDiAgx4HCQsoYLRqLN9vkv1sxuhiGoGyxIuEhlahDo+IZFNgCnUKMKURgr3eWx3hwVkyP7+rCcw3XInJljZv/+8bvLvQM1yQUzaRvCXTaheii2GBlLvqpTCztTtF8kTwEOXh5+MTZH8wQ2L5P/TN9bToQ91yjWpvJYdamQdPIeEfRl5oUQGGjhDJg7H+RjpGMN6fBbHXINpyQ7eGWRYa77CICLPULvXd0XyrYrx3qPxHzUS/Af0jYYhCvGyix4kfRbkPYsQ+CBP95mBmLSVqa1zfl22vJqQB2LHnU0QgUMaylkNXYq2qJphaQGo7ewYYwhigmuf7bGrlw+prTqx1v6q50JMhEoS+JR8uf9ktewBK/Zjatxtaf1jio381CjXnR7vIBqZ81xVjVkzir8pUP8oOVogiYmtXA6cmZ5SpbTSzxnTFYYq75TDRfQTHpjwZUQ2C9+4O4NULjaDkKGKl47GgYZyBdXZgZKtvcNb5k80h2dse8fCM/uhi0azxPzvYQuLdkwpDE6gBpbpeq6Be5jYCRW2jjF5hWabdRvdDmZHlp+RgG6ao6uBAYr0rb1w8n8cYDjUgY0ISiJQwEuRAXX5eR1ZQJC4OPmWP5OnasuCCnOvijNhlu1HN1EhI0JNX8J9tQd/SiYbcG4c+VP0lG1dr6Zmvqy1NgvaY4ch/rwKz8G3h/ZQro1lk/shaQ/moI1xe64nsJeIAUYdF7l19ygTzG7azUGlk2Fgay5BpYm64euK7J4cInRyB4gG64OhAIMiVMsRYyUkbm8Jb0QkZnTJ+te2yukrKfg/2Eer5Tl62ALDVsFomZ4CtOEaaWRIStxi6ot0Nyd2LA9B1PG0ki0zSLf9Kh1RsWL6jv6+Uow+xz9uHFvoCQhW0Ny8JFBVuUuPtdRSbMz4TkRCQg7hXpuenHHA49n0C/LL1E1A5CffeJcNHZJi/XocNQeBoQnNY25gaMLSblfjbB3iFTT+onPyLx6P0xAq1RUFEy4EYpZVEb5PIHyckiVVcd5k8CMQ3wEKPrSS2xLVD7emvKaJUAsOPJdq5q4MBCGvl5XFMOc+oH34pGyGiesJgABvhQvHwGolLY1qKTUkGOs8bhxVBkAlZ/9P4c+J8b80kAZfP5mb9yV5PBfjtwSP8OPr0hhoSjeGu1+bsMJKxoXxHhO8xmSxmWhBcUgGvCPisAQo1CxBpaSboThC1esMI4kBwWayPYs8i5+IH++etqFJN8W7o9FF14zIF4/A+ZJMBiZOsS8sMsxVPojYy4befgIkCu0lcE0Ke4/N2TyGVv813oettY1yOjcBQ+gF44c6kkXeCd4Xyql057Kt5GtcvZmlv46SBPvefwJQqJfKGw4ZF1QLQg+B8JWSTrKNShBx1mWivD1xetKmlSXCyg8hYUyjXbcTGuLe0IFM+7EVb/Fw8hTTOEAFGcPK2oW/mfPSTLa9inQR4N5J5S7R3ktfKVXBSwVKl0MycnpscOYCYUnj/hN1c488yRXCbOy88u1erO1fdU6Min6sNyb6FkHFoyVzsrw8LMsEReiLqQwCpqiFW7pFNKlsVPFoKv5q2dmBp2MTb+a964WaeScX/f9sg9fsWMhCHaKYV1kXZpbo9SS5MWjmiK+wPt8nHRUeTwnoN93OOc6mHRMU4rNux07vHtUafJOud1iIv4nhVOCs80HGxqPmM9N3aCg4lZ2YP2LkJNBC2OD3nGmevWgfmrnJlXEC2qUogLpTYBjjh0+iq81EUdLVyKvIZw3XupXf8E4xHy5jZlms0fWiAzsZ/f/uMbqt9bozKAYYHb7muZwaBTZ9HChPGf15KW1IskOu2GL37+8cJOqGAHUL8rXZjD7r2pP4F0vm9KLzJ8X+iKQ1Oyo9ueeKFkZZ+0Q0bj3CR2QPkmXDSk2ht7ryyZq6ogvB/thJAFbyDbAHepfQoy3I7ufjHNnafSZoNIN2aa6i6ws659j/cFD4CZPEUi7R27ZNYOxt6SK4nwnqJNndnw25vKc5EeaspObqsaaiSA8U3mGtL/gsbXAFb3YV2e0ComoqEPWjc+jgpmC8GfJMdWLK09NKxlVtNyQacYuwq8jxBxA7Bo4Xyi6jexeOeS/l+6UpOpauhvJ/Mh4XpOaJzUSOmffsaokDhQuIPMS4Ule/FNpfHASRnAlX9rjWv7h17/vkPKGOpxTnm0Rt/S1NYE7qawKA7QLnjjNLYTXcb5ulkukhcxi4U1hnN1fNqfBV60FOmAUssyJ0OnUnztk6/wvXWgqD7JMHljjdNBU0zu7rubFtNhymmwMiLYGjM+zpT+ROmZdEGiEOWHoM2sYNTaMT1mSQPs4uwkBuvA8UgRwrRS87BI1c7vdUaK+uQCr4dzX1DyFiV0G0gsWvzScAxpA7bhZvIXs9t4iO9trT3YCByVmdHxgatIC+gCumhPFnD4BMKsqGOL1oWu0COpcAZl084q6c4JXdwHZQrTpEc7Bv/fbVdd/VuKE+7E8/wLvSynTqpcjQY8hnVN9LvSIHinemOpAvVdvDJMrZ8CN+INS2MBX+R6vxCuPf6h7/P6oeJmtQUvEJptTZFAV3s7pf6PtVncnHUwrAltm0auIPtvZsNtie0LmtczKpW+1nucTVyR/jJUNj4xrMc8MeyuQmGsdGjwV8vZM1aBG1BbOtSqjAKJcopIz9k51OZX5EphbUoJCxa44mcbcNHDcjQQI3c8I6ONjga1BQkhpiCrNnJh9dmmqAsxeSUiNW0N1t0JoeGTVLXgwtqredi7yuuDW3NVTYQamjtkcRc+bFaRPb12nBVVdHpkUGmyWW76KJbP5BwmJu5xirPmzuKlhSF4MavLiyErvY0WDjMJ/uc20rzJCYDIvAF4LAHzaYK4lPdZ6IlPwn9+9M5Eh96c15FlZyy7Q9EWSInHToIVxp64bx9+8lhcTE3890b/nT4/3Ac9qddHxAmODFA8dNMqJMrEwSmTkzX2EStbWiey75DbALSCQiWEgc2Aw9qUPeX4OQXgofZET5BPeBvylCdtAMFmFevfCLog6wIQ0ZR4scxoSLqdY3Z2V8EiLqF4W2qUiY7ugbk6KfvTof+MJt3OkNaX29paptloNUb9hCQmDcQol0rJE146+Dm1WpVqLEPtfW4BW/jqzti+Cs/R8lRSQAPeA+L0T3Rw9X2awZrjuo5CyHCI2dyLD0bUwkyj/B5RStwCz+PQ++q1WB/LKJtSsZpvXGE79JBFMrAB48CkiP2IhEW9RHEdK8gghVp6q1nkJ7n3LWuONYXtrXt0Up1JCSMESe+jYsrlgwik0yRvTu2QFrN/g59CclGTPclVFfaUXzDzN/qd5MiFTIo23RCdllx/buqHra6De1Hn/rMO6nmEk2Lendj5/JZcDZbghpX08xRcMBeYCoh57Ys+5Qk1oRwmzpXE54xjhj/kbtt5COwZfW16q0UgCGa5II4d8JW9zpQ6VqZpQrDFHENpekr3LPqo2BMtWg0hN0RdhtLxymtYnCHKlzRv9LE/4AHXF+0LS4QaXiRvmPPUYZs2630JNegD4Zfo91rgeonlbut3UT7SMy8F86Vy+y506cJJScVauQUromc8zmw2tvAw10r7ujsVC6fS+5/FxIW/wD5juaPWCs9UV20VI5M78MM2WVmCKfB+9ApCRX8xVHrtwFZOf3m3/28fQk43Dylxcac2JAonGpysYEUrKRhQuURQeVnQ7BHN4lxU6WuzuFn3A771CDoV86LJ8gbqo3sERmOp99FgSDhKbqrTBo1OwD78HGa6wG7zKRCw8PFe0eTfVUzblV23Rui9CAUrrkpRPq+c8ILSxdruRv/YbthBHT/6aFHD0cNfxOg0lUOOiOQSUFg9++QaHNnOllYxARUEkN0CM5Nt1g63YYHUXgmQr57DZ7AWyT3mE/eXf+FU1HZSLAPrfQ3XA1tg1eoZVkfER7CLjtbnATfoHIvmSuZ6cqSygU9Rn5GhQjM1NpNMHdRT+aajSgA8+xLWze96LM2p2UHizkseD9og9KBoMtuBKRr4Ynlf1aGBzVbz1ZGLeykYV1/UzF9UIorKvqeSTZgcZqcWJmzSlsUCDkCtRJdPrhvxV9xZZ/PKbGrmbiPYHvAx1kDWzaq7RxYZaAlZ+R/zcoK096p0ZKJfFQUiwHs0ACUq3sUODghTRCaBh8z4v1Ew1XrADnTNKDUvOgKSIHvG7WiiDzNc5sQDwNM7SQtX/1EvecUSbhVYSzweVwqrcP8ajH9lxo9aYdlS7BEhB71X68thWN/1s2jsypE9F4k3X6JeuNdwlTzGVvrTeKXiPzLx79Vfjr0UndAUgS/xqrYPBDY2pNeac7iCyzuNXZWcerZtOLnXon6Wwunnwt9tcxcMGxycZvIs95FaEHue0W+Gm6f6Q0m5fUF6wQahDR2by2S6+BhwyFkjIFR1PpWj53/73XDZ4tHT3/NVbbl7JCiX3rEvWe63qbfCWsMRsTp5RBHWNLhow+cRyk+B3cFiAE3maNUxMZBDtd4Jr/JK6ocMmyHqyf/cjnQfTjxbtWczGgq9WEQYojmVwoSN5D7mxqIK0P6Dkna6YCyKI8xDfneXStbFZMoIYXY/1pA1OFozAZRegfMX0U+oobeD1UcPiVhdKcAFHs1hhH2xVB6KdMNmjva5vSYbjqakk1mOCEW6RVtMWHCvhnnEu5yQWfVFh2DcopImvEiKzSkX7QHzU6E1ZvbUwzmSX6FjuTmDUJzzdtFnj41i+z7sW80OTWvcOLI0b9oSIQiBCuXabOfEBiMB7V9hDnEhZLgV4ewz5w1q6LVuXh14WxtoK0pwr3QxLy1mbmbqfVmV83Rm1WsTRd45h9qToaajYT+PEbOuIXLfAg4KHr22+Yn5U84cLwfl7gSocbfPKJtKxFAytHvYKX8193cyOpo8jeZTnxtICmG6QaE1ku91O0ymlyJU9Qd10n4yASurR+nEHXuMbLnhT/OFvZHvp5Rf7gLgXg1atxAuc+fk8t+F8bMzTXz5lHq+VuouldWD4lAYEMMwTiSmkEGRp7qotyKKXL6zW+p92Tq5XpvZatkcDivERuJnolMUK/NxMeAA3CtC7dPsLeGQ7ygYHJJ4ZIX4mTIeZGMycgWcsP43g1i0RhpR9n6kBZnVXlurttU9+rDNsmWMlJz2Cfxc6RS/6l71AWNTnMidgoLCCKl9hirCsVY/o8uXszfcph2Aib29A8LTo+N+f/7bXktY1RUzd5A4vuDC8rIkKwYhTOW5eYg1mqiBldwh1gMTQipfR+O0ACn2hrmHtW9wDiD3hAhovo6k5YImJckEdeva/Z5ihuw7RdQCdeUG2s+7t+i3tzvHamzcMDdsael5x6LcJZtiG1AOCj9wHh6ZO3KaUfhBhh2sEgMXXYLAsNHnLB9jgcb/zITJI68POpC68m2PguI8s3NvaO6BU220pk/jPBXsowVorhAbN8tg0u8WcapoQ0uXsEE09fFXmUW8Dk7nw4A7i2dH7yqmqcNLBd7g24Y6yORmGa0bRysrOTWgStNCoHG8Rny2l7KkcWgWMpuAFnnNAtHPnFblhqPGhlWAa2PFovtR6rzriyIoZOuVO7Si+hUf8LdLVHVG1kIC7AFlaE9rJ1od9KkLp0qAXyBzW8mHjSz4lJgPwB0ZDQkKr9bbCIFZ/dCnBT0VAd/j1utDwrTJUfK17r0Im6DUe6ypzzk/ffvxuCvEAQWvug+pjwjmSkQ0c8Ysebl/QoO4pGDUaQdFmPw7gfsSh+wpQQKceaKgG3e8QJ3W4EqYeEF+9Kw8Kq7XQBC6Kw1JTWB7u9PVL1BhGcscTi372KOa9p6bNXraWodq9hBbccyxV/OH0PtG4DEHdtxHfwlgJA4K+2bRusdIDxzYs3zSk2NF+83Kn1KrWKrQRnTvWOZve7evPOJXgiL+rTO+RewTICJM1xjC4Q6T/k5KEhdLpra2JqCIKcsZiIk034+F2Ug8Izp1MNnjVuepJyKORWJjxSoVAryY+ZyWcaZB/zP9um6GFma8vbWWKnfanfGkd2xrIJKNSUaYU+3MMCoh4aWA5+5mVoAWyxfj58V4OWo/qtzqSEXBR6YDrLqLPHqOijAnqtiASJ+KQzbl6pvRKcoayA2W/79p4HBP+YaUpQ1n7KpWi+LOQjnvNowhwX3hLOAZme5URN+AOzq7Dx+8UR2mEYbJm800K2oi2+ibJnSbLtNzmZz5m1ysjcS/NHQcEV5Zw+rBApsKUaXG2iKCtDmD0XS40iHR6H2W5Z1ym1svEfaZeUHPz8ayNvdEJpA+gfIU820H5THbwaOmTW1tgRf9r1GthfEv7yCxGnmQRd8DSaeYrCy+mD5dpIw6fGNCkqJXT5m3y867ZxGKUwq4f6IlDgAuWgIfi4K9M6nHs1oovyTkSXh6QgqZr4j9lsZvfO0+NmBk9wVA3N0vS7bGM0GDs1G58VBmljyFD65DqeocmG4tVg9dOXFqWhcCn8z5aSHF882YhMe2z0kc6tlGWVFtz8BfTsPL8a9xPW3DlVhsOjSIre3fTd8zbit6mKoQ/R02kU5LloXaCovd4SBVn3m/GqU37G8B1zEQK8+YXnPVtYSO4e8jUlwOZ6mOaYeiU/pB+s3mPN4RYmj4izkExuSi1S7n7Xhomc9k/+7t53iifZ21JnvMaxMUs8f9Hsy4XzpnJ1cCFvVp8sTRxAiUHmBw0Te8Nmt6RuRkX2f4K983fkepwDEA1ID8eGSmWABPOsSz2bxs6ZdxyOQ9uEISMj72H05N2iA3yn45qySDBigN94IJAiHB8OlNDzgqXWiCgF23P3Ge0Fp3o4RWZENMYKpWJ9U6/aG/hyxszPK7Z2mj11gwZT5wfIhWTskXjDAkzCq1e/EUqrLEHc8hrAwvn0mjD2yuc7N63ChDTCdt5YPVAXWH+IkPrpbCVvq8ZFWT4ZS/MmHZQbNmQsGz8M27gphhfBnUmbo1u1p4KGRp7Cber1rLwfU3aU4cKaxZRT5z98PqM5NW0Jkmk8F7A+hnFyVfggRoDnKfCSPZH1gb/OcKrL6Em9lxsb8hWYWd+1BtFoLZJEK5fXZCVyxrZosdUgyReSupJlK2UfJGY4AdqAQM4xF5MD5LsyxQqmIWJOoWW4T2FnUXHgHm8QgaP5qCpV6a5MHqXOC4ZpYkHsLHHj9biUQlJAA0wJT4ARqgypr9ljk3FwIbdJdq8A1N/rZzPHPeMYObTzmq1zlhyDuCh2skrM5VnEotGAPgAuERnk/3DkCdcQpabvfK2dbbVBQq/i8MUtZk4/E/AJ4/iPFcFR32yJS6NLq1QMLa0mLFmzlkG961nwLUqMQ1W8XY5Dw/EL6sEzoyfzLPTjChNDgu+QkFs9vFc0mssdZ3eTaX/5gXYC4kNItxJ4GVv0+UYrV1Qx89+sFbJLwSr2UHgHMfHYsB+kkDxWP8vQGbemsbxbC1WprBSYVwVPxp6HtidZJToKlWfYjehkjuvmpmWlJY2E26LGZ2Iaz5qn64vzCAtXGx8VgOriTLsu/iJjaJFV3cOtB60OfDH0bG8VpJ5u5+obTnJD1057enx8//J2ekN/XUzClYhzL38+OGOVPMUgGjnkxBjvncOqZ2IgWXHaLDtA5rglfCMJz58zrvt7jcD0hgjz282v5Fi0sQ19yQCKDHzI5vMZ3qR4UZ8KdzC6ogLH03s19+APg2AhYTbmHL6tiV4vSxfbE2nW23+ZPGOBu26TnohMWGsjvkX4Vkm05LjIZC7Xprh1qLJD1wK1zdjgugOlHybFk4VM8B97kof+OjZ1Em8hM4dzPBQjEuL69P9fHBZvo8ZL8TEtOdaKnZcQDlsI9MyjxfDv2p7KeshuDqEjhHu9g0jfanux+PFahnZSQTikAgQ/kil4RohN5lXmeIpVztaT3tIzKJ1o62uwiJGwE4D/fRcDckwlLQqaKX9hkTPmkM2NFMQJROATZZ+3mqSWLsnaBordRzOok+BQ2XHBbkQPRC6MqeKc8h6GZR6m7uM45h92QoxiQG0qpcFPGkSP4Mh6vgllr33JXxnHgTulHn5Z2gQgDM4OjKgpJVCuZd5CBLXnu4hfu7XYHFhP2q0vG73z5nyNRJYN4WbuJEInR44wO5Mdf/0Y1RjHrO1KjlCz3ZT+5wQLEbz65kFSwplgUr3igk0z17XXsoUyajZROC9mS2LhCtc+6NdAyegTqXWzZ/KxPhRmzwD2w+dcGBJOTLLKfhIZ3bGqiFgm9cMEod+z9tQV54CHlRbWbyP27vpxdKZcdRSGtj67grgQgXdEOWfIpu91ecuZECrRP98jRnRe8dudXriZ7KfiBaGFOUs1mN1BWalhtEk1dN8xNVGwIAnAtdviNnWQfTBnOC+xScrZDpscn3QsBcEwhrx5i9zmYuFJvKIcL8dNX5nrWzzPGeCoKnmRmAOLdUff5OGf7eNI3QLA+eL8j/6gUsZ67Pllf+Md6GuDENON1XR6NGQhizKZoMcluEhCMfTeV/gQf6rs7Nucx1mLHwhth3UnpZ8Mvh1LZqXCPIajrAWALGXj3GxtFwGK0Ad5/xIW8NPz6f0OOJssJU/QLvvduEJL0Q9txEvdRRk05or67LxM6YoDVhwtO9z59BaOzt1HBdJ2g80IeD/oOn1D6k4lA4+Qd8CIAn+h6W7MS98sfjDMkALxtGZD8dUVlwHR2miL5J78IopTdfYMf422q3N8/L9S5DbYs3CxhvcGlO3AcgQSMej5DdnhFWvsZLDowfSLaHaRBV9PyAKsStRUZWlkh1WK39PZD9JYglCi6JsqfXlaSXhAw7eLJCb5/zblE5gC/K0NPDa/Nj8pcn3icsHUJMPBkrFK25uieMCDbARhxuyyt1w4gYcRs6xqKOMUePxb0AvW9mMbhqnNc+p93ckxBHuxuvNu1JwWZXInjKwM6L7kEwkBsGQT9e11ZqfNIENnZb3BP29RApOr4dcS4cbgfLzia/yMdwvuUEOawvXxVCqKw3R2irZropYtkPEPxldBTWZnpFJ9aJZ5dKRiywvqXZO/AHmEtC3fuk1dmOJzIWdfVqjSQP80wHBCe++Gt+kdfs4wSK8Vw5G1LEFDO3mBcSxgewpE7/Gi193hMOAkJXwHNpwXc3nMhISNeR6F2wVPz4Lyu4xZ8/d4EzeVKKELi3rYXSi90WZvzkQr3/84v0LmRmoU7IhlLZJUuAgSWkzEInoJxYQz8j/s2Si6tWkYFbMdJEVlqjreZsl//8iRJehGNPSUSWHVN5rFtVBXndskQ5qFOH9Q8OWFehyHnJ9D25RXVPHOcCyDFLdYaYWIPc+zyn8O3l+pCCwkEeLJcF3lWVMHxjjmTSQ11oXdzUF5Hh85utanWb/bOSxPLGeZ4u7KvUp6PFxkV3okPk/foDitzyDLf928myYE9x/vU/jJu4hgvRaa+L22zxaQbTAxGwucFyQc+uiFwcexJHrxD1AbWRA4wBTdGps68CsGExbK7eBwe8J64QrIryjOnr/3dTPv/RXR464y3MRWEoJYI0LK6dv6EPvatxJOtLW/7er3eNGETI/xoZ60fjBEQlthPKzutvVChJMp2L5EQOEIqCahxbQtJXFE8RRTJdhsfgudHloRIbMumP/KExxT3n+At0Jn+Kvn39jHaAf9tjlzE9ZGMHPVoBFfQYwycbGkzqjv6+PheuqFFMGHBpEOS3q/3Sl/tNI4Kl5lkGrae59aF4ALxfeTCbDpP0n8aIswdaCnwlZMdqf4/ctjwuvkhWqNF1js60YmfPD7J0YQv8TiW9L27YgpqTCqeEdBKLEK7jo5/O0nrBJb8LlTsyryGET6j6xbcTOjo2r8eizsypu62iVloyeld3xm5yBJzxeDbBvXiCKbG4s7pmWzHM9MHh9cahc2VNC3JZetfHWSzqskVNdKIweoWUEDFK/Y4FTyw4yoLrWt7mcLBBwVS+PKrcbg8TsRXhEl6uqBNm2QHz7+7XA7tpHz7cA8owXx4jv0RPrvsHt/HEusgugdohp42YpNm0tPwjwVdrQkhHO1Z5i2gxuoI5C8eAmTI/vbRTs6lB8MQAmQNf3jD4zYu/9y/i5js/oX83ynTm9TgI6wow2d7Tfdlf/Oo2V2yHRzNilBOIRdYdj+YfQhurbYECrlTzzwECdE/vDbvf6fdJtyc76hkqZvNBOfEwGdtVqnLNHw2pssgxxNth3VDtyM1gLhIaYMrtqtNJoBqlv0Em6HB56r3ZjsIUtDqHA8igiDYiQeZEE5DUSy1zHeiWXHH2tKWXm+ogjitSQ3/9g8MXjYtBI5eLt0e4FXDI7o1twC72JENLdia1VnHNO/G9eBIus9F1uDw6g8TdTiDRqTHOivn9Naaes6Ho4Ru6M0vmejXGm1r20NCzLbsMOJcQb0EWgWbz7iF1470/Hi91FMuGUVoMXqHqx3CgEM/nnex7KIpJg75l5BW9011U1rqo3Y7zfkS6p6kbIw6N6+W+wFSb9Se9kRMb6B4uj+jjdrwn0/fQFjpEJ33b6JHWP8aBncpRmLFMAuSu2sAA5kr6bDxiG+AgR/siQiy6V4XllKZq7X/MQfONoL4PfSQWvkDDR+/BWKycPTcsuWSWgz2DwlUE0Fr3A4niWrDw7wA1hSbl1XRJ4EhrmyyDZzggkA3Z34kvZT63tN1xcxfxMCT7o1jDGqb2cvoM1KIDAvLmWl0Omov0ngjiaDwYduDRjU8UrL78rIvvIJpXYoUBR95IW7kLrSeqdLlZiphVjNu921+6pis6Sou97X+xjFnckbmqLVM+LB93LYCejdPQZAhHa7VmTD9cMuVpPatkrGy7kNJFbtkMgm4SzXldV9esnS/+WE8ZDJgZdCtxjAetBKwN/m7RNqs9/ablKJMWw92vdvS4narVzZS0v2GwmEUWfbuMk0GE0aN0n9ElQS7UZTuM2ov9860xzlHZEpslllzTmB0cGDe9byN7JeCaOhQQToKGYBrQ+3aaMFBAmRBoZbQluvx1LYlZBLB3oGH7QeDScDjq+eIPn6rjV/waitdseJOybqY+nF7e7kMjrw4JwC8eVL3vJfxFP/42Y0fTO+9QQBvOCC9eKnshanEbrnZCg4O4GQaCnfqnAEwa9ZhsMKVNCqTAKzkDM9p6EveDZiua+FhxfY878Ml4HkN+pMynL5ZvV4GUBGzVuif6frjOumX8Az1un0+refCR2USRr5drA7dloFuOGfL4w618E5okxSronMSUUv/BB5iB8tRSsh5i1kYB1rPS64wTiYrIi81qtGzBLJSheut7RmBUzqUKCgPTs/mtIAqxLGCNE3nzyCTpP/nR+ZA2thC3LXguOqdzNKh3Jc2ITyWzRx6EAGHFKVq0geVUJpF1k3prIpo4Xab2PYwgcc5knZVV5P3ip1D5k0xiuoRDrs0ePQl25/dRBdBttA8WNqhNc9yGHplUOGDIeu2ZEEb4nEwuRF8IQY2+mufO4G0aVesrriN8dYHg3iIcu1DhfA2ry6fr6XhB10fJj4xQwO4KP0P+9IhFFz/pAlaMrdp0Njcx779b08fxVwNJTnRypxrvw68U1gtgm8MKlQx55IfWCWxgkuylvsgN3DTiUySWfJ0/js7UeWJ+7rhuEJFwIblTQGF1tSm4V3AnE0jvYTQ4TavCr0txanDogEievzU5baXgosrBdzxwbsSHmYSvufgHeuGapAWb5jnwzogDYjKy3fjuWvnQtT9LDTDXF8gsbEvCRQxYEJ/1HLsHI7GyR+r7TXjEWWagazmZ69t7nr4eN66sqputOPNfsN71rDs64ivrR39adGINKu/SI04CT71cEUT+r2OVRk4vHN6pGfsm1LZv/gy0Pj1p1DjY1jZYkrwVrRxnHmi+CUSOEySO1/eD63TuiUksE228k9gmq10UzkVJLZRFFcgb/r0N4n84O7ogLu6q1nWUtd9mJVeZWvd/7k0XGN16hTick1vdp8ShJ4i+asD6eFAZX7yqWuby4DqNu9kGpk9fXvQM2eDoDbbtIZ+wqAhZgVhzG5CV7WFwC/VMGfXaLihkhBn0KaSDJoMEx0DULFTbGEhVeZmul4KfM5VtD3OTMBQl/meDHMeHbNe3QgXajyRSAaPThlPPF9bb+PBQB2lSmveV8pCb/xasxjrlTLXYs8r9WMIBJC3YQg99/25nxb5tfluPICERj6nPId20IbDRmQ3QbZhYMaWaxOVjirwkeyBhf84dnUKTP5H5xkA/6lCrIeEa8w8RlLOMM76TlCO1Yhccwhbd7xBIusJwkkcDJS7DtRh+sXYTFiUc/vsuIAzip2oCh+zdbqBfyjOZXvmZiEktEQ1KCfhAVqj2ZzWgCbPrCzit/MV1M5wvkNURr/byL3auKBOtMSgT736dE4UNg+J1kLzg6oE+NYEQcnz8slJ3FWJfDbGp8gExF+wC7H3yojWj1+otY12uQ9UIWUNUYXIh0VJgLG24NAq7vxBsH/WnP2H/NXBDWg5/llJntOQ2C9DcPRmvkD+Y7Kf1EQEvKphL7d5B7lg9v19wdQBhyWbPacWAexkeqDqoMERhJ0I4XfYNuK4iEv0ivhSo8u0UUHWk52fh9eXAac0Ist+csuV6ht4hWhUeTkrJ6szncWNxPPdeuJ3xIEeBCF3KkSoWgA1qAk6qTOpyJgESBqRfOSoDiO5z+9DL1Kg5x7fu41xGsOjTP621fTkOf1DayrA/kPTUQmUcxmerGi94IULVzX9M2megx4uOhR+Knx1Dri+Clxfiyo5XV5pSKRitRFIn+GsxwCvbgz/nF94ukdhgmkXeNPN8SkuBaui3Ccif4gZJ+JXSsJltD/+l3lKM7+lyVbT3/AJHHqujE8fM9CR6QaD2PX8vGVT74q1zW5/V83Nrnr4N9de6C9v1dmksAJdHyKzlDEdUyBKi3FdjioVaooWjB7UdqlNZS9JDkabdYBviQqwzhitGG9SxRUj98n/d8ivWPLktrfNYWVyWu6mHNpEmiSb/NS9Dzlr1KhKzI6uFmo42rUbaciiwD0UVr1VbmgNKIAmURj7GSLN7+E8z07KP0RsImjzt++qz66xYBMkAfw0kh9Snv3+cnMLUMw+2lHa3UIMz1ddi/U88MqZ5T8e9BIchj51P2Cxhv22j4hN3cEfRqHXjvV/cdwIimYNUeFeoYmsGIcPAXcdNBtl1cFjXiOrkNRGEiauMkAFSgwZg2ALPbX/OSR/GrudYg0gEzyX9yGr/IAMPeLi7SF0acnmw9ixA4ptu1a8+Wz8g4WxAohFMDt+9fluqiP3Y1FOu/vSwk6sOn/ZIMIZAg744zV3gmEwwGTN+1ZkFvmDQhnlzyiBuQbx8iJgeOIgKJy/+zdsixY9cj6CKAoiBIWb0wNeHHlrhhPZt6vOT0N0Gpx+oP8yIIapn4G6Ioew78Kgg8VyLmSKnOkNQgQNFOW6sDgACQTd6dvWPCYm8tWByhRQx/uihtTJ6qYnvuCgUKFj3HvLr2wi5+3zWYejQFoD3vEIaprnoe/VFxnJAcFRCq8P3/8hmm3/MAmrsZuAhl4FWT4L2VGWK1c/SFR9r2HBm0SyI2sy0Nmz1TF07UX+L23OQwts5ZklKsTMI/rQk6oGX4jISxY+f47ZWibMlu2FmS9jwkHJgAnbA6zmaOO+iR9cIC3YlHiZv2jWQky+rxEkKqRWpSa0z65VxH9Clhwz9l4RyM4J1KwFG7fteAO1VyLGMaZlACP3ldvnE7oEz3Si9kSRr7NF2NwW65vIErf9OSsilFVQ/o7+cWZ7ofkHq35hsHegjn8efTvsYY3gYoqltB7NVmnofTW3tPBgXW6tdKAFrZHwOhwEEDCbgtsBbM8s610rESwHXU+DtCnEiKp6p2Cldcanyyt20n0u7FZ0lRpwPbjY7MdLzdy0Pw7b2qM2LdAED+z/4HxnsM9sS9oNKemtTmUPojJeZw7HSzz4qBkRyjCLO/9Pnxap9oWUvOzjK4g202iIjAIBiBsWtznp9uq0CA4SdM+9pKslicm6seyEqunAz6F7B4frNDjp58KboCEWL2ELbJ7kFVsp3Y7oQ7zCtBJCLhqLdhtXEa+ixU5+g3qSE9I8lcMvSRwKZR568myWY3wT9Cd9gBVr+DcKvcJsRJ4BgDoNI4Rhy2/gZCSfoHSuzbHMKi/6v3NiaLEC/qOoLd0rC35GjXlGE9XUt4uKARgWfx9mSuY1516U6gnrlVUSYNlb8p7Pl+4R032dcAKszx/fNVPtXdaS97cU6lOoTU2xAsepBfCUod8ICyCwOSRRvKGAaNoKUCUxPJCi2aFpNE9MZposI5BLDALZ1au61LKJqKQhkV9GRFgH0R1EyQSGDFEyYRQZVXYDUgK/UsaeEmHHe2hp6ujaCKpWEALvN9wxzzvhBjBBWEopUj96xXRPbeClTeAJDy0IitlK2KIsTr31ERnCFqJ/EoK5iTaVXn4jj7IiUcyKhKcyeTOs3eJTfqeWW7CgpaYPkhRPFNt2buB2VP2jz2Mh4CR1bdj+Hjc0ZQmxcY1jBFwCkJq6tijoLLEBC++HtdThw7lFpqu3vjqIq4zLBzLY3k6HagtKYh6YVHfJqkFh7UhlX3TeJWZuO6boEyv/v9TGkPXgL8BxCv4azVT0EqXOEdaFluSjob5I6Z1niy6QrD8dFeBDYYKfYQpJL1xmQLXUU+YqD/lU+gmFNAC5/yTZTm1v3GDc5YncWUjnhM0QRTM/ZBT5xG8mqfuenq44ybCJoTq/mFpZt9bICtxXsLF0sFM2EkpIxwzitZervCu5a8/pOzf0xh7ijjMH0tIhyy7fXGiafPYMrOtwdlhs6h2/xKvMo3DWPURfuAe8Z7EN/NZp1RCAdxa7Dykeza9m69djyzHd4RFDnJbxzc2dMcdgFXEBDiCXEvD45EBQxUU6KIw2GYhRS5+ElD761bm+DePGSfCQq31GqQ3m5+NJ3TnJd1DKSXnAV3pB8sDva/9pc2sslk8ETPTh3h3Jhzq7FzTHzjlKRZU7pDDzAlInXEyj4C2EhA+SB2XU35hTGhPgr1XgINn0NThI0bbe0Iyx0SGyX0Fs6rqP8ER/eiYjcTFl5w1VqJXvbjLF4AbOEYt01wTi46h1R3IDweZYFoZZ8j7j24o3rpBSn8jy1Ta3t/4IhA5EK3/nFyuPZP50OFgJX0yA017TNI95Twhu+tevOo0W9NG3m2whjfR0YQbRt6Ia/Nd8VmGOYsDzNUeHoxuakoA3cZuxEU7cgHe4mHoM6OTPiK6j14DuhkDu5Ls/hABf8+lsIpbB3aCIq1gdt7rNnRF9fp8W5uEkU5/l49fhJT5OiSsEohgNMi4RSkXbgnz0Q06HBJgVJKWw/Z8o9PDYE+zXY5AXncl0D6Qh9rzAego8gK6QuRiOQlEv2fHkNRhD4NLuOHXyTzEMLF+sSxITXuwWMchh/wmvvq6/7c+Avo8FAbBYxz3W7KW2yniQNK2kD/PG/+J9pjONlG1g8v/Cq53dT4xvfKul7uuajIBxvmFV+1ne1D5iROJ72HZIPlXDiRDa4+DHowoNe6OMSPAGP9fl3ki/aOYT7oDfdIolQGR5wVX/KU5jacUPgtYe413yC2lHwt7ByphBMnePdwEwCRg5k21U/RWe+CJ+hno9MXLuQoSVSUwgfx9oTXNwCRbAitTq3Qm2YxuFqtIub0UTtdWuAIJRZGrj2pTWItyAjssHsmJ8nalmxY6C7kC6w+IDFEAQdGczHsKorf+mOlutGVwj0hPJxU6fxOrWYspU+CbcyOO4ynxeAbYZKkFCZcjEFGGBbfqPSOMAqiJhlw2Ow1XyuU77NM4X7vtSvNBHbIIDAIQEYzRc/iaIDfzEYPTLwDbj2pHXaROtusH9RCe+gREhXUmGpI5AepVEhyUcch+ipuGps3QKvvRi0xQJj6JcXNLi46WKIM5wiPAEfIxrPbGJAreI+KgVH6rD77fpxKNePmrJ3z8FpnqrNclWNu9cIN8lmUM/r+GS7WpJRlsMtqLjcjKC+ZjgELlT4+W+D+etN0P9AgqW5tNXTYW51tUPsFWDI/TR5cBhiqR6EFkTFLldVkM9A7mqV87DhQj5+EKzOPQmB3MP9wCJlkgLr9fPCF2GpD0xe1Aj/enM8vKcQERks5Y5Ub+rTh4+zWnyMuQUfA9iQ4t1Lat/jICdAlzl+paoATFUGuTusJoPMu+ivTP341hecKnMmGFjuXLtp56imRNQoKgqWF9U162v9frm8FQDPTxUVKYRTQapvrDdiV+J3Ac9xHTdQwYbYWOQENZsD4idGGGrvBRzrWFxSHoNQApqFsGYW7pJnjSfEYGArW9pmETU2B6H8zXndXTJp+7bWoUIVbV74wq+lmPK79XnDLYQQBtf7Ii4C3ysKXxT45iXpTcJTgJAurT3i2OIdf8DTa9yDqkSWsHXMbOYnSF4t500X5Ccf5W82/HksZL7WJAVYI/4l79IuOaidb2tmLwzJp79tjpumKYS8NGl075gq70B8LUdpce4pDZyeH6d4bllaZk6y8qb6pkZHO1WfaWGtMN2QaYeI8921d0ZimSnsn+OxJXpO1d3dc2RUAH0nKMo/dwbo7RSrwA1LbcYfNr5oiKFU1xIuGP7ryjK1wcKSKamNLjw+VFPZzrxOQXxcDzBcBUgqiu66KfBtAEmJ1FzBVAw5IKUonrDsKLRn7em2eR8NkBTWMcuYkfeFVvwv7CwhgTd2lLFy6OgX1gVwHt+NJ9TXqks+EnaV0/eIfiBqbnzsL/MbguR6QIgMkPZOTLszoHG5t6Qn91q1Lu17m5anTiba1kA+oht5mHO/1V/0KXo0tJjfUTE0nAza1gZRH7Eb6aIjLM+jvFHSNyfDhLF20HW4DN4r1O0UEz0fWjMvqjPk6qTO+xcVTUwJv31rFrA8FriHX2sMBZgUhHnKwAzw6rrURYIZlUf1rJI36NUYFJk5GOvX7USPVVO4Ab+yAA0tNvQIDrmgcPm5YEdgHUw6XXc4I07QK/drjFA+hBxQjj723gE+lngclmupFDHVtMOWcofFnEjdlbBg3Fl77eZbRx652kLT81+k3fVzRxG8ivMv0lX4gnHQYDEJADBx70W41Xcifx4WxNG0kc9vKV01Et/2qdEELR0RK4+XMMEXaU1Y7PiozDatiqSB3aRAHt+OXTRboe67/Jlv4CiQT5N3J+i/sJ5Qs5DJQ1I8W6g0YVYAoybBtOBTL/lwCBYzwDLPN1mj9asL1xO2ZOaSuqVaIjbk+Fn5tqXZ4/XwNz1FX/On98gIgVrqYSzYBKCwQ3P600NVgFR+R1EJGFNc06Zq06s5KQsH5O1gQ3NgLbtGGOdUoxiNvjgTmAcfmbtX90ZJSBZHPzC40uCW8uF7+w6RdqsccEV57F1UWFVwfkND3bDgtzq8/+0kEuw00KtbuM+hYjxFDXcV6Jpptxo8lpf29UOhR41I17dIAN30vS6uFAbSxYbqnXPWVEBFtK/UCOlPUN3eMvdEEcAEDGMSh6eU7WnfOEqXupujBf4h4j5hXsYB5MjfQp+eu+5I5dbn1/W6PLFW8QlzkzevmN3sT8awVORFVnl+D2We72YGCbYsB+S4yDB2HIMulCC0WfMECbREDUdIYOtMoIyOz4CDKxcbUbTVJurXzLvHgd8tk8aPW+1iY/vKdg/d/CTa3IIiIwGO0+Ho9U5m8qWRVV7awPVSnkEMu1xsMlxJjYt6goQEYuYFsMy+wyWfG5ZpE/LTofAUXlEXJatKDaz6RykhhCBzt2osWjF1G0GF6ZijbxC5CYtYwMZMr3yj/nicC2+nQ8svguDYoXx3DQ0AjLNOT5angrNogIX+QwAjN41ZUxRyJGpZFmM2C31prvIEHc7URd2QSm0BK0K78K0P8Xim/m15yHxXinmyTYho9e52ml74YpSw77meBYxGkIfrTpFyj45nh1mgNIpYD66R6PVYosNyFqCgfgrpl9DWdkWQbh0U9dXyfJjcBmRx91k4SsPlM4UFhRl+mC0NytNEfyDxGDDtFDTxpqxdpDVSl3Y6opIvqCNdo44kj0UqxxhemnC+qhrspzHCBxFGwYqAnD9wWEbI0EQA8qORRXiqG5PpVc9Kt4MYRifZCf+SieaGpp07MNbNv1S5y+TFkDu8oYepT1zzohRZvxWD7o/8919aZrPXtosKLGVC1JjGK5NHU37Rs/xDAUDYW6YR0nbKBTH5FL9DLuUsiMokBZzye+SLla2qhfxNTpEQXKvymWoL79aRB7sjRfismx1pPg15FVRz4TObMFDmcqWNOmqkPXUi/IlAZ/k6Lb4LLbQoKQweNDjXAT4BTg6euUiAI8mzYsOH/1BRMNXqoJcA3u0FPHjLBMHVCpcKdbFjHNTofHS8Qf0dxwfg/d4yys/QfomuRiLMA9DhSLJgayaJWxn3khxg6n6zYqa3OmSU4iT1Qatb6UBpdH8b7D/ZA0oAQgAv4PgI59bET0D43y3QKcO/l/ttkelx2+BrCikdwn+tJGDiETuuPufSkvUh6YWBUnXuNy++fzoRO5qHhnf4jZRjHG7xiZpGRdghOoM8v+/JUUzMfuQcJk5CwHACVboy+6U0P5mR1ArYwRaI2TCOBB783/YZd705CPXnUoWgMMy+d+owsQWsTbLt/NrL8EYRPotrUovGMGUsX2RO+L/VpynD/J1Jcp5jA1DBqjDs0h4OyMl22IR7ORmd8LXEimHs+4BunpQODfqrlSjqvwUhbpqq85SvwQUSCl9a8MUmjPqIbhyhqD/qDFzGEGRugRJNkAhdj7lbPmkL9JplZyhtboYFM/N2J2B7XnMOqNFxoQKMuscKFAOkgReX0gB5HtDgyDnDjozGe8I7s3qOn7q5swBN5P/NVf9C6ueQsxs5uU4HFgsnAswnCZlq+Pl4ehpVQISJ5+zAEDJBmx37vnDD/8u6BzqUEpKgH52jq2Pf+80fKCCpGAI3y9nl98p19bI+Iw3e1GqFa8KkltC7ewDA+NvR3cMb64rf5rY/ghrUsI+/goYZjsfxaVIXpZxfSDeYr/fGHhVxM7UwINtAJJbfmSpcDoZS47XV48drQkc6a5G6w3VbxUzirYydxFphVue9gLJ2wwN6iHK/ClvwdYqTOBLOl9UilCnewxOZsrHVd1GZrxg8l6QMVMZLJvCirTlB0gl2ov4hGgqRMFObcRv8ab9gh7UP+AoIQDnAFKJskHq1j/FR3lQi63dKnSZ7XAHG9HVl6+IJvhQqDtHQBeJYmW82nBvLkaVDmsoVhJqF7ecHrMqRLii+LNX3rQvGFoYyZsmdLsxL+zuL6jr8fFy/V/wMxc6EZK7XNuT4Csrx6hv/yYvD9ykucMDDFeHAmro3LCg1gmlVsrueT99ywhV+WA4eVxgB07nQscUMepzh67SwyEf+qVaKmeI+Q+PdRIkFDrhooMOCbzIZv2x1fMa699VvA6j2MuFi4KqqZIF3AbkVoidGTrFt9f4Y5HskRCBlebJV98nSxGRswpXzCHx7NERG5ikpK4EZIEw51rBaXXg82dKBx3MXo5WGwRMNK9X5q6FfBGBwZQL3PEnMcDT5yePAe962Tmaxh2x3L7q8YnZ2okgKqTaRZ4H+RN91WV8Z3QfvfwB4/EQS+xH8tutfrqTwcTVNqUffoZJh8MNP4tKbjH/vMKbjwdGBHAaYMmFTAMYr5jHX74TT3MM3LVECVavIgxECptvTyfIYP0M/iZABcuEvFSwSpPBu0c7ZfGolVW09iDqZYGl5aWrLkg6CdO2qIYcIiKhxTkjvP2kSiepVqi8qWH1f3djXXUMLsGOC8f/vzSmMiv0EhWS3jjxmg7r/E8Mw7Bmp65a4vrDou7FzmTmDqRInkGJX/XfOpCGUJoWPDqafNj1k+6NeCY7MyrwKlKmp+YO5pKe3BpArUsNg3tjIgEE6n/ZUPmQSD9epUe3mP1rxr0E0NV84Kn9F6NimCK79LrZpaKlq4+w96OvtPpAGD+d1lRg0E27Wy4/JNkLbTTnNnFY1pbRxlA9aEaevrLgtZ74Km1q4bZ0wBwzpfCnjPoIyaYDzoDfL6Sh/oicntt0MGKKOIMICsCyIyoM6V+ttm7+SlzQm/QHGLZygAVbI+IMRPmT4Qhwvlj1Axj3rlx3XbB8620G/tZjm/RDKGJkEc1er+5XJIqEA/cS2By+Sq6EesaePuhUJKzDVTJfxCg4Qp+QKOvRlMQiSMM96Yk/idj8naoWevMAmFRbyrVPD/BDfmRr8smv3fE+/FNw6EYeEydZ1MDni4G3vOeoi8CPjhY4AEMdR1m3660btvprEK8QLT6neWzFyYftM7wbYelqRDsbBkkQpsSLRQ6SvBdubJ1X/NtqD+2I6DJPktF+VelpdU03+m7FgmyafBH82uv+vB+EmR88hm0McHCaVZ2MBotbAZIIltU9ofSERDemj1grMgL22ZNMqjyIoDD5oJ1T/21WNVgJ3Plq15JChhNCc5kP/kaBsPvoA1+qpA7F5WqDA4XFe/zCabRj777GPrfMdzbb5vzEbyWCQbs5zw4qkoZ/B8U7xkS2lZm6i4QoUN0IZg1g3h18UwsUXP2n4OK8EPggjvw2kj3RNgdFqZZ+UEjfe1QzglfGjQhmv1eEaXvZrwNagwrQd55GMPnGRKbbch6y8SplnqjD0IcaEt8TLVoHjpCWPdT5qtiZofkPqX/WQ+wsQm0FZUew8BG95I+JkoDxAMhbP8OzLk0FzKCvPdvIid7bXWaBosBVlJlz0Mluxp3eGlvf7GNTJ6fG0BkjoxVPBfKz1dTpx+roGIVUW7QjZdf0cWhc5aIOIC7MzCdIOdQC6rdchnC23hhdwHHL7pKdytboRmiHo4uBGlwmqWK9QHzwzr/v+TevQcVH2VzDVb3sXrrsNJFALysUE4jUWPPEMjQ3ssRNmmKd7Y1wtxGqvSNwSZ6b7A+0GNrKq2n02mTMxQdKjOywYJEPXjGAaDeET9fOcgSFQLBuWqkX6YY/mNLruXIPib0FfDSMCjxXxh+BPDXSjCOvhN2prClFfp7PKtvlinL1Y++pC5xaVJx4vt8gRop74sAYb5oZL8X6PURFrw+hQoXtNJkMqZeqFMeH0JyHudyGyavzIyow9+kJzmMN7yIpcOPRcNLpTOCukpfQ+d97Hi+3TAMRYiDptjSZjeSkQSArH0K5o8m50P9dh/GVkfhbmh8U9oJwd5PLSuNkr2JLllRNh7hdlg5fMa8JnHbuS1EIDyZuqF+It8SAmaKEbxasi5tDVUfC9t5QxWou2W6CrxrcZnQ3lxYJqLuFFmgM/uufpCN+53R00JOikFK4g+XJsgVJ3+r9n+fTJlZ18a/NBfSBnRxnR5Cqs1e31Qn7O8NdOB4boOfqqPs1t/Q70yeTbjo7KPncFU8QJ0K7ahYlRS4VTdCH9cELtjI50RSiyozyc52SejnKrhpx8DPmmpY0wizsdmCsOMXykM8B/MCPDqKJAAJqDUX2MtuDZZo/g/4RmTPvFtk1DQm1ct4SBN84/v1pGeec+4EzSvm+NFxDiP5TAmIdd4J7hfbD5y+nYK3VCFWzTSBmggmo6KUsPPUauWMvOkafCR9bz7c/Xr6NU4DaRcQYLAGMey3HwSeBf4j/AetmHLp1mAiOM61urPfzEqDqbkfUR5iLR+UFTNKGV3OU5SYYeL2MIfN3xKKqGgW5DK2XjBr3uDcE+HjuiKC/eme68NJsUKGmdELr2YkO2a7zKJiZk7yI0/RZ465dI4uWFCsw99NaR6PMbGoNB16ylLLGljEHNMQMtpkuOrVcszPh77CuEis/jnW9vM8SmjMliaXqtkkkf2RQqoBEtVH05zJP9FFwmtmpgh/Qdwl32ZnP/+GqBDK0PZxFDbhBhkg1E5CgFolAPyA6JyEwI4jyxx0yiBxhfWu6HoLj9FLRTNbKtR+XHagqWEpcSjC0YfaQqkRA0SbrAqr+/aQ2MZCPuCjodId2EdpbL+WKJ5T7rOamUDlIg7xbwgQUZvlXJbgRcVPw2Xn5PJlThEUOf2obc/9lMzvoAjbOcvCcpWEfQAHFJpocdECk2VunIlAV6ovk9FF3llw3EPvU0nkLWTF0uNs0eaZysmaIK0m7P0OT1tuhklxTLrfLwjdlbOEBxZO9+dqOyNhaiSjWtwWkBPsRhKlEqVM207uCkQmEVH1AHJ/Q5VzcZkSP3U1Kpb+CifLgWKxNaCjEyAJw/B+V8mQ+RbYEtObiVsBtzjXDJCsvpJvsRvf115AQYuQ2D7cPnYn4ptu9fERdF+iwvyvHT/XdWYVrBTF2ah6TP0CreOWCkGUA/Wq+aZ+pY/3+B7tTEGK4lP8eFeCu2/b57xqTEeA14tdo+SRhV0tM6MOsIY5zaZ9vptq2E3WwZ7KeZoHOzJIDZObAti9wB02QMjUj8Gg8mt6OK9WuZZG4qVDhz7syRh/5QPs1wxkI0/y+GZpTb12Tl51/ibfv3xqgx73A+o5OqegWRkXSkubk4Xc1pY6jzxNVxI0wk4W0qRC3sSh6VvflZkBDurUnHvI8245FCXfBmPDNpF+v5QOR3MqG9X/r2jeC0vsJv9ilZ3FEdqcxnZIXMbqtqTMyj873D02DaRhih00eFHeklDwFxaw0aas9p9iq7Du8KmDOCU7I+b2kOgqfZDyOf96499K/gUm/ejC3dMT5ewmm7a0jhuYnyvTqLtrhEkrbQmIOr6oNwfGFfmIXXck3pL8e29GKHwgN0QibN432f97Pxih8I6pTPUppHCVsFWd3cquxqeVPDSL3mtPHyAgbZej72O4a3ihdgc36ugMrcMmWg1V1rvyyJ23rhgyvNHvmnKJUcKZZenGH1inl7w+O5QL0EYoQ3rXQjgYN5oX7DDxwXOAEfi6vOTKfkBCJ7AQKeUCF85EIAO9pxrYh13GsiWypXd0EWUJz94bXDMU87ycOsYtyTWnj1sNSHoMiOxIXBWckjNjOHiFtelUDc9UNWJbF3O9t6PpgbCFNPhB08VthLpqsLiUPfOKNF4uBxnykf52LgG8kCDNWQR3+Dm/hz18PChNDAP4tL4t5YkLDRO+3VOWHBk4i86/VXwcm+9gFPo3V9GSiKkA+buCT0iQTYZn3kEzO6YBrN/UwZfMzmUhvXAY8a34ptrWbucRSUshtL4hkUWeLu13ruu1qgFoasRg4UxbpWIBylVTBuETCwIrYHDIUaw/eHlozM74b1CxgugcodMKQsKufZnrAN+52CfRSUqWwwZ5CTtTYjX0knyuAMAGUJN2cThXGvRPKjSZv1BFTwYljW7HeZ6U2Rmq/ogGeOgsWRjVB14gvSHlhsnFrmnxkDjLBPwVBMl0Hcgoj3hq3vf+vdfqXVZZlHMPGV+UbtC81+Vk/AyjbF7/xm3qmlidRPqqXOCUBaZCM9iNdUwVCTFE53uVkAEzJOOvrbsc8HMBNTaFN4YuqOO38bRQAEzuBHbWkvDpqRH7bwSdKCC3nZK7xc4HvyiWr9Kyds+OdgXpIDqf+2hyCmPFj9/JD/aulO4/+OcrhFjpVKeyy+rrQjzUNMTPm6WcOTFQV3SZ3u+QK4Ay43kY8FOTqBtJdXyYgdSgncRGGSEcoUFXjV1mis53tRUOpDur7vOmpIV/KkkbHd853EHXL+Tv2gKhbdSwNbXLRtVOAA4vnC7wEEktCoZAlSYYQVZiEBh05O5jz3EP5pd3oyxR1vXJSiAdp2ZYTG2T713xqLVcsurDsGNE7LNQmgEpchTOfoDOglkW0LFE7RdJtt27vQ/7iPFuDqlgx+fSjRxh2/Nxo16pdHsCLBAzalbWFjkxMCRyX7s8pkCW2z50BjRhgfRYcJ1oVnDev+JFegmS8ubGCFDOTJeJB5PvumjCEqps1DIUWctuiRJFLD4CVwhYTsBkKS5F2xitCrxuPjCk6Ypr3Ef9ZrY6uqt8waW5rPZMZ92IjFsUzbKnB2p9BS1iIT8wB1CDK1g/mumS/oAoyPT3vwfZi7FvhK1eudbxn7DoAriC30TOiIr6ppeW6X5t0+gdey6hUIsXEra5/lVPhyU4OGio/KKPtoaXth/7sSkGVvM1vAJ9kYthfPyDsZznyZH6FDAntbG8vEEq4h1Axj2ZGOc6Zz6G8U48FHzF4nYJz1i/6W0McsZpgjWA/wkiQGZoV96QSDyAP3scAB/5vYOwEjZUDT4daj1TCJkky1S32INlHF4SKs6UAi00RrY/bCZpPStZ4QrLjfMwf8ccIEER5RelnsMR0VFME6CmuacGTAwLHBtzkQmC2YMlUeIcySEW+ZWlDDj++tQIA0r6S+l47o6aZxJOmHLVEqcLMpACGf63tWYhAiA8zFo9nYs1W6jflICSjMeeK67ogRR4ZikzxQEvu8vdIa6PMTRVStZjFy/c1ecCQLdC/KOz5ZHw1CFiPcvD6rZ5aLX/wRvf1u+E3EsydAtwBRWapaxSHLH/dpiF+Ph3opGC4MdqjUkzibY/aAasCfoqEX7DzKPgWeRkkgSdhb6iy7TnOlTLU7NrqRmc7SqW6gHQ8FmMuVF3sZO5XfBf5gveOY7lU24TNUAkUJLmkFTw53cl7bHCyEbBJzSspSGqVGxN+AUw1oQuRCw1xJikk/PESuz5IujGJpiyk7QB0mISYZEaZ/ftlg+IMag2+0G/LdBuBQhv4bHMQs/yavXs6t0Bo+LMJoWwNPEjNxeuAKm172GV6o9CEJwfZaPkTO7r9xfQgR9/Of7RJSwh89L4BKLBSA+4buh8iF2BDk7LLRidb0kezkTpDr4+IyUmrdjAQWiIxpikoU1M1sdynfl+rsWi92aNNfila5GTitmTIuWm6Du97lD/RBSXLyvL8rWBdd7dXj5D4dJzMcPfcSfC5UXWoX6Ke1+2zOLt00XMTa+kFHd2pvkEOc3z8noKMbuGfUJ7YOpWMbXWBXWKotqdCsh6AQzvKHIr+EevJRwttOX0fnpP6bHnBpmhxhieM93hxdx3HehX+S2Sb0mjF4GClwNz3W0jcc7bpTBm6V7LFznBCLW5ldbVbkFRT3oOvOSTW/LUIgNqs4r+eYhbOTJPj/+qXyJ+dGZTHYW8uq5Leq9CkB8CuSD1KY2+VzUH6nXUnivkSU/otA2RwmEuwJZ6ahpfUfJiBmpPaJLvOwdGOHLKMQvyHeSp8pT5ppp4XBVx+ZOOEbIaWhdZPwd9T48GfWlPCQu2CPuGywllUZ4jwlBha9pvcAwG68DLrVM3aeGFTJ9Npy3KraJ0JcSuogoB4e1xZcp92IH1o2xxrRJae202rtcx6IgNnHXjK/tG3oeXLed3jQs1JK0hLsBl+v6mNV8vKuxFQannfT0o41D9Uiq01ozr4fwkjahcA49aQV4GiRwf3XRVa+ZlgQ5M/of1BF0dGbXfQO/Yrj5wLTtbH5TbEBTsyDBO1vwGB+RBpEX9RmQuh8IDc/KddM/6cctdD00CAl+oUsuB+APQsSyMxIxKUZ/QyhxOeXwF/ZvAqsZyskdlfbYZ0nNQ74RkOBVMJPaZDKXgywJMRXCziP9UCLkjU76SQXp6L7nt4V++wWIMdn6qr4u0f3S+g1BvgGct86OnczkZ9p3Mcj5BXgqnriyRVywfx+ftdszVD2og9IQZbyPsBOxsHCQvH+RSRLoBSsbZpBO+feTVZVGC+WO3Ll7wPyo+sKbcBvtfEtf94XE+xWvWj5m7f/qcMNI7RIailk3GiESx9YIciHszaLVolGZaj353TBlqMx0VvIu1w0R3G8mMPRlHziOGGOkGlouFeWfBgRhk/OFeI8I96u8o7rHpCfP5/LrbY7VvBw9ta+3TfWipmzxZbNqyC5DYP654Sh1g/+HaCcx3KqSXhgdGx2h+JE8i32sG5SubBL+2ob92yJqbDDFVUoyjf8FZayWY9/cj6zFJEMWoTS+cz5q1PvPj3gS7ITpUIxQmMFHPVPSXjSOFoWOGp0a2F7lOupS8AILHxXpyl0obAJqRsxqbUyMIAWnR1XfrVIgTWtzLbUWbWyWtgiQNGAVf7tEwl0uO2aXBmF2bks0qVqHBdcRlOaPL1L2wFsiADePtCN6zfm4AyQcLKyzoWzU0oonDkHiQDeAIz3d/oI+uyLW9+6Sj0mKJ8RJGXL57qeCnAAdb6OA03nJqXo5fXuqqeSaZKvnhBUtcKDN5I5fLk+kvUGdrUqoLx8JdkNHooZJsgyArOajs1pj3VqdgcjYDtYrAxXOL/X5ToDPhBRogoLFCKLBgrRnywjpQgQGPkN6Zspc8n08jROP/2MoeFROEnSMtXuLsGBKUDDxSD523/gDP01KVoxMmch4fKpF6zGheHJ4rHqxcuaz9HglWkqVwcqSL/vra/hr2JQnzCprK2FNM4nA7jMYv8Ikp3g6qPjOrHONmx3U6VRQAIY2H0z51oiSd7rBQPXZNWC3Su2W8mN0Zp6aSqFQ2px9a2GjavYbQnIJ7RsQT8lc4vpJ+f05qlM3H0tJCE6cPCFNg/0fWjJ5+/FATOw30PDmYj8EE3DVe+BO2oooTC5mSwa/9eN76t01cmhjk25vNL6wHGV0kdYYy+vhrxQGRq9Vyegj0WIK6PtTBsHyet6wDcxGv17NOpid1hGB080cVF4rAG0LuGRM2uaxNpc59lilYyWX8witeYW9PP8s="/>
  <p:tag name="MEKKOXMLTAG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sazhwdFdSLDdbXIo7nzJwjvEhDVkM8leqdxV6LwqHg+JPJWpVIy96POplfuU/5GdryopAdlbOtPjy8eg2xKAU7oEtHN0jtLpjRgp/CqkV6XAgL/1YbbAvxbHya5MH3wxM80UXSWb/9kS43PdQ8nyj2UW1ZjQjo16h17FxbBRRH4o26rZ36jTgcDnxps2J9zJbHH3QahYk5IiBnQrk0FhKRmVMnH/uXDM+J7W9RnKZA0MWcIH6TwKb9wNtp4/79Pdjiz5HmClKJw9RzZpH1VtJwZQO1n7/Qb85UoPT/TcxNU3PoSoAYiS9Otu8wbAGKE49mbCsqlJbMyjhotIquu3Ti/sJ5yJT6VWEqBRZN08U2dmCF4C6BmVdbyUTLsKcBMgHBqb7NXlggoVI9/UpSE49G5Tu3++XXXQS7CafH7Nmek0YyvSH7UltimTwvq7aNJqovmzK2ze/9zvKopfZ6DpbEKUjUFLqkBaGf//a+vAA1qW+fQRnRJOyPfSU0ubgndeII0cMREFN8CYhcpb0ttJFYv+d1+UYoy9Ekhb5hpqD0iVLZSSNqIr9cKKVI+qHgb05n0GwlWuLGvMoW7lAiZ0EdQ5SvfwxOTqd0MFxb1ZDW+uYyA7QQ+AbfU0opcKQ4xIQhQkkPu0cGXzb5ob+YwLIPpprUezlk1nyDEZNx0GETQ5NPCnaYP9ZQ3W1IKssAX8R43YsoRdc7f0SjMYbpcVz61ja0pLeJUfvpHb1C3PSlZJpDyiR9MPOjG97UFA0IJUKRF+4/lnNrbeNLKpsGPtIr/Br1lTwyjpRT7Z+VFMMSPvxlRJxT+O/IvGmsdDf6gvOsJw/abNdfrXhWWuCvbW5q9N77kus6Jifz5+MWJ3IOWcE90xctr5J7/T/QEn5oveLSXmLH0pGcVOzZe3+80aruNEFKzwxPdZZiiVTQ4GIPvpf9eyTWcJs8LOPzsIGvPA959WTJZj28Kowasqcr/RCEUYyowkgpwB0NSzDzvrr6tpu0BgvzN2vb2e4aKYdd5apLHxPRdQvCDUa0TE50GBr1slXjJGW4GRn3WqEtuS3YiZ5KJLlsGhJWAnL1sIB4X88PyELlJtQLBH24cRa57NBMEeLk+NEihLtxJnPZgy9H5q7qHgF93Cx1RyJTsRin2iukiGjKKacnDdYZOsMEl8jJXDtLFbdLl+tGZ4xsV3zdzoH+Irh7e1o1B2uMAm2YXlQY2FFKI1rxrDfQ9N1xfJ6hU1ak8bBTdfS0D7ZJhXM1xqAMYta2Sr1X+xp8uOAa95Sld9YnBuHxsU7jpbAEW9eVRNsO9lP0165QOrnYTXotM+H8ZwlAf/KOeqMavOrM7xKu6h4wU+pFVn2jxJmN7fgQ2RA8j8WA6QzVxX7F2GuBnnpENrDKMuc46vWfJa5VmoYM+tXQ9GNoGaF3hMCwkhK+qQ3JwT4ouUt5YCN+mmCl4tMa2NCNiwGEiXeZPrTEtf1rytFEXkdGjYFngc50I2tkemcTmMc9AEhAg9HrnP/AhhDjVhfMbaelu49t0bfWtBHRNwzZqWH/RP90egYiltRI9wwR8Hc7OyNonym792jPkCdgq+TpTW6G5+H8y/kIQcAdYtQcRDW8t8iuGj+ZG9lOJEKG+2f5kAjAhxsdqga6XRTbnmWpWYqmqErLsOJ2smoGTYqj1CzJSligLaO8a9l4XhQrzYjj6sx1iLySntMRZxkU+aCmLi8LPsYzsY4b5aHD6TIzL8GIdp9UvXppMWnhTRTX1eqed5nbjca/a34fnkCjMUb6uHa9evXKDGXH8we41QMqh0I1pCrTyRSvsRuekGF1fPqyp9E9335yUyxXcq56bViJDAlV7RU/uExQ/5QZh+dZ2ZF5MmjaQjCxNhw8NN6gk2lASHPjwB9UYOGaLhugxHytLXMNz13xWzH7RhgPoiGHolWMK53eu95DjR1D5t71l5ezkkii1fbclIe/xZcMeG0STXgNULuqNqIxBGfxbWU75qiX/rvQ8lBUsgLnAvYk7NezfekbQlAYrhWnols2o6j1OZoP/zw+Blt5TyXxszQlbkp3NjJmJj8WKcyT1HziTH9PP22rfFS/e9BbwZiltBtpr00s3A57AL85WOR37qo4Oohm2DCZpFFuY7dM/1FVVRGr1EX3BB9+DVgYEDq6BmxMpoHV/F8I7uU+7Lsr6R+HPq9vTsHs+hGC0obJSA/d0Onsh8VagqyoKc9SeBwRqHntg/lbHgNPRxgrjb6JpErezvbXplJBycuPQn/7ztieSCM233Rx/V0nsv2V/MHoJnRJOdSrlySBJsTtSUGB48eDIQPpyYsko1QO5JbY45QdqGcfkv+Cu0iTN1wASdBEc9MSmAGLeCBfOlSBjKAJbmcvcLMg6kwBwjFp+dciP/LNTbFdXKAk2QG0BFd/HS8GBtW23p1XQQf64B2y/NwzrV10COMu9RuG0HTvFt89GpP23aWVH6djiMWfWmAluCOhh0URZhrjlep9DI2Jda84Y9KpesyW9Ec46dxIO2hv/NlbZ5tNvHz6HAytffxBet/JQ8K1o14j9M7sAiHKwgbIFiiFheOxgdK3aoo4WAe2EIh0NsrDQrGK45pD1QKI4joqilu2thksi/7FL1dtkiFsHqfM/KcHnji71UQlo6km7ekwlNgCyQ6qvjkEL1HIkbHOtN2vUemanxO8wuX9FJckXvNeO/bJgbx5dDw4Ldv/0dF3fTBmdjLC/4H2D7L5msr9xQNa2lFCZlucmu7CqKwJUcDMJbRo1owqaRAqmGOfHP3NIUNFV92DLm0WdT82HVM48QPfS7VhNcIOf3wDdgFLQbibySf+hSykG9YNxiXP2KXwn3eKWjiFoHNVSBsW7i4jAX71mg/m9kv6AY8gmJiPQ9Npu/2DpzCqHPXNu9nGgFaOjONY6mLF0gXRn1jL+AnaMhjd31ceWJp0T1N9Q+WOoZF/0pEabQJzvZx/pUMxD5h7QQ8vcb2QdO5xsoUm8CMJ3QBDVyucibxd3DvRIYIPZr1znWjyfRLaZHjFWeaGMPOSEWpJCFvw7oicRfM/H0G31P/S+YIvn3MrgWOLKwZ+GgajSJmvfYX8lJuILcbvukdadwgcqCViZLvf+lu39QyX2Wq/5SRrTY+RVayHBkWnUNC/T1R8Un8FwbDi2Ttqszwmu0DoR7UOcEpixNYyPCIX/JpwkXfrC0i4bcpumD5FPXmfMXNdvvpEPBtW1fYUVivQURXIOTwHaaFNGNGiWsR80JbELQT/AOrNNSOMSxCSmGY0u21Hij9RuAvXc2Fw0sB0dnbkAnJPic9CIulY+BXE3spBcd7hCwMqEoERyfqrQQmLeJd1kYiAIeMefRAsPyRLLxkBDTsWur6XjYVyxYlfDuSuPnPIw2COu4qnR8CYgm5sPrw+CYfTQW8vLqbwQ4apyZnqmOrs116mcSWXjCFaPa3D3k0K6t01slAlytOSvJpiet4SDwcedh8P2fY4THbls/1ArRU27r4za9RCZ4rsQ7lNkgwzmlRlz7rPzY8L2ErxdpQGMh956SBK1tNfD0TIg9IHi0Wf72ruuitbnVa6aC1zGrLlbYGlpIKP42h0z/PwPtFA4eVDJeSvdR8pKJ4geiEOSqVk0/XIyrINJT0D4RKNMQEHW9Tveoec2utzpKKEuQYHKTjwMOyO+Pl260ZHsh7rOr2yAjb4y+sou5AQxT5LiKbtHX+W5CyVUTn6fcqFKdHBJ53VY/rnlJ/osH9unTUfcL7QYU95tUJZ/osCO9ITkfxVt/6z+xWhm6jVFCjtxDxZepEK1Z293X4jeLEFdB31yn/BFMwZFlfyq870dxAcA7Duj/2YGZQ7nIOFAFtPFjgo3Vk8nh5vQEigU1sqfpfPnKKnJp9J1AovD0XNr53jgiRXFjoJzW+md7Dr3dDZJdVwkyFTOmUb0lRs47DzqEmUO/LkQWX0s/NEsGw3jElmEZm2q0YWuMSQ0mQct/RgyBWRIGDIHwCdv09ThW/9CBDtE3s311tDiCRLaI9HuWtTEAncJ2rH9xwYIHAFGZkOojpiTHA9IMDkjuatIIDiHsICb1TIV2YKGBXy1uIRpu+sJgI/MIbdXKgwJzJlR7taVRskKeetNaf1ZhFowvxW4h34werB8QSb9qHWZOFdrnxx0XultlJDAE3fKqLhPHLYC5lQbIDw53H7aABFYIz3h0K5gDLTmGzXR+5C1VT9PHDDBsUqnXl9ei6HWqNEIFL/xeS0I1RkfBg/4SJphNKexT6JpWRZbVwTRqDFGhd2i0LXBaPSlRijJsfaQyrLy15Pvw4nRwdy6dHBlAcH6oDh3V6SEIFQ/uu3RcCxb2kWnKtx/sHQEfcG2fRZ/rHBqTZIpp2xe6+7/jXqfLnDFEoE9qxYhsIwxzlKPa5DuhijL9sze08gmQDyRDo2DhGLli3P8OQHPMil464aakboq4LkQsu3JXK4Z361Q7jD4hpzI078Z0jcl6NgTZUud3kOFNPIWwT78crKoiTmtnJBorm7tcEnu0LqSGHDicI5LnZ0RYKgvrX02nIz1t0/5/tu/BF9T23Jx13QI9GgmA7jY+ie5sqFiqb6WI8VrxPjcxDnnX7Lw7aPGSplTh8NLU0/iXoqc83VWT+CLtGcV4CWjmyMLrWEPLixx+06ZErEmI3t/siy2RbBADnTF9NdCHhZPuoSkLpopUqOb1s0cF7KrVP44b18lEBJKQ8+gwTQwy8cfLTf5i5eWq1HI7A/HIK/hAigcBdjj1azluxhYMfATpZC21sJ4Ub4UIqZDxLnqU94g5ki5JZEI2NkineVzIKP+hNQalgfBwvfk/oJujZQ4vp21AS350Q2TTok5wrQtAUQWYq8soS17SWkyu0oosgn+l+dum+PvIqWZOqc+k+hSe/bGoGTidNH7qFc7L3rX6dUv8QTm30M53OOps28A5g3Mjg4j9cuZw5zEJKXEFVSZxzr7+jtLOmAfOogDLHx8zekvn8oA+tELDkZbbKkF9c2+rJbN+u7e9ZtLEjTtsasaUjTn/JgfhjOiDvk7yDQ4cvAQ4/VDfLcLcFf7NWRmZL2DHE4KrffT3aaETxU5gcobERlkZ7hkUo+Z81/p2TIVRB3dbsNObmrB/uy2HvE16ScaArmWKlm1xePID+q+jausucYyg0MGKQDyFHWufqOrMEh/DJRl32NSHE8GCMu/r9o2ETmgmEILD+dMkZd7yqgUa0Xp/zBfD+tHKWROEUn4jLZMz+0aTVVQ6I6rIjYm9dPnqbnofF2q53YtDeHjWLgYY8Y1ePmroGLBP+GFiwKFKMDMc4H8yZe7snOIYgr1EvbCnc38QBN2f7BEbwkjTr66W6OcU5EinFGyaFZJ8BehZK0T7fLVfAre4zZRqGoHz+Vqrt1vr/wlHJKcN7TOuJzFwbNnWZu8yvSe8jU+1nEwiCqSNglIS5RZdkVMy9AdPZBvcixTdrPLCuNPsj6+VTp3zN34e9lMGht465CbCCQM0eARPZOLAI480jHahVM07SY3L3zCFHHXmjl9gwSBW1IYG3272xGsIYmSJR+fQRklBO49XsDx6MwrdsTN4iC3ewY2wCz9J2vWNu5tWQU9M0YxDaEUPOUY/oSwCAUdTbN8x4E7eBCSHEKlo9HGjPBqridvATHxv4l45RIDBJv/c8MeFHEG9wlAlwY8Tt8rX/gR1DClK0xkUuR43Nq0/EAelvAIaeou5A/3/hO2CjWEu5z4ROrYVtJpqXA0XvLnilPp7mDbmA4Az7vGePOsLN+WGIrWknxUh1xPI3oRleSK18IwAF2X0H/TLRa/msZxwbC/kMRJmdqBdEkusGMYtd1yVC+id0FW5/fN6cF2kDtJFu1c1HAtZNVpac20LoUvkPf3cQ6eOzm7cTHvM3ug9gYIrsk8DnG/lYoxFGMV1LFatNDugWoA3TTZyRHKeU4UZsUr6V1Jckng+8+XyTcaVS0xYjrQSOb12ozJ7+ofzfh8EaXFQG13Zvphg6oFzin290e4j5b4p5I4/lXbw/y1xfyoOSp1/FLo7IyhuDpvSTm2SniTxsJVGvwQqvk3j67HA8pjD9r5RVsMTbZ1Tm+GFcE/Kf3lAnhhj+c5znsFOfyrcFlLLexlWVuc2EObVMjA4qEoS7ehU1o1ck4PX0JRdgkgw5P/L8kuZGDHtT/WfwDuJqPtR255Z/O/0ZiNwzqSpIvrDL9Rm62u1q+PYwv0pi1NXg7LbOWrLBRNSQPLz77qEZoAcBzGNd53bTodz2uAhspRdb0Lenx8akzNVIcyfGb7UlZ4j7ikp6QggS4Kw+THV+aAmxoPuZJdSrjO3Bz8LsgLQ2Zct17Rwz6+47P0yrhQHtBsBNJxiuwT8Ed6Okk5P3CTdAWHz13UgZZZ7z2t7ppOp9ZczpLfjhKscUM4D2i1eElWchj35DkCDuWwA2H5aitoXFGVnjizILBiwl7pz51C09cN0CHXezqCrvzTQpnW0MyyMU3sI4qEV3htzIqTeaY3qaYHDJmzvl6ODoci4lu5RHMEYouDWTTD3Yfv+IKW9aMwzaNAAcVl9ee/wWW3Jn/8t3HtlU9eHahJhtUmI277ZUyAxLLYIZI+NWT2UjzFm95d4a0mRcGjcjm+h//YScjapGmCdwmJruty0N8T1XHkpoooDGfrAKlJeL1MxkmUqkEBkQMiK9ZG6EmQplgG2tpfDV/AFIqdu8jLYaPftYZacrp5yEiY9tzHb/cU2hiv8fsEuZ4LtZD8qVfBrgqixydBw97XfMqYc2H2TQOryarOH3C1sC9kTv0kxnwdhAVTnJL40VW92vja17gkMjupIe8OQxC4dZbmNVfDlQaGYh4/6GsH3BfuaignuDI01wjrZi19p3SyL+ze3h3mXtMSqmB8aXhDKn+mOcB0Hk8W1XRJNVSZwp0ciVc2wE0caJl7IZzHds6C+v2ueREfce8otg2Tjub3/Au0GlsSdmuFwoPd9AF9YEGeBm6ujvPxQToGvcDDwWivE4X+0kttQRDG5JwvQbott0dxVsMbDrSaUQMk5YPKaekZ+4ZudARtJZY0p8m7qbLeYdbqX1yYIQRYVGhL7OAvMyK42NIH2tJWtunaPTKmkV7oGIpXKLXfOtHyt81vM0CcHIXqHnKx9OGSYXohdv+2NV/Q2NSGvmbO6hF+PE0Dlf9D0J6aZyq7aTBbOe+XjEaWeoRcDZehF0+lNtwAb65vS3LKXAeUAsDq5RlUkC2nyEWlFuNi6g1qElvb3lVbpBJ3VkSjBoqjqSncFm9VEHkd6BeIhTVSPXrwAhhPJ6SQWjTyWtrnku3bmTtFQ0n2RosLn6v7WhAH2/gDZ1/5q2dHuL4afXJQcsswkkSg4uM8Heu/fLQvHibPlUgmFG5TNKEwMTbj1NeskL3hqtqHxZ0YYvtWfqnkNATvljdy3kVLl1Ti/H8yt5S8InuUkadTcyB1lNJZcKXb21XFjsn9Z4oy3pTZWFRBqZNMl9OEeF9Nr1cAP8XLz8FuHYLSk6LHRhQjfyMTEPM1cpB1spVD0kCt30pqujw2aLBNnyLRTaQ2oN41Os2w8zlf8WSvsao0f6QGYeT9bmbAluGiR6xRhu1y2rf7uCTNmyJxzfnCoMGmbZ8NranD9tPdiobhNX9ht4IPD/Kv7sOj4iqFReACZF9Q0zYvK1GbJE0M1elBDvuxBn2BL0HTf/0sesjhby2FXwkX3NjAuxc4FsjFg1aQhqcnul5RL2mmmSBG0y/y8gL4XOoHmMjdMfJDdqEhC23k9fA36XvkeG7T6OzUQZqYLttZ3F4D0/3LWUmxmsGtJYuD/3LGiTZZL3NqDfi/g3A2LH+kVebIS0OB5+U6NCbCzd34yjDrvpjBon1qqDiGBGonlfumZI4cGwCvyZeg62OvlXUyMWpa3F4/6Yhx6Sg3Iey1NOWhvl5Aj5hTcBy9pcb8azPV8Cppy4pqZ9HEn9KPARYFLiqilXscgH1o2ui+t785OmUAYna+JjwEnAupn4q0FRbGy3bBev3JjaLygJ5b6o367DaM/eNlFkYGbsv3/jjPzGz0GZdXFnGRhiwy6IhKQj1pbl1uirusMCo5cJ0BQa4OXp41di7SfIoFF+09uqycW5XdG0cFTvfoEXm2trwgLJKFAyYMC4/8BUUclD0hzWaRwZU/dx1iwKSCIKVIXkgaOqBS+itbc6tNHGMd3MS4cZDYggLQye8tE8Gf8wBoMm2dCcBNosU5TlXemsOZvdVbdABIvYtsi1w55oVPwOU5qKle4ObTHJO5nw4M17WzH9kfMwXdnjP15rDncZoIMje4SrSLpcujMywYywuwvZokVJSRes1X0Xbx3rAOtu80AuBGv1jFgM2CD+Y1G+zYIyMP6jUQvcwpMWWd0AOIS1eFUPDElqUalZG9OoeUz+zdsB89Ro1kE4jUhjUj6PCCGgzhrHh25nc6SKRNETg4nEhv4VSEgZmY+I4XZ0QGz7tjKInB3/88CSzXgGmqVckz+Xy1CFkR9g+XiF/N+7NviM4bw1O/ahZEDEV7Cn4lDpfPBAgI1NvUMnFJaekmjDscZaA1btmhQ7UNMSobrgLN3wwBKSnW/xRiywwdl/qY+l1plpXjyFq8IMk09mzska/Rzh0ibbSoD9PDBxD50pO0KzdQvzg6J3SF75vC9lufAPc0KXIBJaZd0IehUdolvOhsfTxpyAUP1ldGaeV9VGaFgWun7plB+it+pWv8UoO7Wzz8zp4YV48XPpW/MUFm9Bhtwy8u/GGB29GNzAiSYJZZoMvEAP8peK3qNUF+3s5oIXiGTuSksBQMfk6I/yivRX6oH+LvZw4h9SrZWmVYwtW0oEuybLR0R0FhCrlDFI9Jo2ker5/cfAsH6obSa2pJ/F0nosNDz936wBjoPpOnKZxOmA59vTyoQ99CAbXVTFB9mSu+ZHcyfi/A7nMXfJ9bDXE3+3j79/YruQa18P5XRy1Y6Sa6cYGEkR0mL5616j7quC4K8fnQXoiCWVKIS65OX0S+iT3Xz5lDD14ZNfg68N2ozKYKvpBlwsg8k3+AW50NGoSKwLc5cTfoJNxkXYFps0DCk5sVqfERUEzRhtP9aSV8KPxbV946xn8aZaLuht6Cx70ZOUY00wmdc5QjOMPJwz5i2mR4PKNZQRNXIAwdmgSCKp+y6toX23C3Fans3MGgaBcSwsa9d76aZifDCEtErgBtS8nSmwWh7Pt61MEgpbkj3zN8JaGx1rEAjhp8wqnlgh+YaYmagNojnWcK2+Tht64miFdxUJs0ruP4zfexTfiNJO3Vpk7YB370m1a7pUJf8UZa5Dex4BXZP/4lQAonQjNjHd9XmTTmsLbonFV2XOXrVO+Bu9n9IKV4vm4D90b6q1wcirKx7BEgzReIab3PRdj9fnX5JvNGLL9JIdU2VbGh/jrQ044oSKJr2PE9zClF6TNKS64gZWXYr/hFhd1+JDpQdt2pn8nWXnoT+3DW3F2aXv4XV36tCzXMO5jeGD9g8p4gmmThcUeRRVVq5QMjH0mTRuNzsjxCgVwbI3RjAK+c1RrLxAkqv7cFKDWVYCKNEHIw67o18phfSNVHgG2kL6lOQLw/je5WB0CUpW68/gXHiHSOhcQKdrQZWSRK82LOeBLsZJppH+nhCeT8+Ba8/lY2cdse6yS81ieDF0Cs909vJQbr+qCMDsZY1AueGZ41TDWuANV+YOr0ysRBm/rhrBki37I5ArxK4QoBdXu8UtZK/jE3rhkxmRdDEuuZ5ONRPHvfCXFTklUaw1uWjf/bSyKS24HtAwiPvctn+BJz6v5vd6oVvz1MEmqo4HwCEeT3EAOwa6sKxcr6xVKXB9hkfl4HcfsqMsWSL4fWGQrrX/BTrN3iQI0H9TX5e7U2z9hvO0MhgYr3BbTYyABooo5U8Z+Ty8S8rPsT3CCA9hCwbmN6b2SWRUS+TNjPnTJoyf3283uGwipg0C8CA/KgjnNVi5xppy+KGDXxgg7ctFzZh0HdpG+MU7fdP+lbq87HHONZAyYIrCTbwEu9YODXR64VhDV5zPTagltWyb1ChhiEz03DEeA6UZ3F6tP1I+0hxmhbBvP6JPHUyl3MNa9DRrMX5u/Go3QmVS9geWw+tju7xYPCGlwX3AN3GtMRSxnvkh03yWrMvhDUrAPruBYR9Use8zZjjKRytWf6VPI7gJBEN3RNzReYFg9HKGyQUrHhedcaODddt+0OvRT5GRKlCV95LlLGQmmYauKdc0KaeuMSIYzZlz9197EDTSXmSaRiLNDz84UCrrh2Agkb1nCWlhX38J5Tul4OBhL+D2Q8s0qD8Me3zhj29lVTrY8qhK9A4Zi3SfAknrBNznzMSSj8UPT9JLaFVkR46nuhIHBGrqIJyQ4yq5mmSItd+8y2oY7+AwrEXx6vZ11uj02DLjms3MuuD64eeQPGuRbwvyGT6wytL7+wwVpE9pKpUntq/Fsdvx8VW3zEk3hC91ZDXzjwq7GquegkxWvyAy8Wgl/CCCxSqKBTIIwXv0UfV0l2NCiJvAFM34Io+pQjA23TqfflnLMkrvVFT5uB7ncfW4ltKVXkko7nKzWzyd4k4qwgI6f6P2DpO61sl7TrAInxMeBOKt4I6gUFmXMqcJVgtcJ9B4/ZpFH3wbWsnYBC8IsEAtkO14UNn7k/Fuf+43j6MVpRtdHXEeDoDVAxbdRSm34NOgprYb63DKPONy+Xs7vw+N6GWf25ylZ9L6zGXEX2WgP0xPZimzNxhpXzoQXzoNIsGVSSJeLGhuKqwPcMFKtyAgE09W+iqL3e77y+eoy4fNlbtflICwWbikcfsVzatEruSZ3t23KKJyp/FI9hSMayNRuq5vtsenwa5pafK6dQ1zGRIroIfXnQL6MCg+oVViRu8suIv3VgKGw6i5RfrNNutdqAl8ZWya4jU+89hCr8auZi8j4OfxKe0HNgTbsRrHjNKy4CA8c4JP1x6NtuDYlXCLuOenCxAS+sT9uNYSH5Z2Ll5LKy6JJP+Z3vqI0CMtPB5B8M8RwsrseEIPUjs1RaW30tP2DktIdRD/mMahEzmmX2QClCpOAayqLidgQmxXM3Sfz3arNu9V/j4qO8veydPujpJaDa31Dxsq09P8NlFV+QskAEzFs43wurzJYz81QHbO66dFhXOpnyQyKz8tRChZEGeIy4f6ayCxrpg8KvpsipJJ8oHgntbQ5GQ5KCMzOO4swQBunUiD0tNQk6mQaXH/X5EudJCNB3by/fgTA7lk8ZJTkKwaxX+MKag+HwRvEulTio3P6lMzR3k7oD773Wr9pLRS/dYE41zEP4fhjFO3Chvq1yHtY9+iMBgP3WDZI90ewKesSdh/eqrrzETK3ATIaf3Hm4TjHq2exmHazxhId3lr8t2jFVij1qIZUbBfK1lVH6zF7OLL1BIsKAag4EmJn6y1GC4h4hoY00A1KahwQgQLCUTrIo+gHC2PkF0TVooqmuj8QUQ2ptKXdkwk5Iy8gy7OoMmGHDk+mb2WxetQZ9Aj/YlyaoMD7PsZY85ttyLHPQYQzbbYv5BOcFJzSqC/1hXXApK9D6MlJlf07TWVJa/lWRpq9mgIEMFb5aWkpxRz7gU7B+fm5SiKsbTFUYea76ymDc4ITc22OxLzC8H0elTWnPNx1+vJocSTHTwYpvWvSbtce87B4ipBCoqmiGrKV5nE61xjS1+lBXp0CKzKzoRVcQZbopICO3lPAhGccocjK+d/the/saB3McZoT2n4p1xPRLIM5cWM02Ssf8xiaQ5n34uCnM9q/PGuh9g0yzrf9g5SeNgiUEOZoKsZB5LH2A8hfLbGmkz7/zVFPyOB2oNueniYvoDBOEiEm0engMAzXM9LZKf0TuJj8WQTX69qRgrykaYC0uD+8TCbLpbgh14xCridWm2BbdgIc3QBahTWkNafi0hfORkzG7LbilOOMgIuAJtysW5cN6mMg2UjZ+b+oKQ3Kn/8j5NdOnrdRxpOcty0dhPlY6xk4FcqtWQmB5p3aZ2HBwAcAdy8zr7EYMH0X810xEOSKwXqd0tJkKG52lNdWO2QGD/eReUxgKjfKBxplcctGTiGSBos+lXeGUOIeWhUzCR3sdcSIxfIPiebli6PqWI4dGCux1NDgVvUX8aPaJ9kb7PVL8KDPk3BGemJhaJBuaI32Isins1jr85/pNPqjf2IBnmmaJvpuUBy67WnrpxUOiGjWMfNbkcTGIgKB1WdjdOG7Xa+BSqtGSVvJRmVJzICposiCP6BVMlSjF2iu4uECIW+pPLJFmEFrV9AP+/FjQ7tH7HGHacCGsJ+SM45pgTQdpF5ocskiveUTIIiiIZULrUM2QejTasVHR9MqvNbXkd64lcU0FF/hz8ZwCFsAVO5EYNIlj4z2zlMS+Q+6g1BKiax/NUwC7plFLP15Rh0pl2aaDATVBJ8UTyqDK9DtGAWfL53SYbTiNWOjNIvJnMJO/jmQGIyz38rJwcQ4PCo9x7mDgvovv4rYYum+C7h8uDBweZA3zKBfS3Z9BO/1wC7ojlOWCwZOd9h2BCC6eAqclX+o1ImbFCYfPjPj8ORdGMhJ71dITTiRXw5QulKunwxAcXMYaJoqkkAj7mrI+kjapV++K1TVBuhpvr6p0y5KPWLCYQ1+PexxtC4Tay6Gggc2z9hyIrk+8gV9ZtOIMsm5Fs77Fh6MuzyYta72IOJ2wzdgkqd+JKC5xtnNXKpsx1b3nUbcdVxM2VUFXAEHIrleSXhGVqKJrN0JBtyOs3RzHd1nqaKmzTA66UAfxSjBvzTPWdaOkKnHTLpAXC2KwUo47UwaErjfZEdoDVkfjlJK/2CMjyL4phvZRb/94eFg1wdjmMIz0dxPzN25JrwRQqXlsGwv59p88Mg3TeEAOfBReSZ/kigVlLjgr6iU3PEMBuwE5iVqqj/WNksXFhgGbuyrCoJ87udo76E7cm4Xk6nZBcwidwhQ65jAXqgP1qA/AG+QpjacStWfqA+xpWhU/PVwbYXUZPmzmfkD+6nYiIgCEgMB4FSaYX0jN4TDuN5SXx+S1n+OH6J6FZTHPLIEutn86bVIQTjsWaBNZYi9nM0jfrfOzKRQp+PP7+iXKhczcnCvzYeNl/GqK6c4yrcYXhpTcN/B2GQWzsGn8ZN1TMl15eHMmTSaX+YGVooGvrSEoRmNDxHYqa83dVb4XvfIsfG9VxAR9qenbh1AGXZtKnLlznfwgED/z5CSgsqbC8ZqikWJHw0qrlzzjQL/Bvlx+ygsiM5VXl5Gvoshgz8VW9+/YsTbaNIZdRoGBJqbitlyyEw/U6WUXKaIAGSp3EgQofpbjzVQHNKh8Er8L3bwOkaUgQIz7nKjcD2gaO7wliWnxXEOxmm+o6ZFWLZzD03frSp6N2IMP0tJHkOz+oIINbZEAQbdr7cT3nmn3s9Q9AakzvV+c2xPIdu9WkUxTg9gL+qNx42kQHxHxgWEHiYHKL328XgffqLftohAHtNELbxsyGpbe5dybVJ7m9MzAydaBLGjuXQ++Wy3ngugTQJD8pGL2C67O5wKMIdD1KBUFoeOK0mG/U+bk2emUtPJQkGFhiOXOQycoDI9NF8at2pEVNeVGa3S0HU8DnbT0imBYZ3m8qP5SExSESKHFQ5gOq/6XksINCIdml3Y174A6gAWGy9LrHqhPja/m9iwJtDuOaBpJPPhAS/xF2jeJhRy9Z9ATzDm6D1eeTsSnyKCBEFxbkNAif4Y/3RwahZf9p/G56hbKlaHYbopeFGs1h0DLpdecm4PySxY0Y4mhIlZjPD52SvJGyEcqshnKFZ3XFRos0CulXvqtAZIa760/BGq80bReqLvPKl0NnhMbMMt7v0ULYGV1EdpFzMCamDY8mvg5DjZ+FajGw++laAojxrnHhUxnl6dgtPin5gzYxTv0vNLGrT3sUuORFFgqdzA+OIShmCGJB7WYOxECN9hQDvddN8P2qIVmv7FWsvCTWE59Pj8Cqvm+w0F7vH+fJqhdgUfntlfH1IOrm7nvKVLG82VVrH0GK8Fpi+18Wxbasm958bZyrcgJyHOPoQPFm60fo30Rvl81/6BtdyxAFUCps14+Yi9kAXDRvYZFrfC8qwVr0Woa4uKvNkemaswdOOuxfLNUiDKNHTzpOoENRMpzf7fFoQ5aHxOqtX01wcxB0f964punb946GfwwwFWuasZ9kA7SwORMhn+H+J+t6RMRJV74vUdHU6hyMaI1lLSV3BTUp4Nt8uotZtHf9gJVgmBrksbTVcrQ56MXkdVmJbtaOmcWyFOOgsmKouEF5nGWaWJ8LhJeASvtZrEmBildtpm58mg6V8KtFSdpIqs9pM5rIDSRpfsqx5daj5Cgz1suNckSUykVFztzSD3CKfXPCZ69uiyF3sXbB0rxV9V3kSfgoRtxlYBF2g4zm0eisQ8jPUB7wn9n3v5K4Wf1oSpA5fApTNmPo11NDAe6/Zfz2Hxx/WtsGgz2dR8FUSDmmtul05Mj6iz3dRy2htYdTS/0+N+Inc2NwCndAnb5RNXrFacCcx36VeReexXICoM4oD/HqEiIXy7yKHaXIIHfDRBj3qqzsTMwKW9pOKmAhYy4+5AnLM77u1d1JaZT7fRculnnNpHlR8XoM3PzVWceG7j3VDCzmu5+tH3gPSwZBj4++OhHqTWFStImEc4tVshmtGT/Essym4DPy4ps7z1OGmRTWSzEgBkn+n9Iutsw10IKUHlktRmOZFihBT0Stclt6tq0jhQJgmBQ0AvOCkcDVavNNZU4bn/MYQ43ogFihmw8OnawcBq+p7RKDtDDPrkmID1QLBN95QdfAyfQjxzKsByXTlEs8lXvwFY3lgirw/CVr6vnJ4pMGEfwO4ASqiAQ9UP81XAAtZsWpfdLObkydKHYujoCNKS0NWwraDOpBVu6kbiTxcLVTE6X1BeaiQNJXJuXWCoKUVtM+bTFEwTIexnMr19OuWo0gWidVRvgxuT1UUtw5f72alL3CPNfD3uYNY8+LnScumobPJM4AQqjcRpgT91Vbvvd5IwqyYjfERiEO6u0ZJXitApOJfgBuk7MDqpu8fslYHiToo316A153S4EVqBFD9wlEm80oqUUxdtt479PjxrQGgJJtmBrTyk25DpHXC1sHiF1V0M5g1qEzbTfqamXJb4b2YR22pf5gRZXikbwXFvCws2H1STw+Hauk9hgydqSJpdYhwar0v4ZItxhq6TbElH2J5LNBsjzG7ekgEBA7L0Px8AcgHOuytUuOdJA5W4Sa5HWzqn1LHCD9WFxc/nKEemaK+iZMVoontSTnVcY5Qi9VHCxGDEG1KchHu9KQoeb99mM3YUCxKy4lGhD1Pzvghyl0lOyI5BAVKYd1FL+1LwR4etheqAAoj1iOPNz5MjS//w+L6TF3OWoo1xSpx3we/bsnroLKJLd4ea0gBpmuTZhGenQu3IQiXZcLX15jgsWPcH+gOTeaW8RYL7e3ky+kUFrf4WajNf3Vi/KcJj/bmtFIoQ69TauUBJ6RhClBM7A921Ok465KhvZfEl40NWnCNzGH12wevovAiEzrt9Dxh75yuCLdSXzHz7BugsWvIUuOY837uJoAYhmh1JO3NXdVaX97HeJS9WgJsWCf6fd4STPQ26HHJRLsyjR5/9hWtkYWtSfztVd+yOXOVbKhKhYYkTzc70Sx2TYKhXjzQEyVTEnmx5s/jKZUpFiKg7PFlLO17mQz1ap6OTrm88wt0z4Jea90Ts+U0BpuXHy0Q0R+q8ELCVg7WHdF05bqJPME2hsUOecq2p6QT7HUUECrjgjApISufkSNDtiOdw0QXg2RnIkNPVGBD58FxxfR4+zX8mWqOGru+NW1FSU7TiAh8BTFGALdtNUF45pufbqQSsgNP94PqrU4aUIKKfZsLwho3SLj9LbIvovca4MVWANluliEi9ma/w8E4IvYW6k4M71l7oR4FK+ELERfGX7WEQboaaYTP3y4BcvvRZP+DIT0/zDaLPLkTYgGrOpagDRx+n+NJ47EI3EYIwVD8bAhUv2Ppe8oFAolRs5Z6n2e38/F0n1Jhm5wUyoP2F6XX2zlieablGm47UdJlrFV6HxwiMoYMcN5CWIQxi0UKT4asfdMVROi/AmuoRHMYO75OpwglIaWIb9nQh4ZTtiVdv0I1MOSViZdnz+zcl6L/gjLi0slI0aNHPVwQ1iWJB0UIuto+ctD/v5MqZY8vZdH/xboQ+EQ7vPKIUa7nmHJ9pdiO4TLqUFDA/vPuD9nALITIhNXzAJQ65fcGx0rHXgf7/95doMW5VncUgCrfqH6cu8AtRz2OpEwXwDRrSeyHXzHNCUogsyz2UBKraQGUerHR3rftW9qTxIcsD0lfwWp03X4wDyNmWna0q+LQprOgc5GUR5P7b5mrvdvLD48+0NIuOLjUyoVKHQnwLxRqp6TJuBmOguoMWqDWfrySykmpYO0hX6GaCdeoXOHjP3G96xGxBLNNP3MAUhwBrVYXIlyBEa/3MPzAInqT/taWrGtMaPSn6JhIumEAq2DqbVBrhpwK3MGbt1H8cNUMCR+tJgAebmPYStdGEQ/8KmdJvMQRex0DcsbBVB4OHiHrNmYe0eIZ38qlypcnabV8XRQp69kFtz2EmFuwEm5TD3TKwS0iKr6zb/Ny05fEXpRHBrKjlppNL74NV5ZSB094A17iBumE4krkFri09jDTcb7WF+Gmu/Y7JtweVYrBAosx6j5/GclHVOnWLVCj8magIvajJQcNp7Pk3zw5VEKrofeoLW17cd0xSCeuJDFr/4TvzfyXQujcAoLkSTkX/zsKtOKKX29O2Ugk/Ns3+TE854pdWRurja7vZNVXnt/sjLIhoD5emwlA3X6+7VCoK8JCSs9+DkOve5tr2PHbPQWoAH7+cAqgOtnvxE74gsTS1AqIsNVByJNgNxgxHIMu2sS1m0fmep1clbfQaSN4yREKjHWkPvRwcKyjeE5Lp0ntiZeOY7+Q9tne1CxHEMLpzL4B+YqIddzIFmJWUg6KZwO6t9//HiMEqMK6jUJhqQ8KLEBTrisFcoW8ZnjLIvzAJI8cm7rczTLGaTTrY3qIa3fTwW0PH19X2hfkfp5qnIfpecno8KplIjmEd9wIEoWXUkVPVTJA2safmkF+Mn7C3k2oHOZzCpL9t1fT/HqoLsxfZXeDoMNXKOnYEZT90VIurBS340/51nozefVWozByCUyacM7JWneTU+JSUHpkD98YiTokDdkyMDKK2EwEa61zlHtw649XNyiCJwnUUgOzK/oaHcI81vCTYNnPpByDTGUpPLxfFF2NGE2vrPNf8dLWXajzM8n/ADRuqDzjLOcx3kp4qeVYnfEKGU0+4iQNeNrsSFVt4AtgfhBTxoiKn0r7b0WB/ZQTjI5rXJv5eaD0/hxnq3NFcbzPV4Eu5dNy/pii42LV80xH1vWRIXsmdgPyR+pH3AFcz1mS5kFbMWMnYWwiWbzn90etBicDSRLwi3OfK471BkvWwACSQGcFlZHTQuLBR+IefukMxjXDgg4hr+lGVAk+Y5nWMb5diR+Z7ffVEP8o+v0YJzXKWEySmEb/wvz/0h/qyAyVrMGAZUnZpPF7mTn5aLT2mF+p74CN3T0eExCcLagQV3WY/NnQHPrdTtaboZTBTJXme9cxUePDeGLYbExkos5RcxLVtdor38Bwp+0HxgB4P/RD+6KRWrMEUBjXMxor++c2P4yn6mk12Uszn1YUDXBpLeBYOnqe0CotRPA/k02mgpuVWwSX9EPW4Y/sEW3tx2NA45Wf2hKVo9UwP/cXr4TbZVM0a55DcTVLucQiWZ5O13nhfSOkA0CUEYqNbB8i/1RWjr5AVg6d2JAMD8AbGd5HdvSi0AdgW+W3YcqH+NxmvNawdDN07wETwpTavQBVHFmNWTS+Hurf9iDyOiGug5IKruyt0mTS+YIQ1k90xo0+IYet4ftLp8N7SbmySW4Cq1ACfnqXCDuvd/kbYc5BS6S/v2n1T57KorBZOMEZ6ORCEBbNk5DCjG1rouC9BCNKGMhxC9Lg55ljANHt/ppOuzFpf2wRqa8IGDNCWE3CORdFm7GRAEp5X6gDmlRV9EsEd/aLpgSMnc1jVkxJabIxNko+bMf+K+RJIPIZxyXZ53LVMk12Bxy8aMGHLir221MQuEwfsFx+0pI32MCFedyKQLD+JCk6IBGXpeqAOe1SyMNX8YE+8V6Q9l+aDd3PKMYWPSQvaPSGE+4VwefqiAcI2atbgVUk21Pk5xL1HBIWyn9Ne5ba5ko+GYJg2B5/N3NjtxvOa45A/EGeKwNE6h9XRlQlcY65w5xsoDVyeOfiqZUWaRD64YEN6EIvw7sq3O1lpFZeZmcbgw7YuowCnP63wdRkbSOAQ6CxE0RtR6Is6sVP4VjYqMbYH1NcF9DeOupWTTOTbMbxcgeDrQA7guXFhSym9AVR1jYrFfEWmlKtY9c+Jb6PiES8YqLi/LBg8zi72bPbi1OY+ZZT3KTRYZyuovFDMTZm3pRDrtA+ZngdxIGRpXQto1fVUtlDthpmkpbrlVYe7rEdGhyiXGU7s6z8W8TNMgFEd6ku1xErcyLCRZFs/piGLnvkxyr+DHHxdgazZCsz3qFGU+t/OC5kfsNvOqbYTtjSBGcoCBFQvCadd5VCH+sOzmdIoYuUcxX6id+Y3hMgEMda8H2Xe8VbKARbM4lf2/V39VhUsFmI+2nQ6N/cDBRmBGqLCumfGkxz5rIudkMxO3d9u2TrddDyEoozgD77yRyv4alPR8QN4r1cvB5VpFa4s45lMm8dJTEipb6JdK2WDVhkfX9A1WeOeMtauWi5bS9L/XJiz6t5dwcop5ziJj8eonw/tkFaR5y2aIwsN0P62OnB4qG5ScS8ZnADT1c+RnOWEh/XN+PN8mz9W8CvLuQnZCKT9WmnxFTY2G6QB0NICdNupx8Y6fujmsfrM2e796U003r1MStadqdUZ5laSdktX01g/E5/47Jd2jHmnmpEsoc+40fZ5K6lbcpUKBQDNKFMZC57jHcn6WI/l/sJhPEB+/C/xwQwr1wxafo0bGX7OF2d4pYprgK8S5IfylEUQZ7jTmERpmnxyX+M8RDvfCr0KOQViGh0o50Ef9QEsSMDSSOaVFCm8wjKG0mmyJaw4sxCVcv3e9XaOtYZN01rFuIBehSieG4AhgX2cLpymLqG3MEmvuXfVv55ricMFXgx14uS4AGftFbJSWK/8YMldDk7CMJLafwzzg1OUpQum/VY/Lw9Cqy/M9W/oyEc+otCCfByHv1VLU8b1Py7N5448pthK0OGxoLN/blkdaJ4YKbJidKXbw+df5Yqeqgooi4QsRMVMrT9ivn31OjxYQWSZVr+991fAwWiNyDIDRDL3hNW+l/T6zhPLnRWVoUBDMopImpwGv0N3F4RovANCd3rcqNWHw8BBxYYXsPciIybXN8FONyS9TUKm5kLkjGvcNaUzKqDh8T/kz2n++z/nhT/4oCt9jza/Ad3/pWooBFCurrj/SC4wRjo6AS57aFhsp/WX05E21DrPWE7H+mPpyI1PJwDWfK3elXg/Aox8/Llqaw27fmEq1mx+pTChK10iAoZca9U9pdezYjzfDUR2vP2DHvljWSFcq58So97nHk8dtcsJkpLdacR2aN5UbF9bv1Xzfy6pmVAvMLuIbTvdvGwVik/o/mJqO6+B8Ehz51fQmK+ZC/aO7TexM9MYJbzELPSWmlRqYSrv2N+5W1cog/DPVtHgEQrDwt+lTLDha3VV5S1t2/hYJnSzNJOY9TzncCE0QmhfnqJ4Go24VV0t77d2cS8GKJdQu9t9TbGxZD7mnkTIKfVA/aQq7AvdmGFJjjSB0h51Jo9MfOoBarI1imI76nvwvip2GjVeiur43FdBh6I+xQ7n35kMnoIQyJJch58bCbYIup5Ou2uUi4z9sE/JDEbyY5ip30TN09FViWZkYIAIsOjSYujamg5C7TjKum/9GBCMQBlUqtPdTxWHk69s4H2fZM1ZpyPKDjXdBJhTUdUbipGeWPArmXIRVPrHwlPZRhInP/tKPiWIakZ3c4tJNm7yaSvwfuCDWvDYrTFkjY3wHRGDrgnZrdu2WNaAlaH2yW+oXl6+Y9Vy1hfQIu0JlAkRHgpTPKbOKgU4TQjvSaZO7Q9G/+xaLrbrhEEgeulW16e9542SsieL3NQJGrxspSWvsTlW73HRwonW+EGjuH9SIW48egsmu/vTwSdWUsx7cWO8/vt2TtwHNY8LYiVkFKXvfdoegDoX52aORQTkTPX/LEaSOXXYx4CWh40bIwjkzt6qsDfnB2KhQLwD/aGn0ikhPHDFhfLlezWCcjbeqlhNS4DYoc3k+qRwzTx8oksBOJNgE592dNYQ9q5X3y+ABAcj2IM2Rqx47TsCbiIzoHPe6vM7OZIxMOIcFlQ/HOj4Btg5PGLFXwxvvWRMcFub5c8jxKXj/QMjW2gQV05fMLlLGjJBK+u2QsyoMH3HO98JxoRyHqQiBzSxNMagLHFLTA8D7yQpCv/Isxw/e27AmC3cVG2No7281RJCQg8cZ1pP4dzYYFvU6GIJFgqYbUpsC6tn1quILPYkGJirVNe9Yn/Nuy5ZPLkWQtL6wnOkABExPUFnmbbQ7I+4dey4w0eveznbiDGvVGpURl9dy8Zld8jCHes1SW4Tj4UjgaKUJs7UY13Ipwq2PO4IddRe6pAtLCRYOyG6oa6QHR23OMWAtmju55SLJF2cbhFH7tp9RUp2uWgUtcKadaHVWuHxmsZ1J3Xx57MleL4VS5zEz2HuHAiwaFryWQmk3+eqTRNGmPkqCv1QnFSnOD4iYeKGWk9d2dbFsm184uqWMI0FG+iCVGPgBJIG29m+Q49w9E1H01JrDu5wWhKUpNmAgR7ABwcz21nBgRC05uIvK3n89IyXV6C9nsVFr6Kd5mpRmY7WT2bcRDGjyrX/gXLRx3tNyBTIGf+0HzTCpwxUWi3ai/5U5tbEunJi0sz/4TQghzwehYRQG6tqZIkuq6FzmkmRI4RqYLmk6J+H0gls3CP3beDU+994LcKGbqUkvaLAAibFlJSxyjs9lMVkZfwq6Bn/x+5XcV5nfrzpSVSRbLDEyBx2TZOD8R4gkuW023cic6MtLMCFlwLo3XTY3NLI3ndCAYeRfaV3NowFjoQIju7LtO6DODz2hl8E2Nxo0Eg1DgGHQ0Pq+bGwUoVThcJX0J81oAHtvSnkaSoJjN9UlEV3W/4vNoiBfaefbgCYCvwpxGD/j93S05PBFbg2vufc7gQyQ+T6uYqiBzmMfOxsJHegAov/yv4FjecZZPPYRkIuCruBl1MMu+68C1xHwe1BK5arrvX0z7EsThawLKmiSOm5iteRTmC+GLetxHOjNrIL4vfdCJulOKkA0h0BKwr6g/UAccNjfmd3IddbxMaGmYECzE6unJhhLPYcyNmYsQKM7DyyPklsKpD9UJlIqwh/oBWDjjKlUPaAS0qIWafH7qkMsONv5kqq+yVuZs5fvKqFBuQJwmFJgJMgIvJc2HD0mkgiJ1SyESMefUkkipliotNrvZ2tvZE4NlFVKWuVXlJlUXFv/HYyY0DmcthQ1F5MEkD8DTfUzb3+gBCGHmrZF2LyoIcQJ4aKKjJlYvcVf3SZ+dkrHikUUCYTXNNCaExGcpXiaZNsyNFo6UDK+IxqoORz/B9I/3gwJlMg41PCaXHEB5gjVXGhuzCyzZ4wP8nxqb0212xQk4pAIWBQtK4ZanH+b91y25jtBziWhIf8P+yZzqkOW5uRl3k+GJwbNHkhLL5JAp5ICGaCIECUE18yPmOc4d0iBpEKxGw8x0Y/2ZdAniYWvD89YKq/HOfjdzfXzzP1dHjNSLRDX1KIrfDwcNbkSY2epcSK4bmwM1Hvrq88Cp+6hGZ00gjgNWsmXYiPm/cGqzVCBWXsCoU/ixNgJTPxo5gxW7EDw6NvycdgXA1Y11ditlRDBe2Peqr3zWqupYDqpoWMQI4/6W0SCKaDoxl9qjNrXE3rnkuesegZj+cg4uJ1DzRmGL3k2I1eZUYVQgl4bJVssyfWslU3kN0TCNyBoDCz/noRxqMdPdxF78pa1J55Lh11rxXpniY3lJzEmCs5exZO58dmrqNgEqJCJSnywBHmW9kothq1sNiQIuW9emmxVUP8iU/sD3WojUBJW3UPmjWrDB07vBduFHsLLwCxLXEnVaWFIQ2kCTTWjw5Fq4dWqkDwo/olNhbFy05q3ccrKpaUF5uVqGpjyIxXu6MxAcPJfkD6FZbYzh4oW659B1UWqlsovyE1aVIVgNniKdzvqnVHvmH2DVl3OTRa0uBzRp8BoGarqAaZ20tGd8HbRBr6VhuyaRNNPVvgXbjXfegHv70W1V0xbfmtF3ZpRi0auekRf9Ni9Jcydy4uVmPqBDTCKFaKeXcyYSMhrqT3nf+Ps9+BT7kPC6R+T0vRWxrrBL7ETscrVz1Ib96w3ED3KzbITxgLtjE+Prb84qXncOHHsgBIBXUHFxdC+cjE3GsEbjw3CvtjNOkD28PdcKCXuj0VBmE2Dn8+acbvMV51g4qsMTpWUYOhVyw6dSykwB4lSnc1ZDG2MmruCcGpgCyyTtDAT+Vvi2F4kP9d1251ezVoNKUVWapfphMluDDTG+REssUy1L+9JNJFgaikpDIvEuyxv7amkdXkELaAaoqj5Cq0Ft+DxwcO89PBfQlA7NFN5NDaI8NU5ZxvP7EdQuPGvOxUP9glHW774FVWR5gq/oIG5Xk92rqwZkkJsAnj0f7xJ+JsbMKtwRFeUOyIn20LgLgvB7JiDjSf7JbbwTu7LHOOV69Eg0W+XEK5BPj8+zKcXsuJ/u0RyLgmni/VbhlIiBsrlnpD61dDh6RcIilabPcUroq2RaRzlctNo8FZySqDaqXisa/I18em12JJltw2wvIfp8aQMxN+uPOJ0aYtmlewyO/fwYp3sgh5lYjMzcRZcGVODqIUL48zH9u/T54Cmo1CxAVbtQANb4XoaQKkFCIwvtCl1sv9PIIpOPHj1Lo0Ik0D/evUyLP1S815RdpsJCevsBLTFgpYHOlz77hHuts1BaeECRXaUr2JRrjsLCeFLXApkiQqRsLyiEYwObLP6CR7soA+ouRL7odJc/ZckCQYl41OMhj8/aonq7kf43Vepp2WDvvQoqWzFGjnNhsJ2MjuaD0ogA9UHILCE1U2wy3GUVda6m0uEvXqscc3Pff/0SK4VHb1VdEtgjoah/cnjNIUN9gUXjoZDeaA5Vks9LZBFNK8BuR+WB7i1RhpHXkrmtlGDGI3Wz/4xNoEPvmUbDz+HCALm4pHyGqbpZ9rlb5BVUyj/69z7lGmd2tY8ciqm4sFLv5Yl3iRpMlXJg+KkrVVQC+srJHy+chr74Hm4wNEgO6EJCdPUkbWIPIe287nBaZVd40WA2SMw9tGER3yFHSftXf5QpPgAe+SYeVQ2Uk+ht8hecRhq6+JoSSuKRHdvWPKA6F0h4zaJIa/FIA0HnoiDNaXFkkiwSLplvqyHUAaOmuiG2qqTdOduA+O33Y0fjICVGssipVA63K8ulFQKSgomgc8P3XsJ/H9a93MoxsZGnrbQF+tyhG032rTPj8a72NXxsA1MlYoVoATiNeb9rbSDuh17wXeeHBsqT0A0WRIiSoQzG+Y2mm3I7if5e1DL0fJ+hPOl+UTpEbhQ8UIM2SHgT8BMhsvBYOoNRLmul0zSGWcZS8ZCyr4N441jcB6PQCq9tvRhNCDbMpSYKvKtVZg873TEsE7ft30zY2+8C/7KLmCystr1Of/Qb2r8xR/1+gpohk6VGVJg5znfGuzuE749MLjU60Kt4jrDeLS3exEzmnPUb+3QHZJ4puawiuHX+7RWQLhzgG+oJ68x0pIVmUIPz+/IdLKFSrovw+Ye3vJASRpXaPdLH0CP7TBvFrblyjnXUwHcb4Gp7kr07SuSzln20h8W1lWxhOuF1bvQ6aubdXwh2s3hfs1UN0aBPTWouTXh7zlVftEpiFyP7XymiJmLO/pU8LYURCXmqNwn+aRBiSnXmRrGv+U3F0Ju1jHVakjNqN1rg1eRpdt2hywDTF2p1/JUAztVkUIT57Kk//1PvpDhjCmSrMQjPVOT6BDoDRcrymShroJOvtQlZjqwhdP/TjbeUOZChgo9p8pM2edQxlzAgkRkkh304nj1lU6CXpCHSGKp1AwQcsI7zr1jB/C64qc5UnonnJi35YX7d06acEKmOEFILpdBEXIqJhR1hQ69oEaCv6wJlV8I/f3iVfZZXaiwIuFHVXlKBx9yXiuL+kQfdnQJ/osY+boHPWBecXChB4M25/t8JlTtNLGEm5KGoKnRzOGK/OwcbiK0HR6uR5d9yJK1u9AISZZAQbYJjs5E9ApkjeCutkUJDlbGQJvhHT0J5hhZqON/KbJ2S7QllS2AFXTpZ76qQ+T0iRidcPKA+/TNgMuk3sodMvybjJKqVo3YrFANcJUEiYUKGAIljo2n1hZLThrPBrtZX/oQaMMsz0D+6jY0iLESKvApzb8KS6KxiqPz8JJI9ujLHSY6WH/PWm8u8XxxR7mMSuX3TeLAW1qGRuUPHYuR3z/vW+IUnCiGtduZIMRH+C/aByDCStrNJSiFczR1x0R3o23jvbi+ZLJL7ooPIeq4iGiBTynLE+2j4fHVzmN9TGzqIBcEZ4u3cGfk2hHwNWAVv9ySj5GR3dttSRwFg17QKQmFVYzNPgQGq33HJ+3pGWxyLOIgRquzB5m1W45KuioIaPTfa8JTkvNaKQfc3MfUXz4sTkmfhuo1GandCEURMahlloCdPcUmBQeza3yS6hN/s+79BsJmHtfjByidNhoeMZVNx2MvJPYA/Ab6gnB4OnaQVl6D4a6j1YSgzHmlb+X5LD/144imipwKHilxwJ27I3P1F8tiwY7/ULyt4WO600e0Om8bFHArrUf2Knmkb3Sp4Q75mJeOCbvlI25bMUJUlTT2AAxaoMzcAXR5OEl6mCDDH7MHrNjSDb0s2S6eqc2u6AtmMoL9ftPa3AnlwfTZJAHb4upcPhwykiQ6yRqtQItenWl5EQZheYfEOIMc2O0DsBiGCJuB2MlhbS4ytJWI3sMYJYu9IgHfJYpM5e/y0AXQeGiDqY5RLH9plbSaCYxaDjZooWKudAyBCbzeUHUJcwLmLAWzUIkvp2H2pcSxWzpunUsXOptKOgy3vsjBUPv9sVzfHfT3uPhHq3IbzvmZMx5hOKREVFVYfmJBbjUZmBFndEeMIHJG+9bnmVQTVGSoEnUNjKXV4nXIf0Gzc/nauVbR78LhpbUfrnlXJHYOKDLs85YoMYkTkQl5FH44VLcf/NWA/YllEtYaPEdScGj/R5f+jiHkhl3TWY0evVTFIJf1MGugUWrZwfysgDT5bJvP5Y1RjGWEi4/GRX9dyCctRVWImDkK6Q3/O8IBLJ62Fh4aEZQ+jHrLyDcay18+YLQhAGT4aFsQO7aP5CdDmci0EUmThboCK78h3N0bRAMkqNgh+Io1iYnMeEJDe88LCc+9tYiHlag944nmTGTCS3eaCPy9Ok6eNFFYyBaAzeWYM9hB7lPBPYOcQOrCy7Mx04WSiuk0aeSi9/5a1f9AuBe0ID9oYeaihMjwyCaWBExbVW0YpUt20LxQJycC/H2nvH7ZNJNczrtFLjJU0ed5ZJsZct0QZ+IyuHFjBAtB9oOHWM3u3qgxeNeufOcqsdxox6qTmwzJWg3X+qnot7ZY3wyB3q26P36rdu4x03Gxovr4VG+Pb2mCVynHzk8By/H6fJ/pMWYn/rwu1sP3g6rErEyme1UDV07Y7L4ssflhTRwOvDLw3th+lfClRupIqIMhQ4F6H/3ESjs49gN2VpC6d5KpKrSX4R3gc3DHMukDBXNDunv8rNkfuWIQRJffM/TlfOT9E6KU5L3RjDKLx2Tbq80MvBlJoqnGG3zb25N5RzqFJauBueTj1yAekx+V0HXLoo5ojm63T+CRiAMcQ8fZhvqprkJt6Mz7M3ohEvplxPq2g77PXVCwhrnGtW4pEZPWbmRJLmv/crW7S7IQdfaqY0B5r5MaGtzW6nmM9s5yGd/bJ3tAnv3bCgK7i6JQ987HHjr46v/R/TdRm7+q1bstlqfFZquFzBOMcgZeJS1MIx2HEYfKjK+earHzlYHqJQm1/8IybrszEfuLiJt/VGZEhJqcYio3NCBlAKXhed4UZyVcW6Rer8C23zkr7q1x0USlY5qqIotKCwNGLuzkFtr/k5SAzGByEUfNsDqJuWt1rZXBoG/zBzRYYZwqbsq3GwNypHt2Po9pdCqo5aqwa74tx2ssm7Y1V87a3UDD3W9Rhg4rC3aOwGahokbUKAtLE+b+W+k65hs5fZXAEeYGxZufeezaFbcJyk/G0P2qWfnrfgGd1NySO3QqAeVPKo3zIN31HsVYhbz6SfcSNLSp5sM8vyRmzvfVnPykxw1Uy/GjXpUntmds5OJaD1PKu7hY7I9ojS5BO3PGxxRf6QYg7iMY5EgMYozue2Qpe9I75NBfAy+R4llGsNz6KPizEYHaynVO3XGj3GrqJwRukxM9Tnpj7eTCI1AJI8s4d0ftHqCh4IlczQTxqk5k4PAfdEVtEXzbeJrb+X3xkrG3EuHWZFCbaNgC1aBN8xlNSKgIvE2n8ZmAfGIHEyApbNBb4t27xrKbhQrJfXz16ljooJqYscK/4qmQpl6B8GNnmcrLEA4uLko0ijzbdYJz/Gd4byZFwwNYJs2Qt34n3AIWj14+L9AI6u0xxQysmx6idSQNH5zZ2OEOL+spuvRQTs32gyvd9LjXj2JyOlrgukUWPmJseXtj72aemIca6tNcmRNLDE+EWU8KZUTrf+EBlGlB+nq4qPmwtq+avHpWLOeKEmJdH5Mk1WhmTyKWqrPMUhxsSAauB2e8eX274YjUKlABvvUTe5mapWRNNt8LDTq/lZ/LvDRXfQ7cet7Zy2dJ3vdWu3Fv29Vjy/sasQJmEibA23R7Qb3R20dr/VNPw9Y3zcuTUPePARRA4O+zQUK+oqfe6ZzRnm1HT+N78WcpZVlLNvecSbLCKIjxzNbv8fZAB+x14aLDs0zxQQ0AqxtR/LpsI7k6FK/n26TfQmcJtVj6hrwPb3jKOQYCgZ5RJhwmfoYcb+lSUkBD/kRJZ1aVO8z6IwbdVvEbpvu+YYeqHIgBDu0C0EenA/NodaEtZHRA6oXTT7iGv/GFSbC8XhkGhHteGE2hou5VhnhF6L1PHjLlNKZYKDmhCoMmp89UHYy33ePV7w/+ab1FQs2K8YUwzyJFkhonQSINKjIt6GGRhX2ZwV6B2nFed31Jkp96kVsv1tEMvvnZhHaBOPZDj4EhZ4y0duUiA+GrAq0oN77JR4FxGh38vRR5AVWtN7AC4USbtFnmrvcgDNKy0Tv+XAYYkLFbb59kYjglaRdr+gaQP4SCAJWsuUCL7yaQoQTaiv+Cbmbv62jL4Fp111adLgFH/8QQOhrPD/yM/+a7z8YBgRbHergrkvkzWgo2xj43zjy2cVcwsPVlTccQBWKB2VUerNYWgVGMjm53KabdBHLx2hEpgpKMgRX3PwRG6v/euGBe0RgDy5LUv+uZ+GzrGjUIZXmhEEqquJvu2NULANcEvdSvgYpyLMiubiJDsVav00PKx+Ve+yFpPGtBTGCoz8YEOgKnbOHn3qulB1fkU/Go/aorSigY73HxFdMMq4oazv7Y3iCnBuP54KbQWOTKoIdjJ20VIx2qmUynRnB93aJoe3ANQyhP4mN5K+aAW+dmJPzpsfwA82+wB27afm8paDUJUktNl7Q8Sra8I7Q8cRbQXEkax/He7jG71F7061Umh0Nx4ip7ND9Du6fqCAJXWpIYXOmweX51AXet8wX4BYnmDUr7WUrH1qWnhqWTVNIyeuNzNacRYxzgV5REYEiVAUHXfeU5XjJLfLS4L5644w5g9I2/illl5AkuK//9sYID+/Kfum6sznZ3DSSX5tIzr6D9bV1uqAAu/RRMUqzkb4MOf6FWhq3miXwqHmtjhYDLEACf83R1rk4GUzXBJjNxutNREBGKdC8xuJQ6KBwgcW9Op1vw0WiUr/BMBBqI4oaWCttfHxZ9rjUOMYNf5RgRapQ6gjVn+ninyAIpVAeuBIjPDJ9d47wExb4+D675M8OGexwpqBzI2HyxCoMgn0Z6LgawK1je+Tdvp03xdx2jMsvdx7ovFXvAJcK6rFB+5TICjBbv3bEZZfxNuhWhDtE2LMi2wqZu7+GG4GxcZBy2lzZlNHhd+++aminyb0QvtP9hc/pY68xOTGbwCsoVALRqQBmuh+HrIVo2RNmInjnE8kh+tZyBOFozPHZAkHh7Zm5JS/5PF2r6jUUU+0lpC7Dor7ac2q6MPo3W3HyWgbDke62dnxqT99QXHeQzYMcHp8CC280W2ONfbuUaGcyvpqmUWHJmw85xbxgYQuUDDYg791zWpvbyaqGZvQk11VCDh9Ti1y9EkG2cDW4ZtkbjLjgpx/g0+5OiImo3maJ9rM0v/n6JdngW3BkZCHdA1ft4tD5Pj9/DH5LW31qAetmDiYX0LpwwIoxpkVi7eVVOZx1VSI9Miz1u5me0KPCdCRsTJuzj8Y9B16vNW+3QgXEIKaPH7omv2MrernmjDR8sgT/K5oTgjaMv+31h74bW4f3UJZQJWI1+9ntQ5Zp8ARrYvZQkBOu+zJ3CaDh7O2K+myqUIzJqD3CN7nZdjbOJKumaFpoj9rhg/K5iN1PWfN8CWY6C9jKz4/VnLdc8cR7SgUWT1TpDbaWry4OG6zqEGD8Q66d61Dn47zjaAzXnqq2i+mlGOz4ggHhPggbs85G9gsVFTslgf65BMH0lB4AhODQqZxVZ20G2BQ7QsrGlx7ql6I8T2N7NRuWyHxqeiHeTfq9zy4/YExcXhdqpgXV2MCq3wfZ72vt56RKg5BbQhkdzL03p1TPPOjJJmsmQ6mN2ay32cg2ooWSwUaLtzQ78pLNQx1BvN/GEhRcWHQiZ1rLZChORYkajxU9scTfemtyvl3tdC/PsVCIkV5E6rnHhuCFwf1bVEtw+BYReyKWqdNpzGNO4bw2cA+89xoDFQGItgixDRvoFASC1+3t5ujHcShp2OgrITbCVO8EawMkWJnhfEKF8B9MiA8SBtJpw/d0NhqeXtx+5XqNqJGYNMr74ERnITvAQRuHaavlsw9zY8yvUXFyFq6Iz9sM1Jv6bfshxOJpb+IZ8FMor5aiYBiRDtoR2L0emT/LTftQhvBZgEOjEyHs76BxnvXYcxK6hXeYeSfa7swVKFqYTnX47oD85fy0t00tX8LqxZ0i8biJDq2GVNowkX5GQeR1UHFl7HrBt1adGzQsy06LJ2UDrVMv3syLp3wNKyG4+zScHcceSpnxxvu4ssDmHsYpKu+aBN4beiXs+t7FWgqNVmoJrC2i298QDXPQmMEEwqbIkc9jTwfOwfSk4VsMo/XuIKLdJyRExnT46SagN9weI5ly/ULfR/Vk/HKnnMfZs7u+vdUglcSGDAsRe8YwxHauMXrt8SKeFD4OsIld02Ie91PjfYywNWO6xZ9f1OHGNrfpNIXgtujaf8L5GKE0jNhoX4ipm0+3BTr1TP0qhZidO5D8gy0K1AezWUsI351jw6W4NS2mTo7870CJ4X2i3SBxB7FK/5V8pg8Z5Qd26+vtgwlwY3X0Ey9w/IKUOGtTTzqjlm5+9IBX462e0gRWsBShLZ/+c5tzSve+7cbqbyuwc/dJ8OV6dzKQrQqhKqkoTj/ogsxW8VIjebVkIGtaJuRmFFlLOlcGo03yVRw6/5SSf/fJFHMnt+rHRknBZQvP71Q2Jwf97OB/km8COWJFBwzfU0pY2JLDM2FTCsjsA8od4FgygmnXHCJzJmSm7sPNmMIHhV+XD0HkuQdixRyRAsue9FyX74EhB4u/GBR0nq7T/cA1vhSKjbrb48uThE78R8GOX4tXcFFhiEQd1+lvb7jLmSWUs2p0Mgm/PE6QJZFCeFvI/GamvSen2bIHVZKX3xhKTVBzcAP4dVVcjYHKqXrsQooQzIH2qMsSM6V0qKB3TmclFBtgZBlYiq7ed7w5mwuIJBCeLLogGNhMSTvH2U7LfbinD10JoXXPRSxfGqeAY8E55mgwlPZlCxVaEJ2temMGhl2NUIODXGV0Dvwaztbi5QtZiVUwyfsi6vLI/PxObtBxuqLPNOxjVIJlpHHqBvapDCidnX5hnqSpOZOdaHQ8NxQTE/NxIp7X1iJCOcZfVbfzEevabJya9S0G5J/bYkFawp/5bTpcDpAEntAH5BxdJM5exKwAGu4ebSAWKIKatWwOCdvvhXzme6UB2uoXvtm6YHflp03SFq37kRMmzaEjA6qqYUsai5My0N3zRTFdZt1vllT3CaZ4IEGhSfibk4eNOgJHDR+ghosVV+C/MguH13SUaMbjw9HzI0Ts6pbYvRAuNtNXxvd0hvEqgeLDdAllveog905mf1xEWC0rX0J32fWie74m3Dd/t+U/9mHeH536pDdA7txntNtOwUZ9m9GoRie8Xfdq5mW4oXX+UG/MZqFr9cnE3kpRP++sD9ZMLtdpQJjfpOmyJ0GQm5r9GhoHiiO5gyyEQtpH56XkzvJrCcSjWNBMHEUFYAtJE7KM4nyzj49mfLoL3h5aocRH/tseub0ZCznOZAnlC7cLy+CU0JAebiMCg8gHsSoXXIQkhUYvRqwDtbUNXDARCfpy6tdOgCXBOiZHx0we/wxVoN0x95+zuJdejIdnnjlgbH9uxk4YC2MKX9j5r3ZyqOmDpZ9puvy1HeORkpModZHYbDJ6mTpji9vlyt5I1yUdGdeQH2ZtxN8bzbtOwlvIr+rVS6LoGbnPjzvhWH7NOXdGuF9FhupdJB7ls3ffy4j+WbeuwBGEeYD7xye7MCT0La7NgE0FlDmCstAeH8A1YykGbFHHsYMJ6lRW8vvrFNrco9lk9uDVKHBmhP2AF3aYQNZcsKQg+0Hf5rFpCwGjhGtaRvmccQXKWmO5RFG0DPzaOpYLdlpd00RyvZfaG8GgdoiYWVKwk2JU7rtG4qccOcOAY5m26q9CHP4C2ZbHVGSWNfm1wYXpV0MWoJQGuPzAhphx/dwtYhMrmSUGeuFHwcrzeUMGcZzTukZtAkhdvBtWaoAWgu50mUYE+2f4gPyIQT1RV/wTL8v8CcCTWzHGm/AXUkryxrMfEuVYh0MDp0PJSH0UW0PK2njanoQWS6SsQKabycgH9rol1tr+LVT1XVAzU1C3lNH1dC88E8JMLrQt0n0yNbzQZVwCXcAztUSSI/dSv/d6y8jEJTxjbfPwks4tZogKMDpr+iPXykGefc9KV6mkj90AY15HFXpFQKngv185LM09rueWk8LidtaexH6iz+sz+ejFUMiecbuogvB6m+3ABbH686iQ6k3YvKqvRqMmcTJKLkDoaTYCOXe8Vnog13dHpswHRotcOxPohIl8aQNBbL43D3EtVW4dU/ATncVD3VTY9anPDC6Vl5ZS83G+nlxvADBIf4S+kERlQapiBbdfYXuDxgtJPxcatb6Gvo3S5xi6ZxMuJXtT9RxkdB/QDvRWhwe8DbUtgJCxfrl7zFDm6khr054VF1Cz9Fp4kz8iTBECK3bPz2Q5wDNYyEkBtLaG/MSkFgEEbe3C5OII02AT4ivgJ/iKBou93B/NreSHJwAEidkak8bUGUHlwcORExivrE28LTBNfKTly1v/4K3YB2b0fTjv4pR+0KOgg/jkUqedj9S01yY4NuoO3hiPQ7yQhz2WseerrkV+aSONA/F7OnInPXfCVsajkNdEOaNYABhi+L1eyrUorVPbH/7SDpSeo2oiKSmg76MGBniEXxDXphgbqxy8x9v7sZmaQJpVSmRegtOCpAxUO3OxfANgPUI/SM/7X2JoYl0mxmv32lrhuKaHoFHTvfKOe/tN34pnX/eBQBCcgPJNMApQCmC06yLwf/ySBYuGVsp46EEv1+wgU/0/8evbF/rNujklymw4xBFvlyldlnbDwCJjtcq4iLXfIfmJ7X64opKO+9OZZ/ddU66mGZVLESuug9dkOGFX2UsRgTp2VgCwtoVJodtp1k/oWx0PRbZQ+k//gpRPh3KD+IWS5E4YvenWeU5O0rVZpEEksm3UyLLMEzARwKhFdihJYi+IpjK1pOLR0zxUSJlFHOrFXZoEkEuHVommCtyLLsDzzsqiIFs17ZCrm7N3r05HVSuFFO8mYGEZY68Tgt074Y1VsLv0hwCRmhoKcP2EPwLCWCmqcagQoh8nqcLz42Xb8p+A4BAvT2G9q5/Y4y3+CtzcclvoaJU8Xt0HY//xeccrlHcRaMmR1RjTpHlz7uvdklUd3AArH9/rDqHptnYiszLRl7fkSK6sVPdtD8TgM18DFlh8oDh7Vrkh+nl4WRVyWtXfOa0cbOwNOktEZXZd7T95sxMfRGaRkkNFuZQCuLRWtO3JiUpsYv2LcyQCP/iBHW0azBIhcSA8vp1Xmo7Gfmz6o9aWAECxiFnqG+xlhudzC8X9ROv+kxLbPvMq9hX7buxtsVxjxNlF/+TCS4PKFXUC7K0C+ShTRWJsTJUo1cxyzh/+9T1EBY/xL9MpjEW+Ef4f/wE1xiZUOeTOd6oBzt24nJSP55ShU0iUWEFgMKf6WLyGqRbk2d/YQyfFHqezbsuhJWEuZ4ULybWeEI9LPRG9o6vixPSnkTGvOIHfTGuwYMfXTiAJJ2MnalgCNQmei0tC/Y3cO/di2BihVEOlQ7+MhIy8e7/kfIykEurdyqqXkMdnd0QJgyDPz7KzM/Sg/MWz2671Gbtc1gLkpmRug1XhjCAf7nhH9f2+auNyEus968KIP7047tHhvphyf3sX9qw9jI+ZGcGI5wKl0V94jJzAI79bnaGUvIZVT2BD1hawekU/ZeAQvZ8faFFttviAIvpBwXD485wv6Ofjh0XhpFqAVPDNBJWX3k8AzX7kU0hyancjYTGQWIkv0bdseQkN9l9rm2yCXyZrdGfMiyNg3SS4aVlVF2APVyTnME8wDb5ngJ2pSWUq/76UpKK+Hx/fc+bS4PmQ60UFu9a203zEA7YXWIfIy8TVrxpULWOhf6rTwpoTNRfXn2Fcaw09G6218ki6nWnr/c4HUylnD+hN17QUg0Ari12CMccgl15dQYthcozL6Ca4X8wMB8usi8O3pgckJ7z4QZ7xUl9BoZtQ3KdqxXv/4EsnepAdA0ej/OUorqljsABQ2FDd5UKfiolVVCtRwqsz7cByVMYBaenDMKJDd7bbWbiHjQv0UZtCViTYtRSu+JAzsAqHBF8RvulrjIY7WLqL7wPVAakjTOPKvF3FPBci3RytIHY1Pa+fZ8R0V47iyNpYRIY7i9QdP9oAwzb2zIsFB7xBOXIMYqOhRYQveTd7c15O0VcQLXiP014NVeoMqMrv9ZYncgej3baHwTy2vhRbj+tkYvKO3IMxmHq5INZUGnoq9awLis5h2IZ46R5wwva9rwFLkhzPUcJAcEaEqyAurBlwYyUjDbcZAd+ht5p3lCNIxJo4NS9luqIuzZcqBEudY61oIErLd80cTciSgzvZgb0iifPo/OcACuT0uUjFMF/ufFFnffvdCRqLb6Jig1xYFASL9lfeExYvO1WGQCuO8fKQ8KEXVSRcORNQWTvtQvSmyk0xNt24oe5dn96iWYX8K32pDwup5bUXj84ynODjHoOLh+NWb4C82TeSrLBzw1Vwzy+gsCdXJ3agJUXzqiC0N5PQdhwsKsZD3TlyeBkhB0xw88L08u+k34CYegwkum14C12XV3ZzLvJHVxi9OklYnSh1ibcR784d+fYnDb6BD9q+CH5R10MddFb++YeOlZrjB9ujAPQRlIpWvCODZ2xefTR1Ctyi0hIETMTVhvY3ZJL+68RPIXbvtmedQbHi34YdQ5VpKACTKOUQsGgn4lFQwbec7V7T63lePwfVXVvozG411t7cJvEXdbbyVeyxSSeXfh9JHKlyTXhwBH7uJAybCX309sM7p+i8JlpUrO4RNB0HSD7B1EGBu7o3sWitkFE88mMc2ynRRQjnpHIuTpthSeuq2iK16HSqm59j8wx7p2NyQPN3zx9ffgSqRzuibJG8dMQ7FiYGazbgcYeLwOZdQx+usYQ5Tr+va04ZEoOzcshEGDz8NVpeb+DQ8SPCfxxLZXRrN8ZmRU+fUwsxQD+K3d691pTjzlEjSkTmyGolCAh+HMbGyXKci4giiLfJPzBhZbOT6WxFjJGJy922Q31VhvmUb9hCk+BEQsYL06Zw0ufv3pgT42u1eFDFIL4kTM5yoSLJEoaWdVR/V531QfWkiv1sQeUbsz6MnCENCP096Uh8+08IYxtP9eVUHb2RksDS+HJUoDhexXkHoCNq6ALJI11xbcR5Wsxvlgt6kx7KAbNCosELz4EdoiqvnRPHxf8M3HX6s9W+H58YkgE3DxRIPi4Yg1u7LGED9bbhKNTUxPsP4uCaKI28DxMQycJrCbkvHxbG5sNDrkYu2BvxMggq83ZLYy6H4gA3PjK8cfNBl4lhmhUE0AWgjr5KrnFVNYCyBaYn/cTpGeCEsi0zPN2H2KG+N8bi/TTButZOfd+v67iRrckeIwyiWF6CVKdBH86mstEPKe2R/ZLzHgkGvhLgofU3U3EJjo7ubuhBoLauG4z5ZyQLI0YzFk6a3CJDzLigMx2D9Lli3d/C12+pK7ok1ArPS0raTWUBp4leyw9UU6X5D54/Iu2E3luJEuHAwS7jAhh+noSKTr5HAQAoXUmG+noaj47+eA26RRanEI+NRxEHvNf7fkLSKZsFpdOhdxpGzcCn0Rkg4eoAqvj9xr1jszpJhdoK0IVvxQHZtcA9sqglgZ+S0tRaqI5hKoARrJCG45kX9cj592/5JBQdShpF6EAXPJQaIax0uRsBsx84CDh7sf7shcK4Ac9Pg5A3M4DYMHUtT26bBpQMFVBy7WalR1YEiC5ErKmtymS0IT+a+uVqzhDUq1GvMEF7CHzd7yjOada0xbt2xgmh/tFtzIVbJeKw2kZXef8MTDmEVAvzPOkY91KscjQWgSkRn4sILHKM9GJ0FvXLkfPUFdQYqJZiEdwaZL2axsYVaFVuazgzlzz9imqCoZdKA/hYN48EOAdHbpdkE9z7txaQucaS4SOd5w0GbCI95fqSKTnf1mLQkk5I7lijzJH+ndWaEGKEBasODEj7p4GKtJeKVEzezWM3O2rVg/dmvxxlI3tocQ6p7rwUfoiFGJIKzT1Wc5vnVqwlfEj8QxSdxYQvMT6aciCO5DAs2DxKbXR7xXktPtTj1kPFrX1x/9YC6LMc3GWORV1YHJWXqyki7VIRZiGTd/DICQ2fPV6FumHa6huAJcqhvVNZtExfrXgBmk6ffv69f7ADKur5rcPaZCat0tgVcauUdE+ZPILb+0t8Fb1BHxedSiFrMbAiRGq1tizbtROhw2PGRJMwM1mlzWaxnVFlBHI9IiG/3UkTUz3fDPma70J4IYS7NHPkYa54dd3BMvcbInO6jic9nTBghRv0koFBp/TMSrUkqWFLIYxC2D5Gm98TlCiRHniEegKLBrTNb3qWagLHdSdsuTHYHHgcL1b/tjPIG0Dv8y+Orpo6PDx252KAqwEvV7EcHNnLNvV/bNfEj693iuU/u10kgIYV4iYva5A0X8opcJ88R/M3/IvhA5JFzN2TrmXrQQOtUe+YI1HehZHWmnQWW5Nc4Xgy77JQS+BedSu58hlQhkws0LOSk+RZQ/x8sxrM+GArgH33hqiU+CvcNVewxsqTvj/ODaE4pVGD/BEXc3wi3Avst1WAnoxYCPaZGfwROtwlKrL9CgNKBxmEKUeQoMPL4fXgHK9NfdxKlkJzuSN3GOmyRVXbSjOy4ki/CkAAyTWR5oY+O9gNzcNw2Dlj+/5TUjmDbfD1n/R62NhUwGtDAgQsK+1v52jZfg3rbq5DqDH/KWVDA4RI+62bRfFIM4xFESvVOx5ul2ZmbmdD3w4+ccv18Rnf0qZqXL0LwjJ1qznMwZPPNCz7HWWFdrf1hHwA2tStv/+AehQBBsQOjlEU2QlJgI9Qui2o6054bPfWeZXZaFxOqaP12DDQkt7pP9wDmj56Rzb/2dx3ttygOIs75UjKF3bHUk/DiAVsCIsh0EM34A59u3Uhrf8JOoCgrrJvi2wVhUh5GuYsU73jO4l4Kbb5RULkU/5VIWj0chFaP+x6CPAlyhrowEhypos5bJpydwYg0JE26PBhwGT7dvT8I7MzXDQIofspXjg58mEPUGFod4I0A5zmBweoRph/8TXQ0SV/vZi7PCE/Ip372PKA9/PudVuoL70SEwQZwrstmvfPdFDpMiW5laqQUShXGjhBajZw+gG4Hp8tNm5qBXxwQGFWGiolMRLF17JYxKtBg0MPwxVvzsEuzqVRmZDSJXc2r0zAk+0RVGT+3GqlCFrNYAoB/vzTa8ZQ5oAmrlTJaWrb67vzLtDYGPmoFepwKNvDN3QyuM2aCAWpXsfqH27mv19tRDDuRTBC/unwzLdDRWK10TW5TwmhC1oPtHq12gOfLtEOzkEK+PFxCC/5mGA5hKLmItNBOz0CUgp1JxHtVh/TCNBhOWYuC5eMt2iNvZ58E/NnZvwuAG6KkRuvr39hvY1Kll0JPFzMaw3ujZSEGpnQDWM3f3FKbfAM3JnWXKoS5Hq8b7+rJWkNvk9tJ+YZmYDguixaYY7JtQK6dQnztgDwrzbjg3Yts7mKlG7t+4Scan9fR4eztMVx1Gvx2Fb8A+9j3j/DcGzBeysx1+G4X653IbnOc5os3nRMPBZJbrBM1ID0bG+Q39NeoPEkdDRQwXoeTpTtnTIICbYp/XLQarJ7wTLFe+4SwTHHT1p0cUNxfMTuRDMfBsJSpJueU8WZmDoHc2jkjtxAkEnr23Upc/qwnmrxxhuLvF6KTvdRHDKClxsFqbYA4j+o8nZVN/iqiu07Zu1trlBxQjYg4ATUHqlhF5lyX6cSiN4SLXzNslEJP4UOv5UJX53lcdpfikBwJ51WGScD7wXTicb6O+GnX8MGEjGIQlU5OjkcAXgkmiqSrBkqqguXSYrGRg3Ig9OlNBCgNzWvhACq43efS/VovX2rSnDp2JqrIfAeCkkKScL3BkI97Aq1j4+ifelpl6r8ua/BTJuZaQUDMJ2bypiIh8MmSblKveKQIVqr7ChR7KTLksJbdqJruMPgeOm4ZRHjyyHRf+OGe8h8TLU0unpvS9YYGI6emuc+Id1qzqqWc4nR5xhB+ALHnH7hQdBL56MCbOLjAPZQ4RMAAJS2y+iQDFRNWioTtQ62i3F3jVaAk2g6z3YNNh6j9KBWd7QyVikRvC3Hhs9HRLwgHkz0nFlGLCHbQz52S8Rpeis4fZ5+ktCvpxF+XuEz6jA3bO7E2wJLXXXkXpHnxM9ylgKO8GlvJXnTlCeibZ2noLUyyyDDER9tlYOQ3/qOkmSmc1tKDWBJ5zH0VPord6W5dEBU2hL5ZaTXIJ77fZCZ4OVGxXcm8zTpDIFOWNnwOznP0jsACrOgLw+bu3L3nmBt9s2CVD8yY9AuBmmVD1cEfqeNjoTRhO2CwwhFaom7VaV5QNOo3hXFVcvnESZ0VZQKTq5vnEkt2ycHZZdEzfsyAh2zvK2KsVMqdzNkRgdmcQEzJiJ5+aOCoPZJ7KYerNeO6o26qbBGwSEWzxH/BBh8DELKADSQ4NiGYAsHyE3dBdhUls7aTDm/q8UQouZ1+/UMCn3CE3njTqXPgCOSBTGZiy3osTulmUlKuuc690p3TfnlnBNLhRatECf+WtzteIafCzZdcnsZK1+WVyPBrFleVreHYR0D1EdY5jrpVRUnObsQWU2CqJaDkj8Zy1lSGfToZDB6CEu8YQAmSSQBlfod+oO1e5m6almRJ40kp5bQUio7F/tIp94kCesrZb1+Qb5/l+mJq87S8GkYKPSgEKzD3qXF8YiFRkV7qIww5fwm/R4rAH9Gijug9V+/jzCSJpi79qYe978px25oJU5O1KXOVPDkZIOZ8ekk8WCXtsnOQlhoq24dgtUOQXaeS1Y5Fto3pCFg3uscQOxrGZptHyrKbNClbJXeFdksFBknbFP0pu4eWxw1Niu+k+og97IAwrnfW2G5GgzBKnNJrgnrEwliYuQ5eaUkNw4+BlW/b6+6iATa4HYiRBtFiF426b0YCUJ5DjtHQ2XCYVxH0w7VVSN64l2+Fj1we4cgBoO9vzoQXpm5UlXF8MKu3y6xEgCAfSgI/4OvKvxhuOps/4w7KB5Ki5xhBjxVnEnAmDnAgLJ4a9ZWxAh6bHnvfvYL8Drg+hHW1opObQG3GVL3a8kx51+nx0ZQ0qqjtrSs+O6AGIQS9Lkx9aw7u8BR0Kj2urQfrVBMqshVlu7utRz9zZzU16VFXmshUtk74ushsk85rrPqU8aUBCglcVNP9bwsaLxkpOJafvCItTM3sty8S02DdqvjH01GF2Wfhe4Xy+lwwToCnXmevLnWpEKHLaqxjxcEYSUxRqqcBJIVDNiEgsmMgO+prAj5x68T9impiwpivheT6tTurYU1FlNM+zPam3RQc3CofKh+b2UsEYsjrXaCMK7BfEru8+K+p+XtUCbhhBGyqivtPHcVftZjsomvWM+OhRop0OabgPfJ6Znx5oS1/LVQJNU0K+bgkITeD7vJEA1ek5UVT+QHplPHmxKh4ZBC2PIRW9XwoNlMKM8XmyrwnHEV6ERgmQ5afWqnSq/Oxww3McA9CC6DqZY8WNpnmdDGDuhaMU2Et6WQIcN1GNFz5gp08Ue5SZ4XbcIW8HLzs3yCFB7Gb4YOgKWatwgU38yLu4XYFt46fgZTEj1BkagnS77DQ4sgbBQhrcVNhLdFfkP/WU/OL3J2VEfO0seAYqWKinkDn00TWHp5R2rDbxOejT0MSK95ehPWkbthAYp4sIOPzgTzduW2ue2Ps5YkfoakOlXCkwpnh+opEo59kE4LInX2/3mvkVTDbgtIUXv5jaYQo10/6z+n1gZ8CPRd0zrAIqYhoTlqic6w3QT2x0sTraWL/GKKJIekG6+1YgaUhfSPbOet5cRtIJ9JGGA1CpLX0ZedN6I8Ns9I6U7wI1IynC+TJSjs1VpL1Rz805W9Meb+kwFPE2NR7ETWEX6cctb9pk4/JtOAcmmUvD8ZuBryk/8QkyVpCxibvYV7Z4y42jHQO4i+9nIMv62m8OIaWgjdHToiFS86VYxAPeV4SJBklfporR9czPmrUh16b6Laz4+OTSoFV3UrTNqTq5PQPCXBV2rvNideg+Ug8KRrOpul7XvKfvmGfj84wE0bLSUhxt0djkEIrJWlz8IGZyjXHDqIwx9SKWXw31v+a0gyg4cT33AvoDhyUfrrg93CNhbxS5SMt6gLvF1A1rT31P7uSBkGcY6qs7Qogqt3O+YDPBfe/5heDBySuui2MC8Tjw2gOWw20gTT1+CTXgVYX3mQbRAUBZahddGRNA9SgFtGhaK+xL5pIdivCi2Q9Nge3ir+F9Tt7ycZPoa/3Bnlk5lukjgntttRRFz6J4NQYxCezTXpYFiXIfTZtSi4J4UjnTH5pufVYV4vpI4HFWbTw/zZffHru10rZtmX6i+tt/NjlOczT5ibrn1ubfddXNfQE1ZanBCUnwFX5Ey5qIEox5+hsUm3v1/L8j+lzlvGyXendwiJxDZwitIEyud84MjzOhd2NBvMhZeKgqzwSINqVs8JL7tIOWhzqHhzLdhVLMDfEHt5Axn0K9+HK933albSHkdU8MO+icFPPQGxBJUZUZDinoQndq1G6fELxU5ujATIK40FoiV/5yC9uKviYiolEe83kXAUrchsZggIzVTmAnqLOxcX9yvpJXz01MTbchuZxD8kHq97Knl3pMGgWn5gZE2TrmEUEzPS+7Xx/csh8r8PcTWr/kGM9oP/xSUPnRMoQ2P8NC8gwXqWu3uTYndouI2ZARjPS7WFMpPtnxbxSlV3OxktqJiqlsvkpPtGWsbYAd9lHLs3szqTgDnNivmGtmn4somoPOVY3arrBjMMQqU3rYUPajBhg/W8aZo5Hk/MGKAL+TlzUhMQInb/fLmC+9BqaAcrlSnG+P2x3x1WEf3RG0+oRfEElaqacxKn1EXx8q4DZV6rXVvriQAearXvj3WT1XidDqxDsomkKNzq1/GZ+b4E8J0QiUuEJf0EzCukiBF1rV47ARgJwacjPT4cAVenQJg/YfhWDXdix0Mtu+Fo4lc+bxKhBCCCpPOdEK9aIMkvj6gsRhPGmqja30aeAPXJklEXrUfcIZwpyuPpS8wIzKo1W5ORH3MfdmmAsqQofSt1BQbkPVpUx0TPOCF8/sJ0VIJETk2MWhcisYQ383OS8Wrb1bMSE2c53VkqP8jNS3z4WjT4Ow7iRPlVX8cHj2RUtVGSOO2SEGxIpcWN5+0VQTx8Whbnwntih/n+h5q6Xk16SZSFDpUId0DK1VMOcFexxelrnLZcPUs/pOuhmGjOT+bqSOwzN3qtgBc++PWQ3F06HL29SFo71WGOYMs+LFHjB9fb8qDtfMg3d7zLAGKk2ML/F45wQPThy/oGPUGPGXmC28zPtJihF7osCVgIrFdPdE41NAJMfS6p20F72GabXZDl2Uv9R4nEzGC4G3dDKHLeJEvLkLSkeCJ3OMnQhzhveTFiJ5n07osvd0y3nJjcyqYeg3Niy3XXbF5h/rVolCIa5oklAEns9/yOJuJ0qCgsU83bMpqb+emzZkdrDuwdYzzplBkzS7WzGqewIUApO8El0wPXs9DyCI3cpJbqfYGi/uw7wUWYC42Ia5BdKJYWcGV+lRcHh9vo/wKxoikToYhXgQXFS+wW6jHowjhYwJ0hzNOxqqlwi7UskpUqZhN2yiW1IW7umh5VRvi8QAZK6F3ys51YseGDz4dk0xOdhXIEp5Bxf4dJJ93eM5DSw941qRAjtZTUjUIVkgBF9d/Waz/KPOFb3tvhae1Vbk88IgWytmpg2NxuPl3CN2YQV7SJyqSAoMhyUhkwb6EXz+shRZsGj7i+CyDRDEguGCk21bTRH2QLoiPI045VnGJ+5pCoAiZq54OT4UVt7s4DYYblHFEWUtFRBfkiZ4CuqUePUH0NNB/wa4O1YRbJ7J3W3gzltxSWxViHDIVt/09fDH5q62ZMqBO1vNETXXM0+dH4NpEBjdajQtrYL0AcQfWsw4majFgQ7n/Za/LfSo+TW0ThvQdoVgEpWd65Q6/VCuWukhTHWY+DU5QjgPfZcae7A4bNm2JVIV1Z/ap8N/nLquICBcRwpCdwtq0u3O1TIBQVfjgk+90VmHtfI7cOYoFq4NZW3AbELZj2oiNgTvC5DgMwYwX6wt0Z4kRkYtQr5rZE34U4EF6yoIVCUoTitfFUkXIhQGW9BxX6Ns9nrrvdiILCfNwHibMFaiFgsXmEsrk4W2obMtJ3XhdvDAlU3tCOSgpAx6DFRPSXeGLO9vyGAM/F+Rt4FH310J4/KTmTGozavUwKYeTla25Lp6QDt6bf8xloKaQolSQCCaFrb+N0qsE4gM5+CsmA8RQE6OSPAB/YD7Af6mi6M5p2Gtq5t1ojvC7EZvDLaQMD1pTILFmT3zvSMBFrCbkZfpuuy9C2+ApJnDWRhpklSpXz5hmDCoeH9hFcIIIgmbnSZOivs5UuNwPQQCgCek+tQzNTFo1L6K9kcvutFqm9JA/8KFeIcX+FnD9vumK/PuUC+uFiR86ZWk5rsrY5scVmArE/tSCtscwFZT6sLvYDMV+jeSZ7ElgVXBOZLdcum9LyoGckgFqLGlIYkIf4E90aUZhZfEgSm418JtaHnNxs4yNq0jKerelNMPg5V1GbH8ZcOnfzab0W3xnIgwbiSSb8Mhw3NaxcZnvx8uixdf9OKCO/gRJUfYaC56/ZcNK6hO25JLqTXAoOwJiPcxws379xa6LJVPszSWC3tD/BMqR6WuNV8D8yXgcLV/lXFgV9rKdmRsAaHvxSVMRqedjFMydhXQaS92KQsNU0n7LNm0YiNRoQdBmtcrQlONU3N9DisoDnFppruih8XYLTYt5rCUNzDHQPZMj2moWF/Uwq4EiS/ZLggH+YtWXvNtFEA4ghzHV6jTvm2HrM/npa6ru+x4TX7KAju0XT1JvsG8IZhz7ByEDbNyoZjOCHDZGd3AlEkMWnNlMqcXkbx9BNlTiQtPBbu6PoNRWK8tygL2kXq87yew2AUN5DDYAxygRnVbAeLfQWm/wbusg0321fxbplBJs/K18IgXPOnR4hleZif7epD7oXcLSGU4CRTmWy868ejJYqyOe2941JdSNn+gguNIJN3pGdARnEN30xzYQvX8z8Z1J8z9CNv+Dd31hQDtaqzc4NCXiJJZpSVqJAHjaCdskHP8shn2t0+guXNYnnXSToCD+espwd/YE+IL2+HCo29J6ZqjzE8iD16z/s7m/ig04B+g7blHly1Xxc+kmMiKUqWBTJJbueTZH2GiSjYeQp3SJfssUOU9UNo8+ujbjBCFw3VPQczMqm0d6nSWWPGndOW9ENgw3Ok27h8MQgkNkNxKvyGBP7DeBRCl6KBuxP1gNTv4/RKmg9EPVzD3g6iQyIzaSVTpXy1mSs9/1tT8w7Sr1ZacsMCXQmsyxAVkosXdsXded2DZOFE0BKomJtkAEpJO+lGu7dGYGbWOeYWshmW9ARVXrYyK8zPDbb//3C9A5Q70Nwuq9+lCMhzawadZbBohMqPKG+pxLWlSgtxO664PCFIfVYI9tVmVn6HYO2/2NUr0v0b2OcR90A0exz84AxQf2QnDkOCjtPUAiIwM/HQQpFq9IudZ5pSp1bmfEODwr27jva+TIJ7MLXyZs/w6Fqnz91eMIMsD39V90o06YBXNrAY0OVBdRACjldouKEaa8QswEQpw3ii/R48IHLtQAyqmVkI1BHrVTSRr7gviVJKbX/22M7910oKdV7PUiWLsotCbtNGR24wifL8kISLJXS7KHUKywRAhYbMbAkU1Q5XewdD4AmqWvIYzobPR+i+OmoHJAJapZvtM5v6I1P3pHX7akHs5jSm0qmUyDpSgV4ijaLc0Rc5bpJkGEcKX92uZ3u0BT0dYH2fFMK9PsePUKFEfA8IBGZsPpPPbxueaWgzXliWHR5eBHzPaNykP1oJAxuDz1BMujjqzHgZA0sOSAhcbqc+1osahF78IEtOzj9DgceR3QycTm9Z2a/qu95KDlnRejmOPats5wOJ4g0NpNb3grvwMTjnx3Aj/RjOzuDJwVu9aoLcbGXJoqE2LRQj6ytJEd+u4tv/m2WxDmtxW7SucJBwywbPro/ngqS+A0Z49D7AFSF4qYPtAfgB+4ERcoLh8guwsAHNoEDgQ8X88vSFsUUf5itb2lBau6g+I7vXqdGVxnzCIoG9BYcIoq7mi0bSnWcB/xGk5hd1qKwgWEXft2cIY9Y/QC7WJ/OXLHrRRZa9Sz1N5Z6ZLFVqwZo1eH+HbdDFKzuyOOHnNPrhcyE5VLkq5nsQWBYLYo7z+nYR5Zy5jw3Du0Hgvvgi3XMT0mfHns/pw9mrAQ5+3QlFI4YBsClGSwpa7dWQcGFdiev4uh08lN3p0G95/cad1NhbQrYP7nv3+q+oay2Kz7NSBD2XByjyI+AD12BWfNNbFqh30HpL86tAjjk+k6/q4KyBqXKxqo9aY77BrW4vWP5nAYus7fB0EnjbWVcm/OuGzHOR5+TGB6h6QbwAWdv5FsUE2W20m/YaM33wgMKog8QLIIp03gKLS0l8c4Q+DNC1l1R19lvs6z1PW9zA96E3k0/mregrbO+AJeoAIcREhUoHR2c1nqqWlF9m43l16618hj+CM6LJZYcJcjOIrVSKebMKufEeX2YaenukgCY4RAwbbwTz4y8G2zFAp2LcVdKh8xXswuLIuMI0Ut3fFPVHoxxdGhz5rwkLrT4iLuLC4Xjt4rkhZD4nm1oU2ya700L0FM7W046cIXcgxtWdKLoyjF1l3TdzoFlsrP5Es8VRnSW8iMwbp5wne6my1aERTMfSzG1dD2HkqtvIzMQGE6sttBRhovLUyDg/c367mUXuD3MNldnet2dY/HCll/OKwZbjrdzihUtleaECNk+T67YizI0k54b9G/2izJZWdrEFUyBwDfBb3TL7yIO220ctUFNK9k2NCEZD9AlACBKtZPnIl0xlSshHTau8a/lvU3t0E4BPuttWTmOhBRsegdvrsR7TdEtwpIOmViVB41YpwSyV0EwbkY6niS4xXAKXRjV9FSXphZBIXEoU5O4cn7sc412SRhSYYyWPkkYZlzwhVt3uRUpKsXsX8VnSBPrT0yywozwLjfjDD0wzVhnu/Ch2CohUk0AlSK3FLNzc33VP1kRWhDxLM6aAGkU7Jd7hVUSPV8zALCYXGkPX3+E25qRmXSmkr8iyIzTqEwgvrQk11qXDtQcS3AhIO8+PYz8dxln5EV0rDWTkdggkREvP3sZiTggpF4mWV6hyCOVmf/PzvZAvaV4VcRAeBb68gk4atx2YKJkRk+P4QPIG44xfrU3VP05tj9lJb7I/y4+4edV4ADfYEWnl8mgGZxV0+D4FEJSjIsjV8g/Xh3m5Fs2JCyfni1xDqKf2wbe2fjoIE5l8QVFUzI+1dTEiXcrG/quJ+qddY17mX1HOmeAiiRhkeg6XUSXzXRO0IKSmNv/hBk/7rKblDMdL8+n6mEZKLOQvSHkBq4U9aYWsKhlgOCIAXrZP4F8XFkrCdF6XC8IrQRPE7luyZl01Z0E1m1zyExE1GByFPrH2vwXMg0IFbNvrGaohXBfWkoDQP2sfifdNcMzZ/PTu5I+XJvKP1Uq+s7wfkwxF5tGv4PCnA3KbOnPQqi6/T+jur3GEjD6RWJ14wV5LHAjjIwcJw53XFahMXrbDA6Bd+BIkqpALTK5XkBulHoPNrEqNas+IWJ+hCcrdYy1ibnYCG9ggnr0/MPds23aN/D8fZS8a2Ja0NgMpmXN3JO+7s6ggxDlFO9WB6NddJSob7cVY88vDvO6t67ZVxAQyl4xk9COQneoII4ntp3udCJPxgYS4dhfTfpWqGh4h7Sik6+P9H8dh0qTfIK+r57n5rwf6pI1c1cfQPL2sRyJE8AOuyylFNPOxUcRPKEsGXwvhA21f29M8Gg/WONKlzUPpcYkCUGSusZtECFliBMYTuNzFNzN2PO3SIlkB+ajxYuMh5b52X/6AjRLdPmgUlG3ZRCX+R2QyRrQoVr0ydpqsBC7rRvUUgnWA/z1ewsHuJ2qMgYDNbMkMkj+m4/Lmq7Rw3T9ca93jwO8bjwLSc8LPGSxH33vN55ncLA9MRUuI3B3AKMlJ1kv67ziK7PqChNJ2STzZhgwjEPv4lkdM7/jwmZhpch1IZz92LhQ+B4TnZEcGhmvHGOlelwi4AJlqX/TOIcztmdAA4bjaj7t01xCXrlDi2mtTQNLh9esIwTiSpzMTRLmdvqA4i5RoIDV8P3S8Vm4VhbVHRMBph60GwfknMZsKaehYabM1SIfRDpiD61/wEJS5KrvdsAKKLsyle4oDq+L2xIRS9cfaxs+vA9ynixfdBxuLLZiyoOLPb6YxQp4XviBIwNXNyntPbvZvptOp10+sHC/4qhxuR0u8ZjWcCHKLgLaSFrl+idxM91jpNSe/pV+ZFTzSVBO6HCX1Ux+/Dh2MbsaVQJRY9dhCsSTw3GlJ954+EX6mWhFePj5Lq2Wzm5fEeIDM8G8xWDIynIBW/PKwaCl6MMC2mNKwcur6e3HI7DoEC8eRZso0VUReJohOJYyIKRvxOkCKDQU+ccDefQqP6TIGzHG8yaD4ssmusvxfIm0hw1kPKDFQm3PPQTiWHF4wlqKeymB9uNRgsIo9YthPGqXZU3s9VzL/AbsZLkHxKTPhI06p7o4IDqrtfv+ykIB/UIEsmvSRnKU9dhy/CUQ0jziPqsZrg22hFZNAnf4p3y0HzyRnhFY0t6nxmvEl/gTYTInjFxZiDq5bzbhWP5CRTzv3bdYfYhwRJ0vXk2c6nGQs9nEoI/AaV9mjp0lxqV/sF3HmRs9mGyk7kdgjSU7wyz6VdStLlZavbKcpwODniWUNpcsCe90egf4eYIp5itCQ6Lkpjo8UAfTsTo5FPU/WdI3cbr7U8aOzPc+YXVOf+zovLx8/HHuuemgM4v8laPwsdSKIWbhlnAfyKVXe2QhwVqQ4Z2SgTzfAvPK9+jrKKkB7gfG1/0Y6jWiXzpnh4m1PLAOYQRKhZ9Cm77k7zh6hCLRxDYoGzKROsD5G/D1XXHlM4nSmjjK16oGYOiR7rdqAYW1osHMMgn9hZpEhiKAnFV6614cWsOlEM062In8937bDyj8k+KDo71gJfkiXS5t/of8WKOZ4gDWrUsN9sAnVYZNJut2scpGV1ZrIcfe7kV9fad4XI/TxXDRPwRXyk6jIbAJJNj14jIfqKG0M/5d6ibFxXXRnBLpqRC9JCHe585okH8+ws+PMYs1MThKzGMLOnG0Mv83f5KrJUTALL46+8m+tWNR9+pk38hUQmisdYdfatW7LAzh80Dacjlv0nZ2cv2JSCXVqPxIR6Ry+6GRZfi684OXYxCP6H5cybUJwrP7pYuaIljWU/7BllBhcw9t+cg9KO1gL35p/gVRMmQT9k9EiqeS7Wz7nig+A0OT98HMWw/pjW6kOACNes9VEPJi3YA/9Eb5Tl6ZGRI0IBX5zFTXJ8h+Zlwb9EH3jyA+frF8VpFXtuh4MEYISPiuhGBmLkNRLfmGUqT7XZ1cLF4VOcizfdvv6QDrhvEmbGftjrfI9UJd8Rgn41OxbzdNLZv95KdUYlXHEXgYmgg0+4EHY5B/VBrVsfPf+bqeRcu4HSIFatcVtgDNt0YyoUd9IWmcjYG+A/7lAE0LIkq31snklbyMNKpdIZMELQFQQoEYuOaDz8RRprb1zIxFIEWBVnUgj3hSSXHus6qockrUlCetDNrA33QYzLcrppQ7qY1192Ki5oQtYXseRPikG+nb/CQv49X6pp0Vl4PWwYA8Iv4aVBaJymRAhKZxUsI4+5zwunjxn7rUFwrkrm2NG6HRDbalAttb+MXUcU+ky//nSNUNqwNPb/267172B+5S5LfnSzMQFJhSx7Nmal71sPUtk1V9/QX2tHO3qFMCaSpaHEfNKvTcGybp0upLq5i8InuH9VsYMagywlkZPhY9qXZD6QqMuHkraPMvoyQbgo+dIPQYkLoF6vN+qawPQlotjAgQBmjpsGLv2stswEh/X8lJdsQsWACy9VA3RrX4ZoClNqdTVAtcAxWuVPKWVRF5RSyGOJ91S3ejnuOQ9qZKhqo6zvv9jmddKeLAOxmItelbZAD9YWhKLh1WznpSvuZ2DI9fo5WtFednpkOAEHVCJPejyFGwcvtOTgHceO+35VLK652p02f/G9njiPPxUGhvAfph5naDKAVsimJuT5RYB2LlYotyxPuafgS3mMzd9Sp7yaLWRKMpn5O2ypKnyp0p3tjb3l7PbS/hUyd/Ngse1LGpV6bxSbSVZBQPBr6h/sTlvDFjU7pMTudgQMRzRasUH/nTxCQwRJCP5tF+9T6Xa0yZI8kCBPF6fCXjf32Cn3UgizVhiusWyqYOaTVy182rUZYnLaDPrcxQ5N2Wa2Jrn7F5nZQNrlN49OuMTTk9xH1QZbR5HFBKdqZtswIerDlCD57ZsZAcvDdRrZw/yqX4N9w4WaB35/NZPOZwhLBcBKE4DRfVFM171xNCOJr+qdxeGdyTp9wAD2uMytygDTabHfI6j8lwnX7In5TCuuw/IBfcKFWX2gMi3AQLqn1lrjheQm+T0nMAdLpGnvwV4V7qldTqKfAmJrSyA6YSzx3W+AYRXNM87HtklQKDA90Ht3LqhIONhD+E5Z97SyYA3gCd7t8lXxQuAflpeacAT+yMp8L8ZUMDPFZQ4VjPlBLBm5ryzaH6toEf8TOzvHf8Qq10UB6QUEFqSstZK/ARZ2r5KESix56M3Erle199b+K5YaA8x3FyjxoFdMpumshEQ9G6cpnNz+YhhnFBcTbRvJhN6BTCvR4EI4W3vD4X5O2jHE4zXF6L3A0cHdhoyliZoxMeUcdrLwAbW1VWWcFelh6b9m9cHqtDK8MRyg0PV2u5EztfC6NF/IiH5mh9cTfGEWxn6EGrrFmwpEVNEHHyuVO3IaWO7rGJAJwyP8Vvhy2yUO7eFbSfgaNbYJBu+thwiJ3yei7QP/755z+qy251nUHfqVn2Lb05mX1Ov2xx2PeJ9ZpFioKMf+PFkDGHzaOAU9lnfuV/WokUAFjcporbUJlQJwlPSeDGV1iNw1LKHf4ZVuRKxFSc6JOkCpZD6aoRQ7BmeY2pSIVU90ATkL0c24cBFkmL4gb/iqCNvqSBsczGvlOf4Yh+eJvBarpdWkxnMKkH1bUf1MfPZtpIrZZbWk/a8Ej8Y3SfrsaxCy0WJ4cdTq7vbG6RVOyppT3Zn+raaBfVyDkh1PDrxoOYYYADOE4gOM1uruDzELwwPJGxRxEDwymkFdkT4zcM1cjTloNba8DkWMa6TuydQ0olgCvZ22Tyqpg8fLb1jLHLgMc1Npw7P98YlgNVOSCKmghDqWvW9YkV+mdU82Eu+H7u9OfKai1tciteHp+GQTZ4IxcmXpK/E4YKKajTOE2jKYBRtoCDJKa0vtsXJ5h8hWPILeEJdC+Z0IyGYrimFHnYgd9iKqqqBwJP4mx2lm0ajJwr+6/8bktmFV2gw8YC8qd6nrBeLd7wEBV0fJ1tx5VyzvMQH5EMBnG93AyK/xVfL/L/AnDgZEgdTBYrmS0ioUlo8IME0f5ok9y3e13s0dq11TBCdmAGg6U/RJ33uYllDEFsEKgaJjRlIvoMoKiQQ7erfIkGH3N/StXvvqVxoeToQSzcDapLi91ROrCKv7PcWfu1PRAYUSeFjsEyxLAGTY1GtAHXXo7hrjRIvOAch5ZGTsXwvB88Y7NFn222IowKyupJ3kzzQj4lYNaBJUQXp5ZZmyFnkmBhRmWgRrNf16ZvstqUHJASzHogK3oYAimeuIPKxZgPe7V+yo+kPxdwv6HQbar2d24YasHdNQsSc04RrA3IrcLlqumRFUmpaS4twcavbtsFH+AqPqAwmoTK6KtEbEh7khTQ/+3MxLX0E9RsJHNjlLW/kUJRJwI0nME9sZWEB66ZuPoLiSpcqZrk0rWXU5ATOlfHQiAcs1giyP508HyQlVzh9rV/RshG2v25VzW/m7WYGbMicC0eYcVHvQowwViAR/aGqxGpZxaLVzg7c/5qRRCLGT8696f6Ycq6gqIbmnGF/uJwItyqJRPpBYp3VzERlKnmtc8OfdPva3SZaqRPSoor+a5OvJeAJue2hhrwdH7r3Es4AfPkXq9Zs5cBiNV90rnbnlrmvUz196cGxJseFzwvnSr1d+1/3Svdos/IM4aG77AHJtlskhK3P4sJhXg9HXsJfYOsUntMxFA6yfrJFCqkeBoi3IhAn1TMYxyvgI3gjSe0JuDY7pWRQiBK66JM8dWZp68eB3q54FFI8ID0zBmuJZrvD3nZMVP2vnqbQgvi7vvSx/TpmaVHi3RZzXkq0hl8GinUJHwuqS0PeqEu8JOtjfqgnFy+UJlRnDZ3uDMxQgvE/ohDG1BlcZ3W7PbO2zR2PaKltiU3vxX4GxWVchR8LM66cLhRIn5PQtvuwoU9IK+ZTCu+X6+26lJsfaGi1EG8r9MKTlQRnyZbL/ySfAzRjRf0Rw9KhGd9LeqimPm1JGrhPxavj8ayd2/br5nVg+18iUCEJNDE3pZjexlUUv9bQmyo3B2NNFsW3OoRiw28t1DY2BTA1yUMMzLtsECI/sGrn7lGLIY2jRQzngpG0Ta1dje+JEeK6x4il35osQXRu4rF8BlZwnkhhXu/fDRzO+lNY9625jIDrm6wrc8BytMjD6fvN/pm6qT3pMcnitzR3PRUB747/JUIPZsWtNPIcan8BoYOEJHiBKnEKLq6mK8Tp5d9NcWXjRGoR1J6hxEFSlg/NuSi7wccUwcoUmOChtfWLZN9IDCbHzXJvaaIkrRriPxxahqnXTbNtKnYT5WmBVjbwLN/Db2wIaSKpSt7K7D6mqdNx7KaWoGTKjJItczWZ9A/cZvDvYt9g1sHn3drNMyy3CLjYEO/08Y7apZqjy7wWFRxJxASSwkuU6eoVNcmivhmL+meKxIUYxrlDA/BHZcB04jdWOjxuG5VrzdyElxJpO86M5hKwzjyOdEzcGDGccK7EVBzFMCbE9gHW8wAtKrKcwHmBXQDYASCU2Alo2L+CsNiGuHcZ/nNIbfKSHqdjme1M5OSK9gS7ccdXLpHBB3KaT9rvfqDt3Zd/P+9V6hv8aaIADvuZ4lLCmYzktKuDj2DHkH7Znns8aFHL4BioFDtHsM0u3hkqbYZFdYBYSIV68ZNcXyO5tWfNPOORJUbPIpxdQnkVj5O8SHG4NQ0A75I5ApvXvNKRYmJCPEvSRgV0KN7rLlTBa0Jwxg9Dop+XLirHBQuLNV52ygqt3UAINZm3usQOwIKpfxxglrvWEgQkPubyKPh4ZUVtFkB6D/zWWtlrJ702rAzNUQ2ouUosXrOhVvS9I7E7iYo777tLA4Ip305innnYk9kWcz+3I++5ULk+B12gS/RbsrRHaRiiHHshwy9M9YCJ1cC790IvnuHvYMU+mWM4VOfrIarT5VGwWzGbOiBhPIOGicJcwnjO9TNv87EKk99KpdcvyRHl+l0isSjATI3u94rl3jQUR5SMeenJBCnNQA9JopZgOUCOaPp9GYh/CuNlCmj971GmQUCJCwAJe3vouKeoBVVjb5LhmRl3CHLoOlAounytJ+4axPKxFQtCNQkoO43RD7iWWw1WMS5s0p9UHk5rED3O9zXkuBChDoSphlbAlMRv/M9dnArX+JDQh/HchPrxe1OKGk8yUV1SxxvxAUxgScXeN48wRV+NjfT2oN6jTk5JdxGKvP0Hz72DK8JlxuIGdBsrOgY7EpnYPTdwl6C8vBrRS8XxNH1L0Ql8B8xMmrJI2OOJa96P8uBKAYznlJD7noe8/fKyAJgJxon6HV9MK90QaT6Gp7M+OBhx8WcW+WHsnScpT3HsJcep+jwrCFeRLLj+KzS4DezD9evEO471JHm9tHMzeuXAKY6tgZi/GV0hK3kBlpKggI6siPlJNAXGw3cNiiiG/VfbUNx3IBmYy8fRsZsDXJ7D5W1zZcM+t/qduVRL8aE8gaEMe4yg0ofqU8IiR+OGJjReBnKXuwfn7MkLK0i51mZH0eXyMN8qiSIqZv6dGS0AQLrxwFl8kWUrJYSBy5TjQMnpA6GtGSfVQC7kuy+AlVzikBYDuBXV383vE22Yqx17JnIvUWu4SUImu3UKUpAV06qVRLmlpSv8eobOv0o4CNVxIes2yn3SNto1Oqw7FbAFLe8RhcBpCbKol0jAwLZgcQWj6BvBzLGSO9aKAaEwsL+KFRyKHMowDfy13fGV95FPVBd7JYyiFp7Gi5qhRkuSrB+Qsz7AeU3VG2yfkOoG993kPRPDZfmEzSsiYVVOP0XXv8x0GGQ9zsIvLpMUM1R3FibPmOmAHONNIj3bqVyzgFP+ozd8I3yW1tqnuPASjaM0yhzEZewwOmV32OfzWs/S7Ojr52gwjia3pZCJHKIkMSlRdCUKbKYuUiWDHavIOHNzRSYv46yk9CK8Gu8jFnnT7bUo7UaaCnPXYj/ysJ8oGA1mV47KMH0F7OGRY2pedcQvPuugy8pznpYdDU/j1zKIx3ecMcS8z8nNHtM10XRlVISGtj+Tz2flS59JWOVjsuGvVt1hfP921b9ho6QqQ2K1X9c0+73bCycI2Al5fynjwGGr5dRYxc6YjKqphj0UUdtyqLvRki+bBSZT7pDo22mMbZ7dhHatvkikLBkGeNbzqoOCy+GSpcIN8+wuhExs49HzFw4xW8mKRF198K99zzYJ4omd3aDhFM3l+9AopyB8eNc+skujvaG/52wXGY0YSKN1J6IFgTTYaPfBPYsF/a4rdD2wS5TpwtItyOTzpLl7Y28fnZgSmfXPqT2M67calgAU9AB7Jpj7W9KU/YRk5h8e92shr+hvohm2ZZ/s9JTiDEg2x5Ogp4l3opPu1hS5W0aWHgMvQVXkZKXGra1NeaYOv+3abrgf1q0EdbF8GtWa8NFgoBMqxWkw/IvkLId2mpoYlhYW2fj+4VOdy8KyE4LvAugCty8cYdd3vCL4t2bpW1Xehgb32/o1hiRTR3C99mr10DqT+Urf+NEntaikWVhbshTUlwhGaZqQ8+yVyBn61pMEdEgCIokf6m+L14ISFRRi0ItbUDDnOi52+oQ0Ks6AmFRSIuDP/c6IPdoxUQT9xAFkyqetiy967d5VpUo5a7acFSASxsmw/YF/wfZvRZ0hmYSJLU79eNH2QIXyS6rAGS5AGJgfRLzGmcvQmBo1dPaKywtF19fX6XS875JCgRZNcvz3J91b7AxPEucJx+crWPO2mrIvEeSuhEwOrJpH7nheTz306JPt4AVXMW5aKSC0BqOduOP+h/d+kt0WOQ6Xz/7ynN5uMKwks8HN/kwww9r3gnZVDgIt2mLygtTnbsWxEeGdM3vg/ZOCTa5IM20LvHxcjKPphsz4syj358sugueZg5jep1j2DGmEqqmllBQR5ss5EYeFVd8kv9WNS0WSRl72+IfG/KzQ+jN/51rxFzQVOqpe1rRkz3P8sXHub5eCL1WseVc/Mf1sDq+uUj/ZOHIVKALGPNL8TidAQSWCuO+VIyEtliKQOlCIEvZc2oSCrjL/xI9G53ROUOjESZ3oz0bA9MNko9NV6f9GxE3Oyg3+6qS2PL/BFJ9OTN6m2eEmtIFc4uYYL+UW1Dmy4kIWs2045DhVW9Y0TzxSlPblnj4eZRBl/itu4ghOEPBNkiuO9TfE394DqFbMz/UtCjQFb0tKe5AddLeji2WNwPboZtXe6OTyHTX08VwqQ3WqEKmXPjE2m/L8"/>
  <p:tag name="MEKKOXMLTAGS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r0lg9IPP9y8umrse/9AoLT5R0GKq+XM9pr/aTyOTf0wptcuHbHxeyqBm9svU01qeeEM1v0hpSHUgirOnAK/wukkRwkDcp+/igEYEdfT5g1iHzqw9xWxC6/XrxaTpFcf+LPDbhIpU0rd1jP5XauCtGSeZEpYDYel10iZFCvTOvAg4bN+K8WqQBDtilZI0DKSXguWnwGN+0+pDV5WhM1CVprs+XuZ6iPreudxzCewNNHgnKHG1cicPOEkGMqZI2W5geExxMeQYrsHAVEZ81eAncDa4IHuRWzxQt/YsfmxxWqDKx+ipcNWVDLymQJuxbcSEeADcX62cvb+S8BuhjMRjZooAEQS/U0tNmwHJXIBq6mMU1RPxxq71CT3yH29043a5FFK2Ha3hzBW/iDVQ5kONzdRUwddLNt5gMgyNJOdxc62m2nKDo6BbEKpZpebi/ddT4pPnGpMao6yDLbv3vJOyMxIyFNJREbYXEYKiH3wz4U6CqTaTYpyzLlTcjiwj4tk6FcWB+z4dd9g7lc4Ua9Xgj+qwyxr6+Ujx4g9zKTof2FtUWW4moxvQMVpB8RViCv3WlbtOMzfHNl7eAfFnzfD1JJVyJlHcJcpMNVLFzKSAEAU5XDiS1q9eYm25JFPLKXZ+M1FQkqLxy+eEo/NjB4AjsxTjQqFL0Qfj3JcT8KnLQBYRqz+tyS9RG6gpDC3un4tJiYZL1IWM9IXkNUGpRy1uBv9+scxb2AQDM4oXyl14fXtlCaLR7k7iQoQLzqVSckTC03Cp+1sLnJ/W1fHZP9JMSPzJU+HpHLFOXHaH+inmRw4LutlWmNFdfz20QCXp1viQxIEwbspIZaE8I2rKQgc0kPiI+dxz9Ny62mejA8u17lrrnuAHGvGzV4M3lhblfg+ctLoC95On0FaRwYyBcx22LCF7bsdPav6m6EbC/lAvvZeOUpcwFkTf1tFTKxUudd7KwsvloQl5yVLecksOHWhLFu2OR8TLIFS9AgDjR514J7VMWLlHVxF98Zfgx5KkOUbus2my3x8YWhZ33NceuXSecdKx1X62PDr8Frlb3nTwLMDB7sPOcgEqoN3TtNJ5TOxgCRNrtVClJZkTEKNmec+E2dAmBKdvFbCE/uYbsfKuWUYTx5OE7nRnzLiTmHLaXz7vZCJhj2kRW8+/6/uEVY+ScjvhtY0L+bzWmbiQlYaWhkY617gGpfiO9ZRn6uvVb+yl3R7s/Ch/BEvuLOE+kZdeFYd9Ree5zMdw2IAMDy2u1OdeQyDux7hl0tCgw9bH48LC4A18IEd3sC893O0w7iypfnq546EFCx4ma8WD6uKxkb6vj4lfQ6V1CJBGYnrZqD1dJF8j2rhmKEGH/JaBg8xya44JFgaoyMk3fH0nC0IZWYAsmL6J61emzO7X93Hpn3HbmHwl5EShkkf9vDiHVfaxod/zogifyqrcBkTAFge/tNIRLJ9AIUd47B/qLPzI6Dq3QR3XFy2xsBoGwe6rPLp3RFr01b2CbrwVnJEfUoMSXW7xyoXEXl5SGdo19fi+feu0yica4+Bd/6XM8tAceWyU3KWH9DVMoEC/ZskGvYw05my0XdmwnOmqr99YUVgYP1JuJQeQXdCOjLSMR4YT0HMpyVVKuFXpNx2IbhR2YWDFA+nd0FRGIClqberjVQM5NFsuI2N8E4+96NfipNXv+2/U06U/huApu/tQVxRqnSaHIle7mLNvxGFyRhk71haxdnPx4B5ZzD5SB4weszFKnLZa3Aq6KPoIeXe6mMTUDSkGGK2CRFOfsKHV6os+sf1tO8qWuFisR+p1uW+9kbAZ7hSxkiCxRkbENB4it7aysi0WUjfbzKkD1nAIkJKucESzK16Z2kZxm8fRE5ka5X/z/X90Ylt/IXE8N8n0euwWm/Qr1cP1EnmBfJOcd3//jwVzvjfa2hv/e1DrhNGUZGtH+B+txQbDj1hZ8asjedXUfNKn1mVuw9fFnFu9M6NCboC2JVnmc3xSVzgrd6w2FgnEwWZGyWM0p3E6MwKTzBfvKTLK3tB4EMBriqXxMV9Gh1jhPFjjXu3UJ4AY6GQFHYLsZ4NJbq5PsoDBIqZN3E9c6HUzFf8aRXqzwZLNkp7U6d4LLvzTEpSGfDJCETiwdCYkvkCdItaRPkWogJu8J4CRMAyPrEd9Ex50xsuIIlG/Z/fbHVxJBcHg9YtN9Qlc07mkZKmgbl97VnTendeFm8KrleWEFVjY4mrlRvMsXwyCVgbIaUmUGCFAyEmml5GQsI2QzWcYTZyFR8JZJXuZtfn20pPfBR0i92RMuWIltGdptOkNGJCoh989odRa/heGn1Uw/TFdwidSkorNqtao61uBOHJYXYjdNWIlPkKTuzYMpECWJqnc9bcR6DcOVYrV52W/ojtTWvvUwsfHZW49af4UIvv1lrcSAkd9wX7T1capENkFfYd9yw5cEC4MtAFIykmwXTTKnaUggG9RB4UPAVmchpdsdf3w7EugtqaT1rXN30nxl7hHzLFU7m/919R3R70e4NHHw0eeTtyi2+oiGck8puC4peSSwNsOGCqO/XL+J2HUKj81M9APStG0L/VyChSoG6vTIMwdDPdh5aBmNNk2mtFmorY2GBCi2MYF9omzVHdKmSmDRgSpnu896i7nJ3Axr8Sik00uBm8JQSbBmhu7d2OcHVFV3fbT8ise7RYit0JXnAbWXl9CsGRijxoQwfbCQWa2N0KxSJh0oEUHMO47ujXeNS69tmR5i7JcaqgbK75qwM3yAIT+55mpFiIyEEH/F2BQiRnmjSpmiQxY0QQ/BioKe6ErUeyV3VV5m5d7KW0q0gkTZKugxlFQ80jgZDhMR2+yZcKeOVygsNltSz68DA9S2OC66go8wwgP6AMoJLdnY5Ohl7YUkHz4SQ+SQI8y4geZHH42fUCHSMungwpqvAAQsy3DuhwOFs8e2gO0HoJjf7V3cK3gHYVpMtYCnXD7VPrHd9RIHAdKXVbDzzYZzT1v6lnbRhCJtZFEknoT+RzW07RvaHykpHyeX/LViFVo0Ga7LkuUe4Hjy8u5HSaaNR/1aVpyo9RXvvjhQ0SPPe5JPinE2ASh2pXQHq6doSAC50EfmGdJQq9ccj6K9zqag+qglcI5t2TkX2XLtr8brG29UtUrrhxoSR9wG4j2GcR6EroDchBxDnB79Z0jLaH2RHeq0KQNA10g8/jk8VG/t+d4tfQKqCGNNTjJxuXIl1EiHwieT5Wz46PvmlYc6QAbG80A7zFX2MXVfqbwah2ny9U9L5HR+7a1ZeSAuQHQ0UJK7UYpGU2vAQiydFrvNuKz7sZm3+XYiGZDRQD6tMtGOmLi9Y9vuDBEE0v9/ndBo3+TawsGkBfjCGAyTvhtkaLjblQ/qnWIpqwRuHg4I/w2EcAqB1f3rQpbCoKEyK8uVC+VEfZdA1aV5bt/PpieZGbbDlRMHbFwis700rB1twCj/x19/sv5G1CLRxh1UEx/F/vBP+Wx5g8xFQ69mgxE1KSuSQbrLSJ3Qjkmcv3AV2WeUBEUVeUCmHrSvTvBFRxJD4uf3VQNi63KpoJ4oVM+layzwADx2VT2tNUYLBTE6V676G9J3PAKgyfbHzpMQyV/Kh+hEx/M90lodtnFmcrzgtQruGHyy4xC3eIjNONhyvCrTcKyOQ11cyx0hn6bI6eACu5alfacZJb7wnSs66YxYsF86XFvFJVgZHcW1LJA9Qye3X8IVK/rk8WuNgcb9wsR0dXJALoeFQ0+3pOXuPw36aWouas//xEsSaWFWUo+/b/JPCidDIss4yX3GXsOXSlnSEmu/I0uEeZxNpKQLtqEuiiVRKDKvcb6KvkdB+KfkU+xogfyO+ZDBcGGzqqLgBjd9W1Dh2ChaUe415A8mZx61GCqQQTYu8SD6avT76gyTYYBIxyr9ss/DySe0Kymujjf8c+R9/BMKY3itAeXMyew8BEPc1LYVFWCebFG2HnkIr1fieEWmaN5UofDIVD54ST2IXPem2NmYAiLdDcrEAwlkhmhvotdgw8m8He/c5ZBbSnLfyXjXc6MIw+Rgk2e1lAT6/R4PEqD9CvsHiez9i5hkbGN3+trj2KPOArzs8fuwB7H9DrO+C18bGeODxA59iXH7m8Lyoad8YwsRAv2l+iQpmfmunJU3QMwZkKWrdw5fRm6SAJpBpM0Pbpg+lsWPiOAhAnIrrWmt6fDfoG7JGH2TKWQKHm3BQcaDtQ2uclBaCjLfTUM/axtVoENkfpkq5SwU9HnbMOE8Ga2OXRJcmHV95pSTtfvgh2Et64EbRlLlPDA3C5r2P24EQ3Gi3kIEYLBKHIPsMjK7cp0XpE29D4iXSYLZhs61SpXYgs7hyXihQ3ukl5fqmI4SAxM/qnOiRZtnnlFdsPknSe2HrjpNkj4klccyuKPaOGFttCUNyEbpeneYq/e5HoxOsZDyfL4XHq5k8AzL2H4WSGWMOHeRwvNUGdkalxLdwb7SWemSsz8roMYvGFJm+hPI2hwk2BTj7DKPXJMTjljLIr2WrYrQG1bgd7qweQ1Nw2CegD9VqyJnj5f2WY3dkattmE1pDF2U/KUsLeb4jtKnik2uo57oJQUhc8e9Y8ZjEbmX//QyHfyMUcirpXBPVxKhB9YWC3JvsEhQiswuGs+s++5jCAZKF28ZP8Y14g1MOS317iWAGokvGlGLjnwZ0ou2WD/clNkbxV8ON9vKyExBsllBjCaSZjjXIOSLsOoKY0ILdOZtjq0GCDHVHTj2ocWPdDUGLEHjLcYukVwdnEIOlg6j8IXz21M4hjduLQJrLA2CvX68MdWJyUwJhTmAliQ0SiMuNjIVAkSsQr4GL7LycCQbXT6IeRkmlfOk82LHgdfVjtgl31jUvUbOhBwRWGJ1xgDqCAufVoPlxw5BsU+kSB8rIxdTBsKiRKUAXn0u5Rgv+vV/PAmIK9KV7XMKrn7QNz/PMv4C+8H/3pJSfIzETHwrjy/1ksIf3n64/hUJc6jCsB3DG03iXzTV9tmmGsXGo4J2l11MNvz3NvIibiSMph1TiWrATVeUB73h82Mf3W1EmY3pwDYwh7ObGIu1mdGg5zLFvffiMs/RE/NuceKy5fBxkG9c404+ORilfBeEZsR+4Zl+KS9KQ4UeltBmdldSlmDdREqFYyBh62froTytFFrRqzTXFEHXKNyVAcrZ+4q/onxSQzLJPjUp6WBzCtzgQhSbQSm16MtuJObz99+uH0s+m2b6rTp62D36GKcePUIIMI+o7xBusLqNI2k3xY80EvWE2/pW01TwIOVLEE6IP+EAetLGIkXarhuuEWXgwJUmXqDluAOA3qX+D5AOE8SaYCefuMKDsDNfhJKPYFl9VcRLoTkSrdkM/NxFODpnXLHb8pS2+f6QequIPwYolGejtY3yglYpoT+9J4BAfXzJj03XtZUxjJK4t5ai5QC9jAJHkvHkwV91mZZsgnzm6iGVxEWiUvFOrzkqjNonITblbkl2p+RmzJLKw5EsfBIccUNHmLggQZzavXZUJsLDtoxdUEGf1WtzWqo6q9DBHTpxMymfeCl08FQMiGc9Vt/q6QwzRplZUwlWD9QlqxEw4opD6dZZEg9IQRR4dWY48gLWGapeX8MMO3Z9ikkMS8I4W4nehfKPe1LMrybw1rZMRUnb28YHDj0E8OHVaD6c4p6Q4W3CvJ2J0su+ofCDxI8Ou7ykqC4gNjIBdlvHG3O4nSRpKMno3WGNNfXH2DSeTK3G66PElwLqpovpz8s+s6fXytfQSGx8+H0G8z6znEakQadLnrai95ZCFeruuI9aGI/uCWZxfUmxvPvRiqVwUhW0byB8c2RjBSI2qnK1afBnNgFc3w6RaaLiwLB3tY/YPcAyYWH6Joqcu5mS8gm7XIjRprZTnZx3c+ddphUS3Ih6UFdqJMknhrEQcsOXsyNx9nj/ampm/Ozis0Dz72NJzIFnL5UZl/0JB7rTs8Ga/prE9iHIdhXs1x106PiK2HZ3NTSOXU3z9nuQ/PbLRZB2F87+kJ2QfMNEGMVLI/rmfxgdn2f/qi7iBZ9hu2ZlwsRnfzTHbifm7ldpf2V/jlEhNm5wO5vOV0XVaOdbp+5y1WyWE9t/G2AZE1AEffj9hO3BgWVBPoPGFHa/B5LHe3YDxC+o6kKPH/zl8l/6ezE2JJHa9tcbGNn06lSvsXtUKmE6bS+BG5k6ejakQybt4Upewla/9u+NDk1HPNBo7k661Oa/dP8ke9UugvWKlY7BLizeiWAKjtKzhsU5ky21MZrEWcO4zpiz3OdB8DzDiwn6STLMEqY+aDuKpj8L0JitG2yp/sW91qx+zMDYuNpRBvM6qLGfcLe5sI8tssibXRnxpOruWr12BOVbLuf4Uu+fB2SY/Vmv51xVC7llpHpMXI4OFfxHMwUz3fb1Bsm/47bfk2WzWUlM5rIKG7pKJ3eJU4NcgFWBQyrNccmXzVq0iFg5kDduzCbJf7ixv++BRHzgCJrS8X2B91U7/6SKsZzI3Su/otYKBJR0lRqr2g1jz9Ai3IIv2jAaGWoH9wpCQPVkQpav6G4kwq/FFitHWXxQ+lDRaiMADef54jXeb/FwQ0+C1zAi1dLU1tCHQggFf1l46OIDuRxE8z7U0lC+fMdnFVStoQtJNTwErWFh6K6jWUqQHLp9NODyS7wkTaiNiRZinSEZrXBz6optUJTEYnVv6PN9kYSm9Z1F66+qSCzW2urWVFwcCNCTIupCP9tASufy84LQaco6V31bI3f7Wgew4uzJb3npWWlSWlPoe7+dzQLemS44iCegXH9OF9zxW9HgqKxnqAxfEvON6Fl4LWwX9+qZJRXZ2GWrxdWJpMlNK3WFtTpkckEYyy2l8v36L5Jpat1joUgc/1pADxN5tPQNSElLlofS0rTf7uyaxNq5flN9JFuWxlbCS4a3hRWFJK/OvIxKmyic8A0f/5ST2DkVwmN1iYNcNuQMQ36BPGOY340/9gQFOdq9jR/5zUz/lx5bFyax7V5MkmLtzZ7c1GbSY3Uu4Zr4mKqtoSa82mhCrlch0IH0W98jjWNA+qZvpiBRAXCWA/O1T+VhPg7oU3WoeiIbrK4CZRRvbWblvZztj6/QVsNgXLceMqVDhvO7d99YR3ZoN1PxehVLfitzCM6SGX56dCBC/0lwfgsO17NtWuw2gc9jD2edWt69W1CggKhcrgfTKn1+ewQOcByc0LVqm0j02u6VFt0NSDwHyIMIONotQ1GrfCT44B3mUyhIjEywi7awM6+yE9nClelxY2F0nzZK85VwdufffsoGkFCwB5T/SMQ0ghLKmC12qw0pMZk94qAP/4h/y7etEbXvu7HZDVi8JGW32FKZWKyRzhvqupkPAQL5MKsEdGTTZ/0ewRR2mm+sLFwpSh6/h+iVb0HvtmHO4jt8GKZfJLcBOf+z66YAVg0Q3Eb+ygTLTOeLeWNEluxBg5hOObtVdPET5f1P20xrSRpdVqwRa/aXG1p1jjUDJxQwUO5h9s6ZWJlWahFlqG/ANLQdAQRLIhoqkyTo9ss8QaFShCFstTYePignVYX5UaC33TFhDVIhxrPlFbyttfkF7IWRuOq4bEkZ9iz6mue53x+Y3pOSIOtswtEUnup9HBq4n4PcPla7S+rpudculeWAp1DJdSDJjf2RQSsmA0tH8fTBq3F/4Ktc1ffGJKsealU0QTVSGJAYNoICzpurteWYJUyTzUzPgGWtHnl8a5/15KGVm5EduIbLlNka8eM3Q1ncHsD6w25n4driagGaHlG2EbT/PVVOKveNvJJ7cVstagk3j0JXXWKthf+YEycLdaUwAbMqvA5251Nv4FoB6sQqZjxNcx5A8+eWrdi7nX4JM13Yj1sPv58MmqL69hPOoZT+7xJAuNH6yOqalVHvG8vINUwf54VjkmkgQLzohgTRk55rSLSFye0x2ht2PF+10pQ6TBe1bLS2iV8hPBNhmHljTdb6XXtYySzv8bvMnK2o7OBrMF3RLlOAzZVPu8XRvdOX4t8IiQIHcXnTrWGA6zwYzTCDEXoNXTk/mePYJvaSvpasZllBvews8yWOsYSQefZUdxptW+c0p9ulZYQCit1YAKpZ6ms256aXHtlYjDWTSEj3FCRgbjmQ9bKtCL+07nD4yayhFToifxySWAOliMHJ7kHB0+tA8XnxZC960xNvtl3AZ+rgmEenBaJ0kwTIexyV6BA5fGke2AFmnydAQkYmbZ4Dx0KpXfHYN1sn4P7+YmHFY00PweFr49PI6Xx1+A+Y3KbJyph22f4tZsNh7IifdmWB2W+5WrC5LkLPEsDQP5fhcOSoWaGoZgOsO9suqtQUeHH4VzrmqhV10uPY4+C3LtEMmAHs9qKnE6R9q1bibzOremoMDcUhnp0FQO7XzdPi9fwPvEBc88KO5+yK4lhUwUGmWHLeYFWTzncH8QMk45WhT79ybQP0kY+uwuG7G+nnePYkQnrgTpLLSrfbwCpacAfs1Bqny8n1A2OgsMoC9YDC7WFZvZjUOPeV3DfkZFLiO+of0FM7Z1DZZxI4RskC6WB3o+E+YPBsCtRy+Nj1hP2eZ4aSDD3VaUjL3HvLGl3cQxfWUJ980js5ZVejeESL242N787P8h5ovLXc4dz44aY45f2MRlwt5Jg6OP+ENvTVUz4sNtD3FSIECR+QnjTGJXMUAGfLFiWz+Z0oqX2MCOPArBUHQ7KghUek04eSDOycK9CicQ241yiaekfkp2pUgyrWiv5J2hpQYqfDXYcnnfW3l06NjheElQqFu8FKNRd2nl0gxePTknDl2HSusYhTzAr1EIkJUBiGRLy79J9BrZ8fnwJivq96ENJAqVXy4a2oDb3iG/ZQd8RvT3lbLVR+822eevWAAnHw0ZQq54uAnrIc8Ba3NVWjD/vKQT6tSapPyT+jQqFZi1hn6qLc20UcVUz0oaZzF0h1JA5qCE46hV+5xojPAy8CAGp/NqwSL7Rf9/wtOBP2/hoyJ61A5BHX0E5O8mkq5n0E8eNlPzB8X/ffp+OCce3xAYGON/BaRIVXKgHWfL5gQOPw/MUxvG32Nzubo+9vfd5q0cnSdNM/eF/UFDneaT8IrpXsxqYRIu7p3iOBvgDZNXmskBRiw5i90O8GaZ+aGkhmdH7cQt0mVTfB6KF5+2kEtZyR06w2fZF7yW9rOBw50OgTBgedA3pVZDRdAGTk8ZNptqcgGFsoSwQSdZXp/HzEenW3kvBbaPqBaO4+P/tVFCj1PIkh2priRYCxaaOg/Xi3KG9cgc3ock/rJukxUaKVCHHRQyqyHQzdb2vUZo+WkCcVKp+DPh77xn0tf4j5/Q7fKY3+o0T0zobjhgy04X59RM7tcfgmVALKh5vCucxfDu/y6VHzvAzUyWrxKpsugSeaV7KoMz2p8EQKJMXA0dVgap2Fdn0upGiP+m2BEpSLLJ0etuE8J2ariOFedG0n8uaRTLM6Z35P3C9nIXpybF6mpTf83BPTYVlSFOAUboWnU4FPvrrumIU7f+FuvTiZD37Y5SeA3hFrtJA8Ff5mNqvsMM7Q10PQlN1WcR9vMh9d9cNH2rgW4wU1fBzVM4xX/hoWUtLl0QZLWTWcox0L4Rfh2rJuAH6Bb6ZLPZpmhOrKPJhVc8J5itT3W6yBnjdUb2EKuzJHmTpsOjhvzmhAdNsiS186jXrk+lv4esoqldpb/LuzPb0tHplmw+Zsc4LAB/AnOtV/APR1Ve5tpmzRudZL6SfvPn0rZYHwj3M4kqXJULszuJZm2QiDlEMOljzIJP/XRp0RdRvQO2PC6E7J6vp25zfOinqh1DTTgOY+/TxSCir/W8gBurMpqo7tzsmnYtw7eCA7mmhDQZziEoK1H5hg+URyyHCur5qDwFxO7Wg0zPcfM3121jCTmR+0h5Gc9y430Q67rzmhMHiJT5QbKzQLzOBWW8p+dzIu1fLLwDbwxhaFOSwntppqogwe7cJ4wr2Sbqg7JTqkFLqTY6ToCQHttLfVXY+QQIQP3fxZjXwANrCCOnnFvDJ1yCUvuUJoCfzDmYmIsmD7pDghxgATSAsD0a+51lvJUZl+wuU6kivYt/BnpNQMOSac3UHjIj9Xd7r+/FlKnymaNLbIEyvXKiU1G2Ravmk7r+ulEFrN2WIDleGdBU1m/bFjEzz2Pd9ff8vo/QqSN8dV1R1N1z1tiaAZ7F0Piv/zMlT11+HU/0gMZa7NRzzLgiwH+4uKixL7nVztQuyFdP/InhEUNiZPljsQ+F+zJ7iypsGH0o8HD9L+rl8rLCXoZy5eo59QxWrd6ThpkSlv7L3GHWsmI9n/q41Fwrzptf2Vx98UpkXmvGgvT/vUawpeIt39oQPajG7AFGP15PYnRSbMvilokdNQE7fhPdRb8RZBVtnHcgp7HRtw4+r9RZ+srFCSCE9lG6CQ0BViJFbsSRm6flJdWcMzwJ5duk+UcPf6I3leZ2QIx5EX43RbhiAC8dF+hHIfSDn2mL8UuIaB4pUEnAd4ROKk8L2V0hwsUbmiONryLdW3jbttDIDcDoxCUVVJW9IisreSEbDDfb7cA80rRGJ64aDw3sbR6ekescxOJk/4EPIPip5CCkpE/VkE+Sl+iCKMDUQhr+oTvK0qQH79Brhi2nHo3pV0DJu0B0aH/r0fxYS+h/rJR3Wld2YUdNjIDk0/8B39+CLYxNVNtL6dwq4a60prYdA5ERxDAOS0QRXt4KxuQ05F1nk4aoMTVIz1lfoB3eExL/FnuSvwnQWDTpB09H8Kz8AO8EZs/ZX+qd8pc1aLoJK5Xy9byE2qXOcsLTk7woruB8U9EW+zAr1mTBSEkrG5To89QPz2M2dgg/nOwyKgF/TDzR8Gel++/veVbvkaD+h3TpaGfrcbFREGP+i4H0h6EcbjV0m5V8r43EGuZO9/M+w2GKF1GBf0/k73amf9lVdPUuPfCURZt+40mVAnT44Q8aQDOb26Lb4ZyZK1GFOxOZvqsVRttPwZAF6rj/VUZZr20xDDCsKTZ452wKI0lbpHhhsZcLF1kxTq6bZXBKc8Fhee/NsdmGkzmlpmiN2xxSa8k/STomArimN5277tD5gFGJ3Q///Ay3mxSTUORPZio4eprJZXhC7np+xUq8BzsM5D5V9C4nw50jh86QOQjtYJtsqCAf2h0u0PwgWvduGndk3FphAfQ79mFLrWlfoG6MBcOnGsR9abOcMbgl9JIa5K7ekM8SFb2aJO6l4awcHg9MhSI0cUYoXlE/eAngfAujlYud0Xt6GjeOz79YgTAeQrNUTdgWuBytDxBjkqilXcUohZidS1knKaGmB3TooCg/Bmyz7LliyZ/eAk5ffPIsfj4+h2G6XvCLCXvubRol3JMVQ6/74AV4BrXSGZhOjIDjUPAeD1XJMhu0Z96RUlJyxnHXGaVpf9VKGXWPdUWa+kCBYbQsJby6GeJw+gyEI6IJ0lDzFL6WqgiHcWb1n2GMvWNTzooWYZd+mPoAB8PUMS0jSiVV1hjpLNeX/TLLvso+8jxhfUKBNakqyX3RqysADzo4PadszdpUd+TFqSjNGqJZOmX34YmLFhbeUfxgJADmOkaFKJjqxOFTBQeg6TOGmOVE1QFyj0rkxeNACc7mERyj4dglG3ZYse0oBeFu4iLkQyjZrcPbv7W4iesgpT36jqakEh2XiNEqFJ2hebRh5jivzG9MhFK+t5strLzTCHjH3CD8sI8bR5pf4UKpM0UGMqLnrORlcRuEigJscTRVNE3UicIKdtZPcWeP7E2N8nr2/WW7r+pxierSx71z3R5AtSoh7Fyfcd5eE8B7DJjWF+AsXV+SKm66xtwLzS/16xjVJ8xrIVbzNaP6QtD1bOs6S+SX9k+rNY5ggCxcwJdeV7iSCdJS8PxHRQOo9xuEKpCHhoDJ9/Y8oJ5n0ihZCFsDCuJ6nia85EHMeohD/kWHVrtSVn/5N6UuzBVxVXol9hZ/QoBP8Dyqtr0F6lupuIG+tGiPuVodR3INBUQ7PhFZkPZil2bdmTzQpzGyxip/nAeCZpKhbFWJsjfZGVc9b80jaCIisSpB9M/oBkftFRHjCzkQ3VwRgW1VzRLW0dSii6IBf10fvOVtT0GlwGTPv9rWaIPKSHB5iJPwXOZdCxwu/mbQMYlc9BrSPpe2U7BxHsI1R4mBeGoRHIOy67LBZLL+dW1Iz3R43sI62Q3hdW33taTpg6Qvcr4Uf14WyS3YgUwx9yTSpuGachy5UCTVGbN30niV1k2q90zSYF/RUROHaZg4fFW2Nb1oQFZVe4NuU3ymYUJa/3xA9AwbAPIR6rKjQitE48CWuuEk5AzzbnvWYVNcbXh31yoZomUrDq8nuNvmMuP4Etd10bQ6/93u/svShseAy7n+11vaDnWCQT8rEbwd8VteIgEONmYC+pu28nOlWKghmczJ/D9feZ36DsxLX1q2ic+XA9mvbG6Gi7n0JuoQZEZivQp3LjajoYpwwhxV4Hvn4/vhvfnhMZJ0fahQjEKn1lKSSkT23YyKpCGrNOeLeH6YwxlmAiFmWuEo0MkWPzzlnMAfVM52Ngqxt8JMP+fb2hAW92PLkLFw8NraBFQ3g3p7R2qmqVI0Tfr4NMOlxrfomBHWJuS23VchAkyaRQAvdGZukep+FsYXE7NItnBJQGB/AypyopbOWsJx432Nn/RsgnMy/3oVJkEyaTkKLxN9LRKe8+LGQFX8IIqFXzfhHTCQkFAqOtgtJ8GZ1mRBGEt01vxy+KGwV8/l9T6VWP11KzHEBHV/AVdQhLUKmf9EW/FuqIQwvDociywRCFrOt91FCZ+BrrMxUvssRP3oGzYLGN2D98H1Hyup6+lugS4LwkSK7y7pAgpGUjolTwcQ2d8wiTW+w/Jh9QlWAeTGmFlBvBNzrjCUXlds8DtzcWNz7MKY3yhOrEhbLJsX7Qn1UHRuFoQ21T06vvVyTRX306GbI4fydExJoM61g2LdFgBFYxCiWlNf1v2GVIRtXLGnWlM+8PO/wuvGY4ezbkGqeZIQ0WkKMT8qsZ3pK8jHfjyOFL+G+ZpMiv01FvSKbd9C71BeWpNQvOkHV1pMxJ3Z7BFHoh9eQC3V8UIN29h6M7Ik+6lJxehx3TEMZy+5hcEE7Zb8hEVzsM2uyTp0h+wBoCOl0CUyakheixJBDkqcPV4A1dFGnorCDHKq0yG+FktiqT0Mq4x1rEty8n1Xv/xCf7PLONsCOaWqhPS3aBik0zlmSwIEhqJjAfOa2yeiBEJgGdJ+oZeekUED4ryHcC2jFiPYRiMJpTjNhIvj3ntKpD6d1LDLaZq7hu0YD3i6qM7JhLWm8hPZdCc677sr7xRc0RjzDZquXEmMx0IzUNf75f++VYQ4sHeqjjqBw4gmzQZe9CrHrM3754y1OM5K8w7lHiB43w1+urcNlojUxuBQv29pScO+FKx7qk/kVzvVIyKhxN9uHHFontzIaYvTj8esAbRoQPFJTkX0N/mj44MorRp5z2aYGgolbBbiVDACCKSWRnY55zz+UdzV1HJLVXr/T2mMHW7ih78AZ2XYFj3uVDOULY473oEATl/uxbslHLx22q3diqEHwbExbzesS6dJH1JLPvb3pek8cJHSXYR8bsWIuCnllB4byDtvrvG83ztnxjoElxg4b7uFfgKPoR79YsW0nvSqmpbVy00OyJlb6+YthniJmDYhuNty3H/Ts6Q0/3mXtk1FhhyrWAAJl8vTa2EPanWpN8jUVx6w0fW4pob0e9auFhRR0D9AZOGFvSA1oFdi6/Tu5LQRlQr05BKyv/bkm/gaN0tTf+Tnfi6rYRDYXcN5vAEDrQMzooNDy9FAZbbY4NzSlfZ6YD1Wz7XCHpoch6reDzyGY3LitqrRVbk5/w5WZxwpUo99VDgSu1XBgZIE6r7CRj21W7ImvFSEM2WrIO13RK4oJMjPtLmzeTF07167GuFyGZDXzuIWImV/k71+hsvSqd+HKGGEmtsewHTsh0XtOYFttbr4BC/crhQDsjGPL4BvgE5lHQ3oa2JrdHhL7HxruU+bcW4LTZc4JG8FU192J7+2DtXEq2Eva7WF9/la+9hOrTXJfpIp2HcZIC6tlDCOv//Ut68B3xODSoQNtlLCFhRw6V87vOX+955fvry4thcz7CdFxmrSfp4n2yJMZgLPmsfrjjjPrt+e0rTrCajvoT6x2W2/nTeIn+TPioEHMYwn9yVy5NVRCp9TwQbfsSP1SgSv9VGaf6/Tm4EIgfNS2S1olwZfBfRamrBS9riPnjZK/BNuuzkGNXSvm+/IvohxjBINwWLETxKDgIZPHUFvUU961J8lS51Aeldq1E1O0wgqnxN9/XS7k8lcqnZ5zosPBVHbUPboyNNfUEBEY6sofEuTxlrcHSjNdaKPIGFtXxBPiPKbxWD+EqN0paKY9Nc6KnmCLeQiGYP2qJY4oLdCk8iwfYsfqzYcQgdAvrW0blgzVo1Rd4pi8zwJVyvkTgaCj4okjq+5LUNev7Xp86YmSb1coyBJRhbBCZzppCfA1Wp7idvpA5evJ1jAdmvEPSTpJ83ECt8FYpOtwkSrNijXOX/Kikhx1UP70gisKJXFB+r2B06eFr3ukFIssEFMgddAurpa39xprUKoeu/XvYIaTQ6OZS8twf+YG83vFr9+5ymtzB6+91fh8HJt99CYx3l87SJVi9+1bmE0iUNPSj4y33mewMMvFbal6pKsQqu/ikkoREezjguyqamIEM7Yx9OaLO4phsxG9vgBgHQY84/Yi/AJD1CKQrCmGtRuPSpqTKBne3YYtO/hVpmULNp/dpOiTFXrCabKmnfTjEukpoEopdHpqixPIqXuCGprZUWmtbcU6eqcdaxvWEkFfwyDxDOXte64Gl8y5k8Nw0i65lwqP9GGFRt4uprB2V2koACCkGcdyhXs2BrenTtwDcUsuhiMDsSOQjQzEKsmS2yYKJto18niuLW55Lcvt38FPEGUUptUMv9i/IshXi3A0updTlVVou6fYnEivPQMMJclwjeyIZgo2RzgCGx90qTVqUOwgXlG3k25KhZbDcLpaqs6Ev8Tpif5/VykKsdmCr5UvbTHm/Sds7nWoT3xEOLuB6HtHHHJJ0ZLKudABsGrLKmC6PzbShhkufEAOiXhPTT5ajoMGeYDrcyP3KG3ECNce4DSeBys7Sw2TutfiJUr59v80u2vu3qutE8rjWOTUYiAHtNHz48VtNlVuURAbfooqcObXX+VQpkfpJ+5UHasmoxCSV6N01/VNjPDLdzx/Z9eVXdoQA/5havA5lj5JcvrJHU2Gmdkv3dFSpPXV2eOFjbU2KRMfd23JTx6OXNhBYgQdjnuuX+l/J117p6nRBo4JXwg7EOJvEvzkZQpgVXg3qHdxYLagF6nO9/oJvmNe9JJB6i6GZ+uAfwCsw5MOSC3G6gjFDdoC2UgF111vCsrS8B7ob32vVK8XC1iVTlK06Gjm5/7vBAhGdbp8dQB6CnD+CIT0Wawx8xWVYoJuF8J0TY8KOMh0cUs7opiICjRrsXWL21RhFpbFiiZgspkKitkJQQTPh1fvEWlr3jRY1s3VSaRbnx9dqt8BO+QhdFvw1uGj7OV4Sgpm8j+H/DtvjVrYBKTR3zJXRT7Eg7T5nxK6R1LN/eH+dNDgQZxg12beJYuHzD5U5YhbNN1q1i/w6PorHxeDBb3fzhpUwYICtWhSP8Aw74s3VwE5aapJyjcExnQSjOI4mFxZibq2NSySnlTaa9P2G1/+RlHgcUUsr70RdjQeIG86PIgO8zOmlQkUkOncn8LpIhrTieZtl1D9P6ntdM61MZHe83Ll7tefWb+/sxxjcL+cVpYkKF+Eb8LwBI4C7iqxIwEIgZ6LTL8Pu+5Ee+IxseTWn9DMdN8tSpfKjxFigEjXDXZdAL+Rb8+I4K8DkJ+FQnFBL7LPaRSLqYovAYXwCjJgZk57iX4CGPh+QKyBDMgSInDAqZXZgwQHVgC7BMmzeG/GYHHCjzs3qiczRUpUgxL3Dnn2L9Hwv/hL7v7Ox3xHlqh5gwNX2YE8w+BtqYJz8e5n4sGOUJxpozfH7C4DW+rFPJIox0uaUzJo1fqN5d7vpyT0WKtoi3nS1tMDv/odtzNF9VOF7h+u/Bhoop65pyXpyRideqgLLA9hs42DoXPgFoFwD0nTHunEgSOEPLJi+FK/36unIzKouhXY7xrpZcPcIqkaSfPbR1+ZNnMF8eLJsjPEu3CaQRIymXklKLiYWeQef3umIp5DLgeLDenfZ8GmMfp2CenZjyZReCxsHkk2j9frGKPEn1AbaU/YAi1a48qixQjDzaluGETylLTRPZghSnYGaCOC+2FIRAOc2xRYE39qTdId4EMsb/scQudUk//JqN6ieio+TRpR9InhTsodBe0wKiCAORpvjo5x1+Ow6E0iNePwm7wty2UwZ/0A58Cg5lPyUvj5vrtA8tfevJaHcvo6IMob1Gk4swdBSuQDO80kVNBul0g87eJbaUx2UdCYHyFC2AlgyGQzULfbOjeaoCzxtkyUeRUMmonpIhu0Rme9wi5DQyRdbaZAeeH+fqSZIIFci9xURYZET0QLjTsaricnJVC0sy2Tv0bZeOv2beibyJ9DHtpmsryVsYWgV7qVKEgTYilG2PMTIsPYK36mJBZZLSOKO+YrB/lbaeWFoOehbXvIV4UJ5YYwbpLPZyByLGP9iPZFTUBi7p39posv6ePEEeU61cNGNci6hVcD4UXa62MrRluxzYaBZL+NJsW26p5Uua15HHOxdqEUqi2wSc6VjQNC2uSvy7BtSIdRXBdN3TVdl5K18MJhe2avV0jodjzQpbWRQE8yigzhfRn78VAcj6dyuR6Tk1dzIGHUtqbfkk/XNyDy2ue5jSG6vLeUPopxk9yzJz3FMmVUZJhgZvfnk5ofFlJlA2H9K+D7aWtr7Yq4T5cCycPRvluYfXSSYvmI4QZW1Ba6mD/E2ptEsFqBkIa/cyOsCav9R+/M86qBpgRrskKW7KXONm7SNRTDc9u5n2woHmZMfrhptCm6eVQDrxkUgSxQfKoh6D1iQjub5H7Ag2EemMvnTcKxZPZL2vjqyWEo0j2o2b3L23ygvwBJEBL/d2cAEa+f4Xc37JhPh13jLIeIXp9qWY4gvaof5qaWFcFSZJhqCEmZMjN8HjPUs40LoUMT99k9ZLABOzjeOmtQU8+jbAOf9h9d+h+JP1dPxiHO5Mbkjc577sNbbVyuvje6WVHFUz3Ivx2hjh9zQQKQp7a/cFiI+EqlfjAfIzqUp+9ZwQqj7QqEf58Okr5yi0H+Lg2dXRGHGkQGYuie/j2lkR+m+/y5qnoDN9yYnzanl1KncRCJVQEoZ40hGE0xzZcmr6HPjuGZr8cCevO5S9M4/qw2DK81ilnikDncrzFdkfFVfbLZ87gfDN4d87Mh3kAT0xwP2qivAdsOlXNIk00v8tg5f/0HjvEvfGuTwB8CN/RqqALZaFIZgiSpEArB+XjCox0zp+epniKlzFZSr1bp6j45eOmF6ssyuyVj9yZrw7Z9+YWay3Vb2fA9KCmRaH5Z7ImEXknc8XOz1WYq1pL4gjgcCRRc0J/KuvR5E7IzV8d1QKqprbDG6WEDFqjat7dp4Vq0NgNjfA1rFboN6esdQYQS0s2CYolhO71BfmhqNFwwXj+1O6o9pHUpJXFJqVeBtPRjUchiN07BQf3j9+W4Sjs/uWtGL1MSaqLXzEV38vG0Qg4uUfwF326IKsYc6zz7bzf3H6G+PJmnQPPmFovjix+zQYCu5JZieotGF2v2ToLXVRPxbsaypMjTG48iQsFgM9zvSVFTXdVXvw4TnT9KHe8Prxq5wZKCKiF49QQhzHqe/WoHppYU9RqpJ2/WsHS6IXkCpiaqEx5IzINw/g7VcWFzpoE2gRKFy95SNkvJyGUSB+MvHzSiBCh8dNElFr6Hl0kWpDODMmCWpAb6EugsMCL0tXE00No95/qD4w3U7aff2Tlt0SKLNByQgPfPF3xOA820jA7DoBxeao10sfv6w9UhdLdx0/vTC/rYRFxVGZDPb9HJUjsMO+xL0MiT306tL5JcOBCZppDEXFCqkOHCdZx7WK4Dkosfq5O0ttKplxREpkoYv03Aig0Xc8LxOWi8orhsBrQvqs759goQyA09TmNzatspCRVvIpes5NlxupYBL9pdpSlnPKkuDLd2VcJm5SvXdYMZHbeoH0q2XIs2c1Fl+AFwf4xXXGBLfsgb10sAHAMA38YggKsP+12OrAyS1gagHp4uVs5vpjV3vmQnsOrRWUrzG6GL+sozN6ec7TNZ3auAPZftveTweSt9UisGO4EwP55PSURtlO1M97SNEI8NBoYGrJYFMWQMRwGzy+rbVcvj6jhTvh1bKN56pfvV1ZjiKUu6lLDjAWz9F/JrPiyCzI94Jjv015xERbprP0vhhG/CAymv2Wue62kZN2dlmUZstiG0COwgySH5RFkgpZcSFfuBKAkZwQOWJeHlnHDuXhtjRT4mwjIAGw5pROTOzy/vgLVUY3QAB2r+kF6UDNIsdcPtKPEMFRSXVzzTfAdGtTK6Nw0ydVVRYaVzGU6WOyKaqnK5Khlgc/N7uHgUrS9PlWANTa/rNbLTC35CqVuAqfHXuT6kxP0OT9MYqkBKTklPiOLbJHZLquag9mI2h/YhyGevNaj+Dn3hHv7Abu4sLkit9zCJD9YTEmS6kL3Ue5PU6asDBGO7ZHmWbKtJ/x4Jl3H9FZb0XX+tkusdtmZxi0avyH/tAhheJ0etdC0R/kQ2jBq0r1YDOW1XfsPF7AUZS+ttpuxQ/VS8FXB9gTe5HwEWYYPhVxzoaCLu26sxuEwEZ+tbVM+J1chD+i9KPhFmc6Oc2VSOPfcnIAEG51kOjnqz1DZBU4X3mB5nSOQmoiC5kwUJKlRrojyeY3ls06kKc9uVBVYrzvGSSb6DJyk9pp7E1RHTEkpYFhhcHHkQ/R57BMEsv9eO0FnEJE/dCjMBXNL6W6DihsSsPFMbg//Zo8g6rQGUCjzpufXgjxmy0ATo0TxHQkqdJdHs29LN3xAXaK6qPGwz2eYSP6hqyucU3dnF9Ew7JXwzn5u9z8gaXER0L3gpFWD3mK7I6sZnsHJq9z0xVBFEiKRRad7WK8+pJSBxddl+UAAF45O4Ui/MvuSR92WvHwt0Zomad/KsBjWu4Cr48AmYvJjN5Iol2z2woWVLUwboBiJSA6s0YE3hgjT5e5fuXlF3ITOUbRpkh5SA2Xo3YP7F7q3xzNTclz/AkFoKnoa9vsYaOcBQiBCsBGcNmevqnVeih9MgLKk90RNt7aAiNMbPJYHMXL+FjQInD7S2d7uCTKAjBHepBQS9ctm7OFn//vo8T098QT2YSoS+n3L/kG8DmY5nQUNPanPTS8Nsn6s8rHc3hds7UQZKjV8yEdYYsXlojs/+WrgLNwb+96O2Zxna2BUbgU4Ny+LB8wMCtmYntQDOvWcloy54xctR5Xv8U7aSzEOHsPKQhyJvtAV9nSxuCOPtQcpgFzY4xelUkYYUBFEt2/CE8RbSxFd+GE4eRyoKf/g3O0PbUGE6FabeGaZavLivWQQokwZO2NZ0EOfnjpqtzEIyxidcmekkwmXcks0hADn+qadTaH2RtgFkiZeCmPej3JUYfFanf6bue1jFUr5G+7aJErpD7dgcKFYeuzLskrORMva0Er6nDv0lQswW4/2v8sHtJySfSjKOFpvO6M6zpp8mjGgYOf6UqAEaaScGjLem6g/ezCmrCGp6H8tojdYGIEOSWj5e7RfCjX0oGz7RRL8iixlsKLd0enFNTIQajeIpKFJmYYfK21xUjEm/05z3JL9/mGOAMEYUvX3sus9+hD4zBp3caE7kQCsjEq2GOE3IP4RvDL282oPQWc1HbFYhjHvBcQAbnAbT24kli9bukONPmAJPeMTsD5dl6JptJxFG1lJdk0aPemFtrUCsD1snCadbVRNpFFbL/vRKf5wthPzWdbKQgRxzRz9YIIYdk0t26CIWpYcMXZOvB9IkGQ5sRnXxw8qNq1HL9lV6XVbHBlbj9NlhT5/jNz66eJsFrqdyyyqumejuMcE5LqfUrv1rvFyA+lDcapdKJi9nzu9jtX9Bt7JZ0tIQm/HM4Ou7yaUQIH+8N6qPPVC25TDZYF6VuMiPeybtw2G89diU/bT+EZSCnWHyndt5TwQwFTT373QdiIEAJPVWwCQXhJIM3D3/zlL4FejiCHoGlUhhTX96cleFG2zqGA2CaBqik3evrbM1R9aptGVm2+EV80VBmm3hZ0pjCbg6N4qtUIEwvb1vwk2xIoYhMtTmIpM0eLs30FZs9OdQlpMLYRB44K55ZNwXCZRnNAyjZ79WwnDWufG26tEpW/LA6WStlet0DyLnqYYFZClTAefEl05IkjyVlCwN0bAhXoKytRogKwKP2TAT4zbgct33XA+d0tabPH7xjvNObdiPvG/LeX+T6vH32pgR2CxtDIgDFrlYNGGE4NvQdNhV5kkF7i+XgMWq5zLLgspIAOV1LqHdd5y5jkXyFUWGcoB8bkbgCtkB1T7MbU5dXLU5x8wqCLK2iojWVqxy1dPThuhHSVwPIFwa1j0LmWr+CS38lbQMGsXKfvXpPDE7sW8K3GcpNzymJhjMcvOgJPtzWINJLIePKL0UVcduUxKyZfe5SSRHpZYwNj0GnwJFDW2yaeyNi49+XHnv1bTkSP/PBrKJ/IQTslSXcTK4XMO+uVuGpKthErIWYf9C3ZxDMezdmzy8tnCWZqDD93eWZ1C/5l3cfF1P0GzljmDmi/MfkFo6EhjYZ+pTsENmSOqJC+3o4A8DyV98Foe1wMwqUKYUfECiARglV5CaidRteEpmltTZdk5oUk17ZoLIodhnYbCsC4t0KTseuZRA3aaI+af6snErwzO5afTnh3rgo/SEQQ0OFtoToYTUZhw4+2TQje2YAVy74xw0/tR4khzwSXm2VnMp4viNbRGD170XN6QUETgL1yBqql/CMivRQxNVqoTOKHDo4TV0wg8B0mdPZ4APpABNN2SrBTokylrbG5UVGhf2C00HEoxjtXpHhL+MrIATrzGwXvSRGJ8cif4/19dk/FUwqhD0xV6pFDoB51Rq1yDy7WRhKfQKZQcQZ7ddTny8arIWqBPzVrHcrFcTI6fdZ0mAZSUWk9rnvPoGaPkE8+YJZp0rXLT+xDwnl1uT/ByknxGhXG52nr10Xg0DVVsdm0QuYksr0HtWE5948IrJKAifsygsOxaDmLRov96nBvJcLSomzQVNPbSLxmEJpPJHo7nraypj3hOADWRTo78wMc/vr+9trHigNOAL5akacMmQDc7d60+kMwKG+sMkAYqyavDdLkDjGy9ieLX73fkVb9b/KBbg4AK24/i8FVHfPO16Y9a9AVlj4sIiXvoVmJrWGIGwwjled4m5XEQe47Dvau7uXZ/5UkGbSJ68pbFfWEesAehgfKBi3Ao0hUMVrVXVg4G5QQgDAIg7kWijLN/llw/Oo5JOdPFrotqRISxUfBajpZ9xhh9FEKCXNRL00GOiJCDjkGQ7b6MwRew8saYB374WFgkKlKh6qi2w9kzZzFGD4UpA3Ru3ICAtgJtl23mQjh6hkstTe41pX8vT1JNZ9Zv5w+Bn4eOaiGHpvXRsvwrJ1eAwr4QleLmFm0dJpn27tus8fAj9EsOwrOU5enJI5/LXw2VR5X82umlUbDiFcaVBA1Rj4aTXPgDFvecdKXTID5kHHx2iKKcblwWp3LKjwtB+F6dr9ffYU01nA+Y3i58YySACjiuR/T6Hsnp4gxMvx3AYXrt4MNskqjttFpI8A3tuI4GI5M52kBWslxPU3VPg9e2snRvuKV2Vph5PBRxuZjxtxtcCWXjoFu+JR730OEk3HVlCZ/gsy+a4yAttApDbX9LQYhtQ0YUD0xvlf1kNxVePaHIGTn6ov9gu752ZSgeZtKHDncEfoDoDnfL1D6rnfz1dvcMXY0NTMuzYW+1EL8g+ut00QSN+PmGBOeaaXgh21aovog43JnnqtTZ5zkUVbGsnBDq2Dq6qoSV31mAoKy8QJAQ+kl/LLgVGchyacuSRgky8DJR1ba6qBKikgo0ryKlnb06QVQ9bsVrkLLDLV9QLQedO8a+gdCDNBnuHhH8I23kwkwNRDeTSfIIdALXyX8cvhn0c3MPNfvDxmHjUciu3eek+IA9rMb3+tmTGseXEU2/ZoI2fPT8+FO6UaAdDeqRYr7v5pAWE3D0rJ/IQPeQ7/dPSzXELHjcAgRrVaWw4NkfkkkgZfRkrA6RhfRedP5P0Gv5iYwQXtSWY8CIa8AM1QzuuTq+IvIj9ioK2rKBsy/DJ8AT+4/8ooer6OiGetHAjtkTERWjWSNeaVVkeC8ccuA8E8x2O9xF5J6KMksFnRy8VMlSw+TO93aD46iwyg0QKLAo5XV/nUy/fVbgURvYPENp0Ox7vfQxzx2bL9lvduLIpprozZ/4OYKHskyKiucQAi4wpP0nPxm20Fd3pwg1x8smN1dI/pfXC3ppR5kcRpkcdE6u2CAmeGvSiJ76FZeQNOKHHKXk+NHTpEtZGAmaIV5k2KmvgQx9YkvGu1CvJ/VhZMMFqenWdU/BeyrnlgAofZAhNW7QHomm87jFtLsyBABdWLLBemq5qVP+O1rEpdO8ifDVrtIP/fkpEjjY07hsrWKCl5cHoJ/RT1JEYISvisgc3uAUofYzG8ERG90kBIAvlDuZ3gF1y9W8Q2Y/y7TGXuzIRhccYG4KRz+qP0Ely6qJX+anmV9QG1WMIeki+LE2axblK6KnUaX85hV2tJhYNlH1FocCis58D/JR/yK/wG5OqYjgbMwxkVkZLIXWjaRbJ6iTllB8jhgqY2BCtjuE7hb1HMtNLZaisqBVJOPJ4j/bIgKdjtKLAJIQSNKTYp12Nl+HP+akm/glOdb1whNHFOsIh/ONOJ5mAHuVNbo2Y4r74hfh7Q0b4XFwlRTBNNO8+1OZldDxdrkg54DW8GteNiFxAIRes1b4VmCdzAW6qh5Wol8K1RGB41x4N8rAUALczDAd+1tSAUFrK1KiA3hA+meZTYhmEZsrxDTK83sfc8rvumqlQLvmmUgFEMrO7/EZRJuceyAARFquHatI1Irsd4GUXrMf7sTzrvYwaAF9jxLWbZcTU9mO+nNiBQDSTGsQuj/AvUYFootFTroHDgiY7b74nSc0r8T3gSVXs8aenzwTR2MZTx46zy4yEXGSi4FpbJHFD59SVO03r4CVUn1hofv1ewEYWdJedXDEJfAL3X3SwogUmLN9XirSLovxMK2xCH4KpBudzyisA4Iav4043VMhO4zu1CABgHsdag7BSU/y8vXpF1OlYKobOa/MARylzXtnDRsfe8l3D6Y8edRj20OUNv6Vw8BXPQBAwO+PfoXE+TfPkvTe3U5R8hV0YVHtwupC3X2S65/IH8SRWe1yzHhvAxRYPhsajyMVVyT2Z0Gyb9VWyD1O03eq6hN1/g9bsqN6DqXMqLkxCZhfFXRvyVYbB9jxXNuzmVDFL/7UB+SIXyO1TxpGzGy2LgPnGWBkDJ9HudUzzHJq4g9wOyfvV2LlLMbM+wKCjWCti5K1vfILDQD20XKBxxqLGgiJzlvjaMqvdiZ+6kmepRYJXWiKcg9uDVBp63ZudNWaB1+gi+xTCylQ+l4+Z9jrhb8okqCZEQa9u1ZUIdC2/IR1H8THX0bfmNuRI3/ogDe9MhXpZko9HTUTDnwpYDLaHu+0Bw8+ZRhxNQtPFwrbf6isvvAFbUC0DPUYCdMFM2GW78moBHmBnk16uqL4YciL+d2STq5HLMVd3Mv/xidqFTUsFVqTz71xxo9jptuXm6trrNZ8uKp5dxz/PVJoSprYJKjD/rzZQAa39RlNsPVaqhzKhGPRs8g79XQxgMX514gxf0NyLQmlhjvx68osIDrUAePvbLi4KRVQbZkB48UZ0iLO+QIWvLltNkWUR28aCYQn/KnVKrvLmXMNFUZ307ir7WXpUfmvJ/5OBGr0D2cEK7eeA8huf5ivF5WXNLhcaXUm+VTFZci5N3uhq5fDGsiwuZyZBxe6m/y3LLUCVPwR4yY6+2m0OriBlU9xz/C12cZh4wFDdFMMtAdc8dDNqvsRE5BzMezyI+gtPhYyoYys6bN3qanXSoMNJs/v/TPiWZVzcvHb9CfBfWolB5vMXGWTZNK6hE699HmllsrvTxhKzFaTV8igBf3cf3fjdc/2+5QTAQgYPzvdsNfn7RqM/Z0iG4fe45Mj5o1Z0/R2he8DRiZIkPjdjC+LU7UHxmYZDb4dZUESUHO2uXubom9TD1aReu80M/5Bg4nlnn1bxSKC2cqQWd2Lauj2jTPMTZ9mwWjx1OykE077a+k6codYpEGlLNlIlyZSWMqG0RihUM5kV0q3SfJkGSB61nrKTVx2fNRR8o2EFJRnfQ1Jhs+2ylM0iYfw19LwD5HO6k6dbmFJHkFjt82WtUm45Zqy1PN3GEeZm9OGDdv+kc8bu7IVtUgbEzYVr8xGjaYFNjbLwOu9debsun/8RHq3SlwMgLl8Xuezva8AWjDxFKiR4ljXM7CWefCcUJAhe6B/UhTD39jbHjCCqJX1kJSdVrtoytqhmltLpzLdRwOUU3QY9R/WG9CM+Lt+n5dgo7TpOPxTpBMIqA20BXP5oUKll8yrhWN/5Ez4eU/34fFqWwOXojKe5DSfpwDV/N3l1Wh6duLugXRGvKBcALVcQ0ZdluSxCQ36xtZS2TGReXQ4Cp03nk1jC2YlZbda/B0U+9J5Leg7sdltyLJ2pvCQmIKLQXEfdZLE63P3KRNbDTDxdif2/vGv61uauGOBMSFRcEdsvJoMwj3AHwWIDcjZrkRIlymCwQmyGA9/apdD6SRktg48VfTwmluVi/Hx/BquEilO1OlCCkJ2TcveNG5npfDwtyFOEWbQAk5n+ttm/9gLYWDoZTmHaYi8JLb3lH7W7LxvTY0wv502ADmIvAzaIJ24W5ur/xhDCOq0617tXKfLJl4vNaBC1s2ZobCkyrtdOJsrWrgN5NbwUkTZzvHZpmQ5QyFDkauXv3i+8r1fJ1ruFRdGoXcQNL4l+IE6M7Mh8NRcZI3w1aZsqnca/IIgbI4quAjea4q8rrDEuoJ9cWw5cAlrbmWywUCbCD5a895+1lTozITvxTc/18qAOmQd1YmrjTw2rE+SL92itz6OELwg40ZphUeUQ2obgFF4xoSmsaPmLu8r9D3I8jk603vK3ah12jBpeLHRvXGTjYkqFwjS0JpSc9SObdkR390TCz5SiLoSNqYw4H2BcaOZCj86DYx2T80Bx759KM1ZfpBtp7iW9LN/OdFQk4L71GjMjQw/GAqoVyHBOuzu70BetUJGuWqO7bFTqu+rTPab4cBMH6AT82jECC2ayCrsVFq1wJJpVKFBFo4iieeO5fu8DZrB3ejx306GxwqsGrnW6LtDl/twYC0nZvO3aFnNEouc2RztOrKVyoJ6ii2qp3NdGTwlHuBdSoKSVDMQJDGq0gYgXNG+MoMCylqesBOz9+QTuv+GgAkO3LqqV3/wjrwxDHJqyOrbmgtp3UpLYofiNOA1ZDy2iaWppteqn6WCXiXjdwmi6ldy8ol81ZIrfsbPyuk3co+51ZpwIEQQttzqtUkJfaQI1Y+ymXuG2Yb6bJrGQbnoYC0OaZysT+ya/g4uu6qpRkNMGpTZEdpVGmQyydRhxV7IgZ/R6dIjQZa7DV/x+Y8jGaG76/1umrPq0Cl7gGKLMtgTEQhdyBDFOPTjqKfYXbnkh5POMrdvFbfHMyUAIXfrbfQz2g3/lBtjuIx/GzfSHOdzWttBiWoTXiRWm+WwtynQTp8Y2gJOHzJXYukp7i6reAgKDgXfTPnJ3SPgUDIEZEot14Bb/w6S3jvmuhiKMH7VYHKVPcvOBXIUP3fphoutxAdXrKSBTGoZ7V/lO2Hb28LneRU/hUIfSkaWZ1+LqM20qgEXU+nGeP4tfL/nFNWRvgSRbmmnfpxNXYd/X5zdE2Tu39YcKJu1PyCAwV20UVUivN2awadmgeMvmTsbxT93SzpuyFtJ/0v/UAXoE4MWtRR7cHi/RFnJzwnSk/7xTlNbnKsk0XbxtlmSFthW0DEw5WCWrBzg3AlHW1fuxo5vTrN5dgSnq8fVAyVhUjUcbTMebjx65CToQZgVAt7ENB4UK8485VKJHMUIhTdGQTb9etNX0F8vMC13Cuh83PiP3tYmgwn6SrwBL4KJyrS1Whd6kACxj0JFvkIlbl2tK7t2GlZBSSLirx+c+5DqK57Qeg1qLUXiDrUIrr3TYxtHy32x3UMqVDWryRy5SW1XYlODlu6Rr2KdE7+yCBnd1AKZraE1KrRCXH/zeIxb68tpePaLcpQ3wa8DbLjNQEwlOlWfSrvP5sP2mBdnblkO44T2ICHmUNSi5tkiyUhW4chdnowCzK14t3R9kjkYdRP1CF7aBf1m09wwgqIcuyfqMwuGll+Vw2alNCAM98PIHtkRakkWQjG7lpu1+0kO1h7IB9WYlrolEugRRKuGqZW6YjD78YqyofQqkdU2/n69nyKHt9zP/wtv0R0choer7pYRVD3xvr2UHv+70kdp/5vv17dotztEkJSt6zCkAWa8T4VGv78JVc6WcComJ4ZZ9xzHJRuajhDRxI5xbiPfLKQVaWX7bVk/3589CD9hdmtUZMfthpA+VU6AJ/KdIo4BuMmdCsrj3H82UeQa6sCi0V9ySKE5iza9zVnwc+0bALZkyoHmLlXljg81YvsH36uYBWmTti38b7S+I2xuX7BX0oX17bxtKE2/hfyqwKoydrY/hEwVDBuYTBt/+fK9rTyJ4zLVY+p3YQ/SojGjftKHpdNmw4a27nwj9XfsImBMY+PEkHd3kDonkQhTzY6VIpdRQYwH4kxypzEwb0D5TNCb2yIlu8r+eIiPZsDGzdkE5k1cBmts4O5VG00WVFg4xtNzWClDGQfsXNLM4cks163xFuXLu5dfiDimeMvayUNrn1Edp3WzCCKY0vdnQB5lskJ826Mwey/hgphKTB8VsZyk2M+1t87ERYwFcxugH4dAoE8SYtIVPgYXA9QhlabV//bPg8zQkG6iW00mwW8/Em6t/txMpozPRt1pUMlZSKa0MTuGe5Vt+qgJQJj+xKa1fUFobxC7IZe46B/UPOJ5BomCMPMSXuzqxGp7sXCYdCejLMHF8pxMgJaLSe/xzg56kc/iaEpmwra219n7kLkEww7Ht4pj/n/D2HdGUKcWfb1bL4BaQygF24RFGOuzwhKxuSdtpAiwrUDTQTPheQMzODMCUDIIK/J0Fnyr/PBKm5M17YqGW81lAWycddnmsyDkv+b8co0V9DD8ihVVYif2jf1+XdXsROclQC8xGZSfehR+Mpgc+Kq5/6wzHaoG5gXC+UL/jTFkdpyZoi22rS0SVma/2f1Jh8scOT282ULXL9Xy3xX7ogmfr0bQVtqj4lyR1lB+Bw9Efv7cp7lBrzWPZEa5uR1RnboCytTuAG4LsU4LNt8bt5bcXOP0Ew877uI5BipoSET46mGmFygjjsh5QEq4e2IZL4HuSx7EP2G1mGXG7JT4/BleDiDUTVLhK6OpwWhJycaJRg5dhUVPYbGoshjGJGtiu1P9FgG7Tb7AlcMKmbi2xYVqU5W+rt2TSrbNvJADgZX+T2p7fvKJaFbEWIIXbFuWkg/pBX4Zsd/MaxWYMT95+pih6f61Vqc+qJ+J1wUCWWrokPnO+yMYtWM5Es0iCHJ/uxuwK+4IDJmn1qwMeYPvqBFgM8SmS7Tv5HIv2DKstCrXEIW2vapVSUoGBHJgRCG1F9cAjl3VUxJDs9ojP0pxgylxsh6qOGLGFG/B/0C4LdnVlPhI/j6yO5AUn1RKv9E5xn1vlPTSuQuuOc1fW44PrPKIeRd2cVxH4T/FprmeaKbdjm1b7dMHnud8UGShO1YP9Z3Pqm1004JzdnpdyJ9wkREyRgAhxOTEUiVKioImuUH2WO7o8aFo1Bw1ipiYhRD3zXUlGVYehmPr4WX6uCCkXnRrnjVMTCRm7oKDi2zei1sqoJ0HtIwbIURsDAJBIX0FjPBZCejDuMhgZhWdPhKFj0mZ1wX26E50T6IWTsF7Zp6HmeHjsqQeSewScT1DHOi6sLHz8C+yeP+mvAPfzsnGXK+io6jTVV6cu7t50iIdXJA5gFom7dlob10jkQu4jks38cQ+YjOwzphrgy9E3SsE/rF5v4kgXqKMQ5lxuMVlHwYC4glJV63l1Hxa+FgZ/OkofBrStqAbNuMitWOW4zokVGHAmT6AFFDBqP4cVz51Pn1Cd9Ix+6nvuGS5OxIq6m4ALddoayzTpjtFkRsQREQJcEqorIZByGFhCEY2LgGr51CRxFNvln3u1wnTc94Dvkkjh1QFbCqNh61N5MYdrFppZQogQbsRva8NBVQxdksqiqMnOx3r09drmEC9JPDcDTsw6pL6m2De4mFK764eFB9J1HRCnRk623pGyIsdbJiEZebdPuW7ztb9veU0l5pHerkNirEilh4ilyt8SkZeOuIguG8N1lhpHzUJOwiJe0Oav99o9eoY/4xv3nz+gMlypRgfgV9RetK6Vsm3VuHhG1En+U4gPlUl5HMP4g5OLtO7ytYw0PpLTV6oY/bOKiRTdx/PrZMuiJp76X+LSIOE2LzY7SzhPuL34jSmneXYecPvXJNzpJ3gxajITKa9fMJOJG53YYPh7Ds+Yxr4izQzDW0mdgaaqmJqXboL4N3vIEh93u/JwVzbXEOZDHCFsKxkyYvy26WTi7T2U/L5vgnE03ZbuQ+NAKxXCKWhk7BCQla8AHvb1l4iLDMfbpaWne3kppcg9PzWCWL5ZX3UUm8vzsOQvd9VP6p4tTfWusMQAyx7faP4yAmE72wGmHjmI/+rAR+xTlVlAKEvTBgS0m8DrSwL6JXrlzxBQhMRSGIFVsk6ggwyhgyvrhSjoFC5aRpqAs8hPuGoH30UVTDk1F2G8ltcZG5Re762F8JFUV2TapYAQVcZrOse1wMNxApgWkpObdTAqlk923j3kZMR7rJiiEXKvi2TZPv/cqUKj2oaebvJ/hP1VZYfk+E3FPamKdIfFHD1NitRuLTWYROxoXS14howE+efxf044OnXOi4k1Jy2RRbLTR4lxM0+Zv4l2MU4mhwD0PCwBdj4JXZZMkKdnxzIJFq2XUW06Bcow3cR4n3rAaTk2xBjH03R9SrCuXNP0syMNLF1yMsjm/5lmSELd+GkN8oUKFMe3V//Zjnq79rCyBUpo36Si4nkntHb+HFt+N45Hyldhz4FogAq1ka4ONV6ANV1A6aG0H0CzFTJtnkuzScapZ2KP6lmicrh9n/AiSgvdqa5iVlgD0M/KU9I42TG/jHXv2KuKCDr0Qk0fgfQX07MMYE70IHnJq/1XB0YOVh0sO9ohiu2xKgIoHA+hd6KXIpk7GUC1elDIsh6Z3nqc9qlvbucK1pHRcW/lhrasxbXNJqMcYBlHY9ZCxajO/cD/4YkxDYznZuswAgYjv3T6xlFcx/Eah/u0tUM2Qnpy17jkkerz4qt6w8zifVSGEwtg0kVLSGbOsdChiputIntZyXuO+0RVNvBFzlUlMqVJ4WdErnYDY0r8TylU9wcb8NMEMM8nOYUDdyzEhNzXG2YbMz6J4CQU2jyLGaa6LZWN+rUE+Sbu76TkxWg77fsKAWdYFn07tEz/+92Mz2n5KiAyfOiOagD+8Vrvu1LX/D/QNP9iPrA2L5c8vRdgyrygp/HWYlcipDn36daE7Tl541ovVB7uYFPO6MdGWN9+qrL93rE7iwqD1kTD3HTZAFucTsEWIH1bp1y8hSaTgeaAprO360i56BZXP+s8pZt+2o2qB6KuXk1A9oNVJBUZPDXq6EzVa9hby0XmblI96w3ufxR5JCiT27sYpz2krEpnXcIEmkhzsJNSj2nmMJpYcfQhAfyjYvkI9oUr24zraxtP8s2jU4fKBhUJVoOiX0wBNxSJ6amfun4Hi09F9BAg7TJKOj2XXDc52hL6ITXr3m5XfNk1La+YEUahFYJIiI4wqFO3OzfBiuN6aBmZW18OpOD4y7sl3Mun8ZbYNkDulSlyhz/7OeF2qw9KeKZBvkUn0P3fQytQa6zc/WGyDArXM6+UnRseYQhA48brwGRkYyadNs4VeK7z0UJH+AXJbIeHx73L14biMrpWrLeaa64sUGF5JPptfbKrtQOSbSo7dJVVVAc+6ThDLbD4OqJ9LPn3n3Sn0fMBxuhYBzpSjYvp/J6kSMj/Yz8c+sjffzCBcYDhNLGEuYsETMjfAithc+Xf8JP/xeuWIg1YczQ9zeZ4zzFCROigWSAUK3fnaXwN0zZD+D3ZnvSpCzk8nz3T8Pp//+ru629Kraoe9KLKO5ThYKbwBq0fUFhQ6rqskopYGQJWlECFMnkA2RSeXw9Ilm8fmCfojNM7S5YfVedQR9Vq4SjzfvQaVC4bcwozJWm+VpHKAFu2rZZVJ42l7kbGdzT+W7N+s4FVOZwaiCtn/mBYiQde/s90b8HdvQ+bVZC9g3Q7rVkp9Adtx8+dYkzlJ7VJWBFYnOm82j/ytu9Cwh5UVY8xyVhEVY3t6yb03FgvHC8Wp7hOTPSXpnS8C7NKq+Ad8rLo+DxYfm+gWqaRA+LtfUq0HM4GC/X1iHmUpZ8p91Hx/t5hub8a3czP/cB+kpXxMku9yXiHLdabL0M/VafrrluwvcckAR38149LJTwCUrP3vK6ZbCA5agb2gleeftbQguwztpNdrKQMukDq2tH5snRRn9XfgS4suLTv7uDeFU70Z2UBpAp37sn+a+YO16wPtLbDUTwSgOd/GKF4sK0/rcE4XfHaVk9sCPA2wmHelUMOSYtKo2PA435xSkOVXc7NO72Mu2LVjYd15IFDWN0dmbotcjbWCtEI5e2mNU17aD1z65xq9hI5IcsHHcUjOTLS0RfxUsYim3CZVblQJnYc0L+mDBA6wFWvVZRygHkocHYgeMgsw74OASkyO7KY0MZg6rjlg3SlsTla2PsWHKNVGWw9XMxYeBrplEgRwWvXiMppc0JaaWXPZo3o2qAPA/UbsVL6E41kMrdfMcqKfCbRz4FBzWuDl01UJWh4ruhbeFrk/yey4+RkowXYlk42uTQez6Wek9ZquF5ro8hq0PU0RLcHwyk4lw+nZns8KBhgo3tZ+AgpU2+ya12D2GPOdPc6C5UZt3q455KxAtkeMesKu6QCLTaRaU7UaQCqrq3EB2P4xkxe0eVZVRYTC4JX55MtyS+EiM9a1ul1iQFIOVnrZ6dwMCCfxj51scJlwOFU0sIIC04yU2TroNiv5oC8NA42h5KDuVkeB3h8KuWndEZePTk48dnL5iX1RsWbwJGLMR/kTP8E34F0RyjIIxfhQWxtBN1NfRsWLN13fS6MkG95mT3XurNVCNtqFipFZp46DkX/FPolDvpySZtMf/HRPzde/umD6PpF5Keu/7+4HQNhdWERkTGosMNVDZfHfZ7f/k4uZWGGvGGJMtHNWhCLgO/o6DbGAPfjtfcLoijiZxXaSVI71YP/BtGuRRVtdPFQdjmUUfWF03Q5/x5BA3g6BcsqzhHWzXzi/0G9B8TmRH96rqAyB4UffA7ZYJCTIOAetHNcr0psaDYelJ10SLFXx3ZuNvqjv+n2e9J+ed5lE8ibgldAt+qO3Wof25v7w+mEHlp30Fxge5VQg1kWe3q2JtMs5kQb78p8r6+Ak03fZbR7MJrbhL9XI8E5SXxasZnJNnkDZtEH4Nm8aKMRvmCyrjK6HZtkEeCL/OrlBkSzZLZOykSUVpcMLT5P+FuPXd0sqmTvLuNAVEA7LNgU6mpzncKQYAeWddN4UhQ5JjMJLHLsd1cZNVS2pvalALwnRicTRz7gcE3WQ1vLJbBRbwv51V821bD5eJr4XD0nv8AZyQrf4WcWBldCravjtcyCz49kQwoc4f4qqfcruaMbv0YH/G/W2OXyIVZuVWEj4JYpCsSL4OYQybe/IDN5bvHFUZyL32k85uipi9YPxi10E0UOU5eFqsuVuU6w4C4WS2rgexM4rljMU5OeE6jn6u8p5Z/CJ+u++LRxW5ceJ2MifHNoC8pejEuUv4GwX5IR9RBpGzFVuSvL51Z4p6YwpOpotU8vcGUz1S2a5XvCq81mOH4r6SGXPHVZswcRQpqorZXEVBJO6ym2bd+5VFJl7Jgl1GGg0dTzhmSPXs02nKusA0PW6ajquRv6P9LPQNf/jtA24v4wCUtkxdpQmkBPk95NzhEmhoZT5f73QWsneEvXUQo7lZ2BgzicmqPAZ320CDv9Kg2Z3dQ2VfXu/RU+xE2sIChPVLOYNHT/Fqbey0Wf91fiNlDk1amf1tOLKSlJu6Iv7oEd7TeCET57HAATTfQ3/+RM0JIYwLVKCSSmiCWj/K16995OHqp7VLbiM018+gu1q4DE85WJr+8Pph2Atk4WXW0PmhI3bVCIA3+9gr3oz5bYbgRoXml9uP6dOlSmeJrYVWX+skw/nydXSI7kkoUheHJgSRkoxB3iIWKWpAxcsDJ5a4OFLtlKgEfQP1WDmDXs+35++h4gc6z2/84uLBNeG+mvKtT8t2Yct4HovTS9CuiRwm+wqFVBddp8aahLJafCKTfD+En4+Do9qjIpaGfuyeCwjc+IRwnLpMiHf+fvHVq7ME4BFptwIVSQWwchSyNWWXCPPLN2GhZ5qV83PGLl8lsqyd3qMkLmtBVJAPvgIGZyzdr9Gjxl/dOscWd/pukBg4XBUEEnPRhMcZrBm5XK1EhW7hn3Ya/Pel4/JAAbEBOH+6h8twW2TC0DlcQkOngCJnVOSQw1nHh6lYg+fq1PHkltqv3fb8EdA9bm1ClPivAvbzg8IgW55puXO+89bEP+c/2Em48Bllmy78mGO8wirtedAM5OC+alIZ5wfzttvFQj+qXPpcKd/3REp6U6m4doJsJ9g9KdnhbINJcywfBOVO2LsB0QJkrbtc15KjrNNAzoH85tb/fbmmFOI/RVyXNw2cY+IeVUxW8Yr5cpMFtidL5wm79NUdmv9Cm6jF5KrCfak8igqiiUrtI7fc6ih3/mlKY49MQA+nz/c3NEVLQiTxSQuG0XhOWtNae4uNHZg2nhknlTDf4pZ2/VJolPTHD0hQiVpUkBHBYGAXPE/xsdbdLN91Qm8aawF73JPMCHAdwssDg3tLWuy0D8XSpAyx7Uk4ysqSvVraPOcAahVKcXSykiBl7vlJOHKVtUorX8x4Slr44MdZinggHgZgLBNGD5m52i+rNqbGwJZ9BeM7bZ10hrHAqG7tgy26igHmgVWvC598ekBrwBUlCCa5aswZwkW4OviMWNd2R24WgtjpQsOchAmJoj7kjiP0sH33QxWeLBtRQm9t/YraBBCE2qDOeQqZcUvVEZg22/WZGGPsWnfaR/jFVc8NaKAc7mZjMCvvJ2GrS8zYB9cmFxhHzCR5jOaDFbQrMQ8xWF8OYnOZd618G8QHupFaDdxfz1mznCs7DF5FTxDe+bcqk5x4dGFk7RRgG/Ve5mQEQ2tsyZfxeYnflZdQvZkhz2y9S26sMuFbm965+bKqPd9Co22scterECMTZPXvwsV2IsDWh0YC5ZAdA/5jeIUp7mL6J9LyazWNR1wby2n/JTjEg5IlkYIWF8CidyzhnfdSjKY9ZK/tLAIdkSJ3zxp1n/rhSINN8vjAJS11iWxnbrQRmw4PR2hYRDTICCU10Oqsvvo5xAJ6+15zv6M1rL5O0zDBqSFPoHK4lPh38vcW9Ng/WKtmoKtR+hdAUMIPvXETJXL4IcdSTkIDscqj3TPc4NBbupYelKHFMuVDULxkJk7JE2WZiLTs3hDHq/OFaInhjMTk8Hsu9imWiKIPlGNmyOSmLPCd91HibOI/VJ9XxD4/t9YHlw89UZFJ+9WpG7nc6TLmht78ouXyeeLkQdtmQ+ArTXMA11w6ehwN1Y+dBUsunJnlrbP8GgVKyDF/mj3yrMixYa6WEvFn5zDm97DhMnrBXHTj78tvYOOka0v/dVvIrD11GV6KMs1/XLtg7VOCQewTQzA69LeZvK3tlZ1101LjubkKgb8O9SswnWU+Q5JTqOh9FqEYmknSab0y3bTkoo4Pm3635bqvqB4WJXKteILdYYAOaXLXNZusCkRc3NaQhxJVJT28CFuFczg4me8N0jtzeHZa2twafp+W/W/qstIjnYwi7mVmJ+8M2a+Ucxoz1wzo38wcEsWHL8/s4f0qmhtzWC8sf5LdebOMEtgjdyFZjsPaskkWols8HQEsq0EXWCtSRmPV/svjDR1/M0WXCuW5pNCpPH7z87b+m7mwJOtEM/WkdQZrw9i376+gD3H4N/p04hQp5PEO3PImMrlLpFymL7QQlhlL8A1U2g5zArcvGuRoiklpZChnflKlGG3ac7/nSgxDJGq+jZWMp+vCG8rDeY1ybo/qM4h+gRXNJxx/56D0AsG9ahF9gi2jofW+QGcdircT03Vo9AGidvCqduu9degy20i4SqzA2yizcA3Do3i9XlgqaR6SHSPbVFdtVZC94S9rHEr9Hj7O4cFOas+BIFCyoRENl6+g8gVlRx8rnubPDVAe/8P8jsjQbF/CLTa6GmsvGsS8M8vaZx9iQayfqJmXMT9cvAKE1lOirBcPsOQ7YI5gjsTDJOXXHtsu/exBtoOXBiQoCDo+Gk3n+AVtl0YlzVHc1pjhiio+riK6q0Hi/7tpGD7fIi1i2vPjO5Q8+CydDanBwDCuYt2OShSJJfq6/aFjl/YMmdbruFPfTab9wFT9u2zLWJ7l65oQTwgOYOEGsagSdvddg/O/d+V/7sEgwIzF6ljW7MTSYrRZ7Hi1QE+Di7Zdgzq47WTI1dIzGRA7CAqTI2NPxStvm68+pOSBA0EIkiGldMPBqG5RdXNx2eFe35lwtU1Hj9r7EFh2Gw2MuOWJvd5H2Y/tj2zAammiEFaQs0vXOCEs4cAuKQhLD1H31XBkMeXIFravjLQ72kfbqdlQ1JcUbNZuqg2fSR6aW6KTmQVjAzk6uRgg2GlGXzOFc8QLZlJvRiQhShPVr5a/Bn5rnII1lWPk4M4HOcpBUL9ICs3oVL6WFj/mei3p/E3KjbST9CInrU6XZnSDFepsI+YzqXW75Elyhy/p8O9857eUj6XbIGDUFobrXYlITWYLIAAXvVUOa0O2iQtsbVVeBqL/jgAHAtbvTNpxCMHhX2M/QOJFDGeNszpaN/RfA2AY69o1ZQSFbfGvhNU5aflMu3/xyr3OIeuTMHQWAhWBd5vUgJnEm7ICNLhsUa3tPrgMFbrs5+VeVF4rEeBNP5/AnOUzccOr8eowrSHDGFKFJ1b/ZnUYr9tr6EXuwAB6qJ34L1Wx1aIS7yAkdWietiFZYcmGouz0y+ujB2A9lISgqEiU83S1s2GDBqqRRQsz8050ebsxUpk28yxnxEyGjW41LAWwq9XN2/wC2NCV8WXqwIfEP9SlTMv9ClEKql1/+/20q7EB57/HMMGTIBlOpkWcRdNlA+kBePtdTA6BqpADMdo3CISBjYnwJJnof2x6fxh6aZ7QnDxlsJPzURXBL6w2Nenr47Wb02Rk9Orof+e3ul0Ea0fAPNA0HVw39FKo368OYow0Nm9ScNgIVyFhMUeaERc9W9RVldR6ywxgGZe+wV+BnRFpZbDIzvbR1iKCMUbHCSf4PsDm+4ZjBBx+RogZaJn5h31YPndKl9GRZwargDEuHIkPrlAJAEnNBm83lU9zytiMns6x/qYCdg1HQ9mhYIaBRX2JXKPFzy8ssZh7Z7pDRB+Q0vuaHM5FCA4hQ5BAjWM3JqQb+o81//zU6E0COSqq4gmsZSziSryfUzBrz1FgXq8CmIDxPQqpOgFlY+KcpfGVP3uFz+b9RZl3kLwCCBBZRnq5iJlM8Q6k0+LVgNK9R1XE3f8LQFLUuqCnkgTfsSmE7If1YK1/BY8E0PyZBwxRqywDpcF6NXXXLDdYKll2X6bpUqVS8RGSDiibBlArt+vUEB9sNKSs0uZRsJFpzC4Ckugo3aNZ7O94meypH4BhCQ3xsZk4lxUFcD+kDl00aHqpnCB+VyLtSIeLpeK6bWywfxtzSOjmuWLRhdMjdlPSPlhBE4nyGKiC4wc/IC1aWuWwoOUR7RLtnPKh3hnBMBDDs4HYDAzkgpPBXtlhbo4qgThiHXINUM7OqXcKzu8Q4ACGu3LkJ856bXxKtucNZjMgZ7Zidd8ZKQ7OVQZzi6MJq7gxRF2I6nAl/toC+4pGdCeKV/kI5Jrkm0/K5M3VtaVRbDRBDxnzZuK1aL/ntgPk7d/QxXfXUW2HT8SI9KDa325aaDImc5+SuzxjIUw9oLFs6nFu2vbuxPX8EsfFcq11mx5yIRxhG/lAOKBPcjnG9ELX/aasDWlUfdJkLwidNKUPFfcXcn3hU52XtM1S7L6D8f37+bZUJ0g5lpYlL4YxwgZ6IJ8zbeBjgKbni+xI/00g3W5sjHad0AT+UEKwahWI7EK0BTSI7qFi5MGaL156Dp+7GU0ytCcT9VNXdNfT3/GvPSJonZ9Vp9a9HWq3+dLddJiLlAsGGa3EVJkN9WYx9C/sInm99NRhEGS21I+pHKq+gGLzz8g3dbg9fPV2DLpPSJ86wsS+nqQN67M+mpm2HS+mxneU5iil5waivPLWqe+3LfyNIzT3W22/uTacIYeLby4Hx6Hs8cs2AHw3tHJBsQMmUJgqNPS1feuASbarGNPtzMf/+u4h3qbqvfs27OBmNYTn69JdYMHdEzs1wsRotYXei452JoKlxXEXVp3WWztPlS+Z/d5qBtxybe75dSCURNp6S2Yuxct60fUX2TPi8XlftAnsrkG0pSAudp1pj4R6cmUbMbz5yg9vnVV/67ZcXGl0WILlpMfDsKioBvUYSwXBJKod/e03csKwMO2O1Q5VB0Z0b5sBHzsiWRku/p8sBHIinpDoiI0IZDbv29q6x3MrOxue3icUErhWCCez4fGmbzVQKNuUKfqKhkwMSSE1cZZXyvq+gqkeOvi5cIS1K3AnRyr3gDypkNEhXrdNL9Uy0mLC6tCHOVpcPT9pTQ2binJgkex1OnTOi49BWS2X08BOIoKILHEu6KGn1xNcKEE5DaefVEQm3EblJkEF4vniF8oPfDvPAELugqg1O4y2azFyO1VviBvBlTTkpxRSXzuEhBjbXto7olLMHh1EoUsKLVcxCizfMnkV03ZtDM00JVG3rbN7PbHy40NeTqJHYYwSCaIjLQRNmvTEFFr5TkAYNL1ZQUdPDbAs/GHx5YN2PsSP4eJ2/ArRCkqkZIzZa2rhz8kj2kfYkQ4dhcnqq7yVpJNH618s6wLY80rFcj6w4RBPZAVYLmlw8ugOamAL9k0o7YK7zsCn+ltTz24t3xobjCRkfPC7W9Jsctw5TN4/7Ir1ivAVO2b0nCNHnEaqiCfTBStPDrfGbsYQPYq+oHevlnbSnJymsylJSGLXED14hGz8qlab0tD8hhYQYDho4gBhVxP9sZZg+zaSc/jOyv47QJvzgC68KidutKNB8hOVxqhBY43WajQHRUUgfwCLy1sJNyeq0eEhnfA3YdBrRYhcShJT2jpX0le2GyZ4LFbdzXOM6Z70X5N3e/Xgo36lZZFKfmRhpEI+opbe+C3w7zu2ufdf3ugl3TZpV2RWP0zLiVw1fH/PFt/s8YMMgsyImvGpeVqXhJETBHwsRPR0x7AIKG65TSBLm3UOh6+bSxS68l6agbMQ9sbFKTkop1YfCqrnQFUydIkvSKAtMJAEBL+fKTzxZjKMloQfTjQcN+Lf9VA/jlyBjMU4eTdXKk53sZegzyFQpEjMilFVmBAjMdG4vOjoBvDFOkOb1woyw+rvryRR40OeJpU0QrwY9zztqWsqFBjUTUH8GrXKRf09+LxLG79WgNA2UZHkFzWmXYX74QLfAz8QOF2qsRk1ZmAdOdU3d5rsuliXjcGW9Dp5x51hCJElTJ8rZG6EJ4wEQMV3bTihiIe6YoCc1hucE7XtKGjscDSS9LO/AijE0m+pOM42VAW2ZZS2Kwbz8eY+KQpudP6jKdjAy4F7Zevv7jRccqdE7wGahHD5inM2sj4eP5EBzWX4Hv0EqMGrvuNt2uydVa/UEXaznf9FeOdH8Rj7LxpfGc5RzPK+zy8xmzmuWtzSfQVZXo5lBAQfNp0jJJJ+1W+6bDmpjZbF95ujb+ZTJaZ9J4Z8/1YLilzFf7DfrCkJJFliKg+EUoRVQUkIqIbiZr4nJKWEJ5YAHO1309/tUfq4m1I2TYE5rnt3U0iaHS9MyvVgErg+KipdmSP32e85Fcdxu+/ocPc+N3ihKIYo4VPO1Bf3/TYR1ycYm8yJtFFgcbW1c+q/MEIufejYDIjuF6fsN6Wmp9ulb06hlT3PeeUt+UzqWaFWplYXfzgIv1GTj3AQJ4nUcSsSyztesknwwbSbiSlCOhoocBtQXw75twiDN1GDKWndjS7SKO1xinXGdq3dGaVFoLIKwNLoubFDc9tIOT167aKFmAdpIaM0we7O5HdUj/9GOLZQtf4G6vdvulgcpcubJvMgVodGpeJEKLVtwZ3gboJhzYATtFTtJoWBwDOkJ3zkyU8CVtGnkGiS5BZMHlq7Zie7DeZJCFVQQRmaWonH8SOy+v5mFB9dsDYUDQtTz5+4PcF0gi33iPTYm6KH81oCtKKoTjBmU6oCerAS0mS5Y1zMYtbbr89C/Og3T08JPf3Y/kzzXvPcZ59HSZJDB1zsETadzT3yAca+iBwERvl1lQEGYVjkEoXvt9qR87LUVDrCuiz0Z3x3UlJYQLucTmIyBXQobEbffuBgNLIDrcgyC1ltTaOHs6x6gLVHYFM+gA02geyvfzgIlhR3ry6t0XPks//ABiItwczwkUtYQrhsTeuC+KQIPELXi3ixyKLVmLMMLUsj6CaGfuceYYudU2p2eIH/MZ/pU9C6WmG2gmXBjNsFFdGUWEGutlxPcmkDBjxsSCTbO3I0saoklMjxGHTD74jDgfvuqR0evk06jWkye3gvZ+nefaVm7Nna0NFR76lDqfcaiw2luUR0rc+LYbi8647LyQ+FDXcTsjhKE8KNOVDU3SMKkyRGkdvRk8Cv81j2nmZwOpWa/TT6lcc4loAg570kjkB+gSYNL7LSCDqGLGvcKKg5lT1+kqGWxJuBjAPMH9hycouuvSC42rTVGRi6H/Bs/E046oCCwUeF0y2ZOcjG5sxGufNyPeQMpvtBmyuDlH6NgdpjliRzSTJH0hjKRDtZXAsmPriIMckRq5vlIQnwz+Mm18ImqL/F9czv8u3Hbhsi4ImveV7ijYveQ3CKi9MYw1tAu0nejqOBohKKweYBZN3l5BwKXr0HDptGSwDonPmNezl/II7/eEjSC2Ox/SQP8gXHPm6nSTb3MZblc/EfiU099MtdWmbpUA6cljSFPlL72x4b+pUPTZ7w0hyuRuFLex8T8VFPqm5LpUnjTnkmC16UxqwccNRgfQ+WNGrBsnzA8Ys0cm/MqGjWMpbOIV8xAjWqk+kOwK9wCpb9clm7VPo8MeU0ZXhDcIT/TCVhg/B/yctkgVZTFCeFXxRiehk6MQ2HNMab4qb5Z7g4soKgbAnKdDIEYBz3c0c2wF5Dtm+Ssc8KDiRZr9YnohA5XYaPE4ccjDcjCTur3e/IVS4pV7083P/+bBJ02cMftca6DhNfICxc7MeALSgdOMEyjmWXSpg7x5/L+YCVtnnhJjCifUaAtS1WKxpoeJHp4nHBmj+wZt68gFBuGdxHTkbvmGEwAxWEco3vI2dbRWvT4N53F/jNsaCzgsW6hVpc4Xc3yKOjlhCGYarOfu12XN/qwjmXCNiAXBp/q0+gv6lU60AeUFE3cATPO2O/Q8PD/JeUVzYntghiljkvdc6CY5BHML8t0yAqj9IBEuCFvaZVXft1jOfbEG9cLppi1DFN1MpVM/S7WtvQg142HYPR2S4j35vWvfr207e6dPiovuGN8D1v0TdnQ+qhWDlFSJvdvBx8rc26QpnKu6qxn0as3VobdbZYAYJ8gk4Rg2FZTczhKZBxezD0vOFJpPPI8ucjjI63KAcfBg1pWVSia0hA7c6TjDbxPM7UsaU4mOSM2k1MzhM3//CHOzfkuBElv88t/et7HGDhvh1eP84UuvWde+xKCXtH1nynMnzCQi2oCIa36zbdbALSWApXGM+tAQetWfBJ4wcjiszNxzxdhJOB33njAG6zjimL9MRku2AFe8ahPXTH7dtDTfGVDQAYQFWnts/21y+WL0LCjm9LlNC90Vj55XN1tNxQuJqSnSLd3VNQrN74JXbczpo7qlvHY3SRC5xJXMytLiG6aVG7IENluKOb+ff1Zz00aohLTqT3MlQm5qv1lyXEGlxkgc/lyC2bilZK6O7gI2V2PoUaNDZiejpNTXhjFqEs5zzyLrMojz5RZJZ5wAQ53owghe+n+v7QsqaBgdMV+k+i+lKoOmBWk3c5KOyrGnmxCmABVThWHEshs3FPEIa+V7N5D42V2vS7ks4dlLtP615/dWgqyDi3KYKmIM0Q9mWB5ezmWBI9ru4+1glpy1OLBdlcn0dPpffX9iAo7qSDP/d+Bzgq+KtCQKO4Ui4KvLTrfCCtAfPpIrpdGZra5lcC3G9lDOD6fuJeUVnpizx/up0R3gjtgRSzyp2GMW+Vw071CWtvq6Jhlxebfr8AOHNMGvJaELLiPcYu+bdgDuXMKI5N03nkVWa8OyGNGu8bIJePeVScUCXrAt9ff0U7R1F0r052ggtca/66Nk7FBgdgP92Sk+M/tC/Jv+N6q45NnALwjJk5N/5FHoPCegwdiFSscKp2RgDx1SmsZxmjUO915y9UvfCsH5ysAwJxzeMd5jOZQhvCKJ9URprkiWOdTgYfDmJ/TUoZB6GpYqN47ddpL6FSDEoDXQzgaT6qVfv0R5CzuyWTykIXkFN3yGc9ukIaWKYIUa8UvqtzZMBY/tcVeVF4/AacZt9TaFB7NucblEQaqWUKRVE5TEczNZExhQL3xDk0uzfgZz9gNarU60+pecpt8DjunWUDWpft6LA4L9ZtWGbnOwPq+7O5xFRnyRgmSiG3t1OBiTxEXiDgTTCd/2St78n2pksTZz55fv+EITp6qpujCDwL8463DkEieD5S3eGf7EoLFG9K3ICZJIAIZuY2b6gUo0vdwQZ2+L59k+/KTF9sMc7yRFDO7efvCKYqhXe7XsvQt8WHm0nVDQrOH3lN/aWcGudaQiHyjNiR7cnuexMDt4eWVwBVXTY7QS4cOTtGGCXZHSQ1Hcpzy2AYv4ydfypbZ76Pl08+PZCndgu7kJhQ3+lDIiaKivR/8IDOLRpQBZuVl76zSKJaIBPUh0pk5L9sjjQ6vyT0hivh2EEXbBrNevO3z7myhNsj1JPJuu1FbaQu5eP/gq8C8VzBqpBcTlXC95DLFRrw3+UN3hrBkj9BFdG/I0kAEINo0pdu5jp1NUOwFrBDhKagnZEtkpgf6c8nz9rZpq2BGIhFhXWJXaVXO0IdOk6pZE1SHASGi7HPHxQT5eC4MnaZRYeOjn9dElfU6/aJS3U42YTCaHthKXWUbk/Oiwsf4S+d+y5kYKT2qE/dJxX5wR5zNIQLAZemV5Gv7mfTPZwimKkqmO9lhPk8onlAVUOowAeCBGNJ4iMnPgeVgOUIrzn45n1NHyUvI0gurMza7XAGlmgtvEfYbbsqBjWomuzHl2TYVuLEaAa4uHpXYLMqfhcCRpgzrI+OCrWiTexfnkuCaXN0xyudzbIwdhXYabZcIf6L0FpZGZdMGYDpW6Z8DlaB1PEHzb01jvHqrEzGCV2Q9mpQhGHOmXgxe6JmbLo+Nk/oMd/7vlrTS5scMalHViuZL84QHUZ88PSN8bpl8rYrWAhV1Km/K9lychxlqavfyxfy/Suu2YtIDQekxyIB+9Nq2mf0Ez4/07uBSpLTeYffqI0vJug3OE/4sh9nJDhjBKZrfP7T8ziQb95MVPuleZZsT98INQS+EVT3wppm1X8MUVYC2/dIm5+I1+3NpoazCaoaOPMTIAZkoTma4AN0gjJvN0sXhlZFwm58U9Jpn7a0tf+QmXyTk8usm8hkYQzxIufJo5HYzt3yfbRrFRUnvfhXPBe0oLsDnktJcUoPzn8FDOSsde8Ua7Xqcjm/WXZFj6Ytu0N0kBybEgaiC3RDS0M9ONOIqvxcLzRlNoaObfBJFa3Jtyhb8kNy/+GIiN7JOUxvU3KeIeKhfyXoRYsSbqCCUU6Pf5bfQxIZWOtmz5V0wRo/tdd6a/gjwbP7viZjOCNCnq6gGOqYsEeR4YUFRWGiSTaV/eDd/NvYucngMQCMBd0kCNEAQGkcMzUlddclyEV3W6+08/9qhZaD5lQJjkgTAE1u8F9RZtgg6JB9YqEf8R2RVDregnBn68KZtk5IYKtUoqbJfQQdg3kvuXq1uEM3py060Fl5TsYmUQkEAgS0I29fzsnYFIU8CIu8e0YFdaqCnk83O80gQf8LMKjMfqBaFUR491Tp5gVMt0D84N1ieZsZcv6ZWCsMChaAOgxuBcuHNfl41fOs0rCFuIovs97VBKhNwcCfpq5ucrmFwi0KFJTe4zCr/JC+cKg3ztiGYVhx9S7KJcOfTXQT6za+CgYmMraxFLPSJAn/R/ZukLXA2ms/Arl15D3dVauRkmMTKx5I2tMnxTVfwcv8Q5HI0Cjp5RaV1Web+WweuJ+VMOoEHeKnSGQY/APmYSLRn8fmmMA5QR+Vly6HkRwzb03ihjxaYPQGcIA6i0QlPBzF2G/1fylhE7P9TTJX1C+jGtSfcWetvCLRi/oV/sIGujkoOnKigm50RkKcdDsdTh/yNFwt25o2MQy36mJHjoFVaIfQIj85Tq1OSFAP74zPDH/13qQeRLaw9yK8y47AwnTCwqcZ4yc2ful4j+1vKR9mpn6X2KfWlyAeVboPzbFOhB7HLEEbgljMyWvNFi8pJ5uK/gHslKATGvCXd0HO59VRtNUhoFjXzHzBfuoum2KOH4VX0WhB6vISgqrbOdINnS4UyYXNJJPXVJrYvIXT/HLbLncR9RThAsyjUX2VY4ELKJWm3NSk+gkEzpseddfFnLNCSNmRVd8s/Rz/hbVOtvF2psGsP84vqlSmrHuK4vweGcq3Low0XGKDrBa97bMaY8pp2Dy3VxCUGuw9VZJL94mPOxO+ex2NAAjnZJoGa+Wl+u1kETEiaIH+yNtg+bkIU/XNblAVh3Bobnx3CI2qxRc126/X3yrY/SlV+i/Rih2SFec9FXNvuijPLK09wVVTuUBV2FytBvx76EQswlkUSI8/VBBgHgTTJ8N6JlD/e2XW//tD1lX78aeZXQrTTQYghe79BisQeYUoV7b1D2gWrW0s/wkseb6OzkJBMhof68vqCJvX8+JmHqu3XsNS4cV0sLCfIOa8fjBezVcs5UD9shuralG4E5fT3E9MD4CRonizQbPhfrifM7yH60lfhdDLK/0y/HgSiw/ls8gvvl/mvZ2fWzxe/k4x+hamU4L191rgZBQ1sJgioqhb2eQqMF6kATdH8Fj+HIhffZ6FRpZK4y5iGXHSzUypy6EGN9nm8nsTPqI4Pt+x55JDF/7B74KdySMtqWAHHmjQnuE/iJSoRt22qcGXAkpu0SWs2S5rR2TXZY39y8qFoGcCkThDzhbfy8OjzO/HDqmR0FHL4dimfNLiKX7dNwFTWr6lI6c0GfdNMzulY5gMXa1ub6oOP3y4Jsus6yhVsRYMdm8ZdI00CIgVW9+alwOHSi8/97QKaGZZhLMY2hcK0zdP7/wghIjkezStDawdogMXk8eUfUvE4IVgQy8OdWnl4x1Nn0DkWq/sGj6603crQGvfOaUn8w4sXzVEUHj/+YtOiIernMjPwrUfoliCU3jWjW3l5kRh4QyII8FMMVSZA46vW1Ul8nEKkoKGips3eRPqX/OcEu8mLjZ22Pnx5d36rM+Zi3wr+4F3OPwOBpiWrAVjB/X55kbI6JDL0LeHFXxXFf10ZBTErjXe6Ap9GPH9WEVbAGPSij6A+rpErRy/FTvn01E+bsWnSHhChy95qYvdwNsX8bo0WFphskzeDhxSFN/X8ldRa1lpk14U9QzNJtu1gPfkQ10Wj/ZoYiyHiLqwWi3sG8HYm2l2b1a20XA0QF4cgsPmxU9ebchKJZdoqbuE/Cxd8RcrB9O1u/bbWMPsm8I/jw79dQZkIKdKtXTbU7lJQhiUqUf52Ft/IiVdlhjgu2c4+8eim3Dxp2rTO6vuS/emx/IF0/cXgk7prs36i/fzkwKNF3OLbZ5cf2uQGRYy4iBPO1o/0N3DmbwWhWg69Ivo3Gw2g7kIkTDP6KZWJKhKltHMrYbQDyksZRRx34pEkYNVt2kDkLKlNeKBggIuSgzwVdi460kGuZrf3cC2AyxYfdhplPhTDlYkh9Fs1kQrQLQSI3pGKceN+osRzQPdxAsRHxQSrHfnMGJvKykaWMbyLPfCrebM64r5APldjA8LgnURcuGbSWEX5XUjv5ZLjrWzYpKjD6oygJpWuyTOtmoBj6V1B2FoFyKwAIhxN+VzMVgj/6aGHQrhnmtxlChSlzBcVpLGK5HT3X7yOdCkFfdoNOKPxRNMdAWnVSS3Myck74Q/8BDPgtFhLkdaNymKkfzW2LnkORPoAL5FKKifldlFETrJflYg9XPLc3YuBlj5dN55LN32kZtpKjhRVkJuQNq57u0+Giyf6nt98qAEn9zkHQ0bxXUC+WA+jZ4AJAy0zUoCLSvNt89ewKFmbZKe6E4u5NPN9K5WuZ3Ddnr7VLcn2eDz9jRWetrUfHD0fTkEHdEB990PxFLoDk6r6PbvRksvlZ4wBGYgksipSzSGrRfz151Hn44tAeh+6kYSItiZG5wFfxLVg9/FK+ed3wOHxplzlQxBSq3aftGMGg9P1jsP9fCdCcznJRrPwFXAxZ/OUSPxgYVUI7k13Pp3SBxeRnTqPkcXlMjck21KvkFm0O4tIKacvm2f4pAbMNTXx7dliATK/HbQFi+bPJ6DczobRkao7Dkv86fatQsnhtLFdgl6+u2PiUSMt9oS1wSNgmQqkwbBmDeuUjcn8HNjCvd0VDnY8NIVL/O4T/15onggXQC1kRCHFv8vqa/e6yhIdw+cjPIdMjCobLvZOKxYfSyb0slIlbwe3deBD5DB7shhyxd9PuI8m9eZVvGRGwkiVMDaR71cPqZYileBErvsu69ahxFftzMoE3yibnATMj/4HY2WxHEww39N84r3P9HkQW9BP8be7iOQAJc8q5bvUEInnOQc8nP0rVMThbWAxjN1oqOYlNqA2m/WPztZl79+x0ijDUTsHRw3AZH0fM5rAcWFX1m8jPyzkqLXrU0o8OvBg+kZHSOiNR2Jo1tVB+eNCQWzfM9cSgMLf7nm5wQyCBGcFXFSD5if2PXTFfMfEcRFBfGO0KBvcLk4y3Qf93E1gCxcqEZwVSpjIUzmtTiwQsbFww/JSSmOxwaBKSXe6OTixGgDWYuSvXUK8WAxJHqW8vmLK7h9VOq39ktuzl63nmx2yXc2blugAyMpJDf/oOvpXQGTZrGD0xWtpivZSqcvhkfwx27hMG0s4Lxw1FNU2bXAQYEnYkCGwU0NydWgA3Od7qE8vBrZwanUcIpzlfwblbJEknqlGL5/wbnNfwS38qwf2lB8ivDeWG/oqQZhlXQUj+cPgnW6Hc3rBlV2aYfFEg/JECi1qCjPNgVGL12mAvy5iBDID315kkTQniIrTAU2OxeDOpqLZVF1kfnPaFojh17Aqqnawe/j62RxacByeFUhiplan78Le2ycYqzUzdaEa06A3lQOEob9UNb6sPvCoK9IT6NizzNjm+8BGs9DTvYEHQharcEg7TGnFMaYtII0C4MFyREOh+CRyHJtVQrdP8XTHuFQe2D+KeqzDlGnZpK8ifLgD4BlAi97aw2a5w0z6B2Pmfg5GLaNvO6tDNX4UH3aXwQE9K7ild2vEHVXXn4Vp1ujGiGxNCQMsbkwRvVLZivWU+OV1s4MEZmqYr+MTqcv2Iau9RqJ0IaudJScPFbpo3kRK2BZBTKE9TVK9tq9OBKyJS1U5jQuAm14Oyp7H7G00v8zqDInBKrObu2Eu7Q/RDnn8kNfBidLAn3i0Oe9h1sW+CeQ4DBp6hlMwow3iE85mSQrWKOxl5gMfKO6tVQCNRFbHb0UzbIR4pdZ7rMPB+bRYhYwJ/Dmrz5pm/z94wvDdelbGQVar2Qpu+/Jp/qct7QMBfbLBP58lm2nDihWDtUAAsXOntuy/E64rEYf39wRHAJs/8vvMuv5nGDYzGFyxEkvkxCS/vvlaVje7+cyRz0TsrF4nmTlXy995dCR9vcMVGO6Oneuo/AY5fkizQGNV6js4chGyldjK/LBzzzKfOvy+3xkAZefTq9OURQVuo6ER9KeZMgQ0J6hHQNl8rw87TL1k00S7vV1I/5uPDLFG6VgVAZV/sIrKlqNECTnQ3waTwfkzaDGAPvZk3BKGdEkWB7LF6USDp/RecfRORVxxcJ8mKB6Ghrhb3LBXv/ZCktqSpukK1pPAmRXhRcWnB5jKBmqqpUC1h8VfsoHIeWy6RPsoKBswnroElWf7rkA7O2GBwvgZYGBb8crv5cglS8LTNtJFmYCXlJxoRpMQ5ajPcGzjKg/Ls57jseRd4N/jhPaRQU6vYrbzzh9/5KUN8YAF8eSDk1bxVnyG+yLoCK+2VfxJ8Imzk+IiUsia4EV7fVCtPgVpi3dGaPXNwwVvBjg+i+NlgTinBzQ4Gbt2SuJ8e/mhalka2Umf+Wkggc75IAl9zjxQpudfckNwagFDzBpgaAGowNvleFRlxLQlSoGbUsRzHg0F+BSSrxx/VS5g/7rNrWdqXdeBVWqPk3ujDZtUgkqRx4fCs5PUwASelnZ7GPY4fbcxmYpOxkDWJ4iWD3gc96T5eTd2zMnLST5+cQ21lSmflKyWzWEvoU1v0Q2Z4V4nGWtoWwaiLVpCfGuIxQjoRr9PCFAh1MqT30+w7hoCk/rp986I4JVS/qm/T9uCANgRGLLdvAk7Hl/fvSF4wvKppRAgcLGJ670iKcjk9Biz1ZAewdATHBYO/asOOd2xXjmVLWq06/9myPoGAY/HaGd5RvKM6NG07slCurGYiJ+m249fZlKsxPlR+/MCuUEfEEbEq+VtRXgQjlibXWEYhGiZkH+exTFFAYBiRSOrGHsXMaOyecwco3BEvsVmDIwc+3XLdcO8V59c8l1VSK1UOgAFB7L65UnCURGnhnP8bCsUjlJVyik/WjMk32Gc3NotMwLZC/Y3wuorANvoWoJ4TeVlCWzgncKkfQ/OTCmwZPRPJwXUd10VWvUC06GVSIByjC0XS4kdomP9335yoO36JxMwPIkUOpH+q5Ok2MJGHWixDgXP5px4GpaDk+Wfwy1MxUS0a3gy7i3RsV/EfFZ6MrJA7aUPsu36Eb0sTKAewYIKv9ms8XE5rSmz6P01db7IlL5wV5kjgP2zUxBBHrzg/w3oZO0+LDKJqUFCJf7OI0Zkjgg5PESATxKZJ+ID0dR3cixqBN3USGG0OKXs8t6LvjtOu7j6BfYW5PBGozMCYCr7xpSmWa8v7/TDcBVuxQ05H6lyE9Fr6nCvz4ZJ+TIg0liIsOydKPoa0s0BdmwHSGPMjFTVjKB8IRlwml9KrgQrjt+AZsC6Am0RT3zBSLHqkmu5xg1MLy1ueOpOhEJbGy7T9claARF+xd8Yvl+NixjeGvfMRSx+ZvpYZ6aqLtdxObqNcW7OcUdks9R+K7Lr6P6Wv3zMP6jP3TaC4J+LqnMMbQhhOYtfe61EGqjcJg91O8lMl0o0oVvcSuxYYIvMj4L687bViWUkuOgK7C/+TBJ0wKeS9ZjSdvNMPnP25dBcsoau4x/C27HaMn2YA2g8EycFPFTXbrCp/pur0q/3nzyedYG1ToWBxKZWHAk+3NsqowKCYBDIfA+w7ucvcHqSsK81StYsO+Wm/xuQB/VMWxvyhSu8jtkwc1VrSdcDWIJmD5WENRq5NXXoaFnfLWEcecbXWogiTdvrzw9BLHkV/ywBsIlhZyM3ym2avMvfZmgo8lQi5aWGUJeZPV0cUQJrjtHlpuYAt73RSPchG4vRItV4hKlAaMeIToz/KSiraPYibZ4rLnNbouQS0nJwiNDNqDuT2FaVhZBSk70KKDijntGPRpeaIapdgLXkPeV6g+BHxxvrfYu8BMYOCnzc5XoR86jv8Qq95an0g3Oc7HNoy5dHpJM7IWTr07OcQwD3TD8WpjFYGz+f93TDLb18eb8e9d0bdx/jcNv+/Ukl6915rv3XOmY8iZvNpeEbrA/EAfXYOn0c7r8eANonVQWHEFDRv0KNvQtog7OGi+/TCmBdWVRuJuIHOtzexMYRzfy8u+fLANoEchqmNqaXfxcjZ5C5ibI140qqEa9c8kB+wCeG5p8ofZnkc7WwS6Ju/rlviA4O5VPfAhpA+I96qu5kInkJJPbSthJE0BzeQzwFz88qApXyPxkiWmw1f8aO9PlD/IxdHWLDuzZMl8jS4e/u3T+Txtm3Qt9rpKglIZW7BZ0Xw3CxDu1a9gT1OrgrnWlmyljiHV8uwbMSxD4L3TWoMveM+aKN9J7y9s5TCdr0srWnNC6QZEC9a+RwNGv+SpflYau654C162uxldjkeWBopvfRILH/1Ketrthp/l2Us3JAx8FSOQ+EIe4J49erTqWkpJRso8pt7NDYhtSwpqSEMISyqNX+4mHDe0d8bbhs1gcKK4pdJzdWDe+0JKYo5tVwEJULC2GqSAH8LFuYpsdnw2pearBMa5zhhUxlLDrC8Rl6Kv9dQaV4MxDMr/oXQg8g5XFJp1zibkbBzNnRa4aVIS7LBoRURe72yL/CbQdjS55F3NhO+iMGMxdeFUYXkDJnmIceaXf3K9GjeFHO7DhNJ3McvrTIUESNhUM6Gq+j3bkf32D/lzr8KqPL6bvNbscufy+2UEJYuHiLMJDzEMGemgDXCXDtjdeg9eklrZG8L0xOGY8wRbE785seLg54I2FEJwIJ0Z7YZ2nl121NYF57BSfUi6DZZsiY+orqitRWlYk9Aiaf3C2fwtmYA8jdIfun1e2BYu6HAHzFOBCSBxRPcoo42lIhRfxcqYpPNBz5BcNs7o0UwpJl83BKe6dLj6j8Og6PSLQtsEEy1nRbBQFOKxngb+B30fkqwxrd4inFk2yEU7GvTl2DsFI2tMH7KNkV0WRdsAq2FktZWVZAnR63Sub0ph80qxzhYmAo33HRLbpOzJzj5XkSF9pe5woaP8txtdAd+zDFEKCBbNq1WVwcN5qnhzjL3oQDcXGnJGUfOmPayNtWQeg+LDrOavQLjZUIc1aDSGr0SI1uut/eOQLHAIkIqwKDroLXcNbilgHUPUtmz6jzfWYM2ls1A1RvIpOspU3hUQwXS9bz0eoNET1pU46K5pj8iwJwK/q6mLZfjDu/nZ2E9GjwMo1aTK93mhWCu3j5jKM3gJXU0ywrPXmf8PXjkSECEb20Fs/7M9lsd7Z/67YXy9FIkA/jA2Le7/6f0Fzig/AQZlnVHYnrZdlYdAyORMrIokbjmj1tmf9VGxpx8Quf896HSfEPGY3Z85KHTWhv+T0+g/OaW1gs0laSTxWQjqn+/IlgRXsnx4+rV7M8ci/9OuZtormt1Qap2B8nIfYfMO9ZUtWYanrwwBeIh8w6FpZNp10rOrhV1JxoMLWgU3J7W7f0M8h9W2HnoEnsra0FLjMg43g+bYvE2vmrfDTu1Urejzfltn7twTB9BuQUpsqNZ70w2hR9qo3m/e1dsZFyApcdyI7nXJ6QxLVNjcEdLlI8cPUwDKyaB8g9XAVFatWMiYzC87k6y2JhSq+9n749CK5qpiVejX3V09B2mi8/YXtEfPngOp1xCy5W295ZyHleKO6RY4r2RkU2ay44n37/3T3sV1hW8X3LDGg+wk939E3iNBb9xSiaZiUQV5QuCRWq48lV0Y4qUcSH+JAybgPL7M4ZCwl+yf9LFQHtJlnygS4nO9LKr/LbB8gw/anflCUUZ+K+1g/i8nF9TYrJ9D+EBOqc4w3DSn7hp6E+H25Ms4zyddzlpZvOk8slGI9vTL5GPh0dc2qo2Gc+SJwF5H8TkroRf4PlAkhAIMMG43jLOO4+VU2eFgEDF/sFruCB152kwD5xPfmCo/VlRa2m84vI8gH8KaWWyNvRwE8VEefJHKn2a9huT/ivNXu8zvQpkCJdP11Wfr7CdNYVeRnmoXkKpyN5YzIKwqd5/wAIgER6wh58W6GBLrKgvpnH1HwKupAC8vGVD6/ptVN0E+82a3Qubdtvhh6dSMJjK1JnzxBeICOR5FFJ6/t/WOOeF2JxjTlJgtojx5LReHq+plxgsmNpIQknuL0Hog0skDlkdGOKH1TaWiT1sepez5IQ9F//jou0tISKfxhKVfHwYo2rJV7k8iOeYKKr/FL9y6qhS8yQsYBjCHNUEamfSI8UXI0EdcFNZSGzGTTVECjHdNptgAThL9k3ziQGpxiOKafauN/zj7CbWG+aAf1Ywq7JVZ/ciYV7MrvVLG+QUoQfu1cGkL00iFwoanhHqjQRoEwY8Tvb6p7l94dHOFpli2QmBB8YeG8vVSdZv7HnQ0nvYLjszuePaXAuWfDp0CKw2TRkyBPQMlBtpqV8NndHDPY7vGcIJ5FYLEt+MJoZ7uzCSLZz45jYUZwQ72aq5BebXj5vuAJ3hSSo9ZJey0Oasa0Il+Db3lJzUDsabkemRSYUvGRw6pQCTck5160s4raHIp67VQHTHMtRS7QpXYVX2ZVKGvp0KXhlBQlnKxLxSvLFW4O1Pp40a5a6llgWF/HV4nhLyNyLPi+mg5z0KT0aNONmW9ibPNa4XLdhf8VMyJ0nDp6ZWrZLaD0QKkPTgKCJ6djMM+BJJ8Zx4qolRNZ2e2GGvdFjY7PfvWHJLMH41ozc+3tdxY9TqHbPgk0HvNXyVo0Z1AjxCtsjCfav9cfnQKfrCNncZxt29krc20q03LePlYiyrMdFOCJtiOOeNs46Eqygne9ixW1/gmVmapWZFJej/743K5LN5vzefGPvZp4vV+5t3HvWNdjR5cuquX7bmtc4MgwU56qmO+1BYHFxVkIN0ObZoRZA70ej39ptsXTS5nojH+ux1mMOGkzkyleHNVFmSalylNPJxTZSXGm/XBE6y3ZqU2CvEF5qruesAp7FoYrL8LwEOsjGysrnpjKLnEOepkc/7kEbZByJyOqjTkm3hq9rqLpHfTwBJirTj91WMHYMCDZ81eZGE49eYv27U6sLG1n5m9x0TmFxLiDxt+hbuiSD338z6DPhsnylird9hHM512f9+U5hPxxQLXPz2v1q4FNBoefHd6dz/akiRSeItEVNVT0t4jdCh9PF+KuxPaEBRuIwK/5dz27KknhkmB1nPkkQpyWQt4pdbJRq4jxcdPGR/BccSp/Yk9X+pe/b0dOFgpV20Mr3sruo6PEPo0IkZhNfZ0/GauYs1VW/TmGJttdEZZfsfGRoQfJH6bsLn1tjUaKmTbWEdRV2FOwILnrWZY/XIG8+v+SLQdYfOXRt2uZ7b2hARMVVXl0Hp56cEbNx+mKX6v2ykUDzvNWw7uZHTQpihQOmPB+cAGu5KUbE1gKnzIR8I/3fGHEbDi/OfxPjnnOPd14S6e2RcAIcIQS7Dlgvi7ShDDDbwRLV+CNCdrxo9N4XFYYgq3P1uWW8QUobheQOeWeGDAyu/WpnrhqBzOGAPM9qqSqkhZtKvZETNTj3ul1q7K5B2ZEHi/Lj5nM6iRFLVksyRnsJ3f35IuPfqxfdKzbHWAeBQ8B4zHTZOHZ8x30H8U6CmOPs89p44wuo2KQEp19iX6yaLdHR3aiDs2tpAFossab93fsRoMguijlhnxEBEWHHV3urrUjm788kGUKooLK5lA8rt03dhT3JUfCUnbQL3Eop15yuUS+2XQ+7bCSapbsaPTO/fm+ET8L6b5tmzVCkrCHXaf92dvASlaKu5thfroksR1Ep+02K9fSkSr4LACW0jMtnBtL54+8iaDdcbhbn+XTNkKtpTCzgywrTyWpJ/BPc2dblffyQ0cqbgeY5Qarl0opQd1V8EJhFI3vhsyVOkgg3/9mEbm/V+5Z3KeWQxTi3jQwmzRagWEmrho/x021Ot4Fvm+cS7u6n2QetU/dj/AS5+V4aC/zb06AJmN18wpwArdwl/skD68+ds+kKewCmCswn8Cr2WR6ADM1Pd2yabGdgKhHMHX8SAg63FXUcVrXMQxXVcSo4efQw8YOp3vxUNbsvNhxBrSvzCbudR2/Rd4jtfpZmOw4yeYXuchwTJqJbXTtwZmA4BjjFW+XoVuvwDIsrkHECQLms/D4+YsZUnJSJL3XvO5coqqN4mRccpYWT8HiBoNkd8kRJq1eDLhYBrO7WB9C/Kru30n12WkDLyY49CM6kkN/caAKS+h6S9WBVihVsbysOhgc+Q6aL2+n2KjDE8n7agyuen4iiKgeRekJH7nitE1ks2XDcz8by6MNYdlg9murITssvBbs4pnOVxcOCw/0aBHGuEYNazfxaLC+e7SqW3EG2iZwkQe4f0mLLpigoiBXjVkEow9lZXjPejif0kubo0ia4HwYXRNdeMu6mmtYG62FSiOyJsy1VAl0CGqBQ/EtpG4efg+RogmcX7TCTBtBygY/2YYAzqon9h0LcXXaw6XCs/eBDrYfLrPtnhOeS+Y37827+8wJ+yK/UPgbH2CJabO7QLnruSNdo3GIvAX5/EvqvmzpyLZV2DkGvD+pqswYpDdMCekeHM2NmiahMK8XcJc1huk91wn9wN3Zfr4J5re6w7rJaW3VkUD2vJNbHFUWfO031B0C7pZKFOnjtFzSe3Cww1OmPM7f5kh3kpjKQQkQbsidJGTVyEoqbh1fqcBSQT18pLMXnFJ3pZaNOjcIiVqKVli4XYWyaX0LgWefhnGKm8+GByxd/e9uPrmHnrRj2PK4J/nK/ya3DZABgliis2fv4qbar0/eNXjP1U7Gq/VKF9eaGeWfBRwvQ1OXbHDMCDPTeGOkrdhr7vMYRZAhQaqTD8eVm/TiiZoJlG7x5QXLQmddA8OaU8oVt7pD0bOuqeaL3eVA5DUGqxUoPel/HyhsI72y5a1J0D6m1AO5Q0OOpe++toWrTTSCL8YBNpSHzqOMz4uj0SvfsBHGq27I/bExmx70OjcYM3T8E1d82UMeaUre6cdX2U2WCwfhsvoVa/7Wo4uFkirbkQFXMaHcDeFPQoFvSF1rB6j2c8Dd6CuPFP8MvIxPrT9ZcdwIxbxToQlJuUwziNs79mjshSha52RNSFLvM5FfEDY2AiElng18ViBiYcZu4s32ZfQkDk0/wkvlB0hnrZfAGIma+hnmETdiRk6/htt2+dBMoH5j/1/leQRvCf88pM6yXE0isQKaL5DT/vSBFhvuxT90PfUnZhGjhzNfrrnsVV/KMy6TDqRTbHVXVhf9lyERDwGBdChU4dsNkYwasP00YbBCDeNki6KYEgGCYPP80hZ+Jvs7vWpgCUP5T/DipAyvhojoHd7ic6k0eMJgspiQFFoOXIPwegednt11MR7lKGI0MgQaiFXU9b+G0h0lNwnxg7S7G7NsWxz3QyTvHA/ut1MnCmHufJCUAEiU9lpFiRC1C+XOl4Vto3871J/UBZLtI4+gHPJZLhlChOJo1/cguveZneXfSY+4w6C7UT5usGq1mMhj7SKHPnvqzmftHQ5bduChdNUH0eSSFbwU3iUpfCDFH2JPIDuj9ArhkvirtClOosQKVt06QJAfb0kNMMtz51CigcLNwt877e+Qww3L6EjRS9iSRnfLChF1Ff6Fx06cxyrrDTNF93jRGvre9uVgZFhvDY3t2Dv+195Y1j+6pht/fMfOBTGW2H7vCgpRb6vjjwB9pP9t0aPOTIebUVrlPl+t2ndYDsgDH58whDzzhqau6JHzqM3ckt3dTr64pvDatiNBAxOvouRjyPXi7wzjTia828LPeXpSvXhe/Y4PEzTEmuhOtb/wQ074epzR3Lif+s5lobVYFUfG4+H3Wmf8Y9kfdqp/A+3xYpNqrPHtsniwTYPfXHozFGIU0LXo6pMOyRFMlbA1ae2nTUCi/E1PKZhIl8Qd/ISldDbfY9KDEE33SV4/RbdMeZQJjJUbneTDO5FU7EVVy9vsOU676jg1Q9hjIw1QYBcN2HIs65hH6aZgqWUHODfiqmzRhTAYd/T0JegDLV0g8jm7xeowaF++7AoyUQOOZrXa3fP4oWRr5K/LOfqgDeCVhYfO2GSZaL5eBM/pJU1EljlnfUkxQ7kMwvXa84gWtoGgYcvBtjFw0Jf/TjnvGogQxcti7W9iDLGgPMkw9eGC30TedW+AWYf4Ys2gFctQjZVHzODpuvloJb/h/5aqK38ImnarSgsO3GAr6nsK0XpGYxC3BZGHR4Q/sLc7J4geQw8I1/bL7U4l+Kkhgg0Ls7JNLaGdT309KFAPMxjGKu6zZewLkAe6wsvfShCiKTLleqVA0BgnCDGex4k+r2/yerGmVbSPuPr1WDDNuhZcJxOdpnZXHikM8+My33HEPTjFcYWmlRuaia3KLsX9frlmTB0QzsEUCL1ZgTjXr8Gjqif0kS1NrYRY/NKESCNVtDgY5pfF5eyULxsdL5/WmkZTe9ByzhtZV2Yb1af09tAFCdAEpsG0ewfLDU+n+TBLPl8qeWQDRNiMNxPqKZVMw4uKrWA/pw9RAl7TSg7DYVpPBPoBeOTefdbsJvhKmmx1yunGCDh0FMFB0cYmvfxG/tcTZRobaQ+cE3PwllwiTazLOcxcJw1FnR2eXfFvNaafUOybPGYRd1gfYAQwHaZE2eASbwkkkOkuZio0DhMxs7hda1oyW2ublrNIipU51IZndKiQ7ezqYCir2HxZVH0fvuvt7RiuyGYBi+bMZpaDm/prVF5pTDT11NAxqi95Xv2QgtqQVajySISVbThWQKKeGaKZx71U9ufXPT2E1naRqHrYyhW+Q2fo9o8MCRY5DDW+fCzaC0XlEevlIbLy+/YmyWhaqKxHrCtZEPSba71kYchxxX6zkDrsZ9OAzoM4C2N0ahR+bUvYBVVr+QC4b+0shrEF4fd454formG+NxZlXfdGkmuDjf1nnTSyOQDR7slsO166pJiSaLK2UDunbHj2O0lLG/I1mGEfgS4dQQ4WIvF30i1K/7WePryaROHdETe7J6xWMYCGSwFY+f1SOYKd4I9rRgprMC2RzRCo9Lk2ddB3acqEbXQaCQH9GXH/+zEn6ImkEyS4gSIqP2BKmhbSWwEUzpbQpLulL1HDqNk0v37wNOXlbppwb8SZ5riRuds8PChSIEoIaauIUKTYh7uR8nNLstn5Yluu097/RtXissFfpR6/t7w1HmrgXEDh4ifxRSMXEvP269hGIDXy4YXi0kN0eXz7QT0B6zCDS18pYdGgiWNX5aYpmmCFq7GBdPWxiMnKbmuYDQ+kIpackgXOF9Dtl5e3WrKNGePCo6ox1vqsf1CvaWNksM5XY9J3mGfeu6D1qvNPIY2Bz9OuScSmfMDJ2NxTZtweg7ECdw37gf4dAjdHaxlRVssDTuDv0PuhO800ErycWct+EPH3+UtE4xF7T0Uba3JJgZw5fN4zttcR+ODOg4M+ziBSGOybCXm7zJQ+xtBbnWjK7cmf+x4Z9MN2bbJErn7Zwmg5iMCxDreY2X82Jyxtu74ev0gvVk6NCMpnlgukkk9V6mwFvJyjLLRWdcESG+6/bM95LWnPbH1BNM9adQt4Q6TCqGEb4Psgi90rLeK/jU4W9mN9n0RlZiZR2fxL5b2PLo3NyiEaQZkeo9USjjEX38WiQVZmS4BXFol9KlPoCc+qYcTqQUL9lItInPYVwlch3CSyl7WyeuGvNa/KMV06pstJNy4D3VDfuzFDvfTgvCtw5hSvebdGnc6W9gXBeRq8YcsH67N2iL9vhp1IG7hJ8yYeS2h/VlDc1jTOMjj6K11BDNAz7IeuWiiuVgKdSarbPYpj5XnkFW+5WL4GhadWEvPTisaINBzhOPf6JdDNxUyv+C3JfJo4vEgcrJtVSnmHOdoXQ6I3qQ++a8RhDq6x+PoU8RawC9arcumVGMSq/tPJVjSJtE8Z3+DzqYlKFrIJ05kX/kymkGWIuBNbhX+4KmQYVgAA/6slqy0e1kYmOTnWzpE1eKCplTDgbJSRZZWz3svs1eilq2opYKLYsU/YBDPzsVBT308aEIK0qAhep8MtAjW5JIh7hHGv2T0a9JynwdumaDr+HW2l7zs7TGtRWZZvcQI0Dho4AjhwCS8ROuo+IJec8x2+71a4VLSh5c509ybYS1EcJ8WF/mR4uNzKmio/MapmZZygjYeT9Zuk8v9bXymoXt6Q8l7Uh3UUUwe+CE5N3ojzB0npQPmGEMnwBnSMcwI4JBvPJ4cwID3/UFPRmsgYSLYn8Wf/fOXs+AHhXhs/Q7EnrC/p43as/Ipd1b023d39aYPk5zgd3yeHBC9PhAxg9qpoDDcv03trtuAfn67g9RcrD10EwgeZ3YJa21o9oYvF4trQhKvZ9iQUveOn7Shc/It5zJGqSUd//ERnzGuoW8OLCW+39a05p8JpH38wxy7jF1Zry5M1gORnc3KtqUvB2boLuDDjzrlGZ6k8PvmuWnlJj3Uh3/hDghBKHPg+5hs+2Qkjd4XrqtQXu1n5LDatmS4Ji+LBlePovGhKbtnUpns3IeOJdFt1cHoHuea4ZqYN15Ql+yGCmoJfn5dor1jiqv5QZnt5TvB8ptyDkLaVbFR9NaE3hmgZEgQKKG85gPzwzus9ot3sKCcIkoFZgf+okdIdQQrFlnKx3wTljN5UJ4PzQcchMBz7Cecf/pX3Jq5eC0aZny2o+voqJSX0k9qP/tI5QiZ/JXYUX3OFkD1w+N22y/C29no46sMEP7OpT8/eYx+w0rKachEIRVOh6xcc0fQh87DP2rlFsmJ+XEVOzyNl4FK7Od60weZbvkC1oUJwSb9thjOHBVYrC1TuufNOVxtBodnCxAJXmdD11sx/FgWqyhOPmbMAfAOD34wR5t9BWaaoJzVYfb7dGLin8Y0X/jSu4VMoRJl9Bb3VrUfPws8lekk8Sygi3jTWHvJvgocZ0y+wC9h9THaa7vOouN0pRuNaBVDoSzQqwLPLW6rVLgTPqsgeTghJdZ+TUQdhD1Vy7KqKLISKZp2yrLvx0/7Bw6cNQdyM0CwEG7bl5Zi71X/jmsEux3Lt2IBwPjNAUytQAM2rLshS5gHlzLkOmWeWTQqpyRK1DggtMiMUj02PhOhPR1xD4K9dQh2Lh+LHZUP0xK9Su2oo8g29cH3QusD1ATJzvhM8F1CRs1JnA68Nso8lbhD7XadwRBWTNJsbY9e0UI3Mc8wWM8q5brKx3LOB6+HWjad+RgdSOQi0HT5Wnf0YqmE4PW2ejof59DPYOLrtDasoenEaQyAmM9H4/VWg8HL5Kh69UCsy+ftaDNAAOgNZ0y6bSulfj1ibMxbL2BDmD1azRVW5PQOrYDOfOU7OQoGPrqEkFQKQ4hWwUC/Hz0BtF1/IOH3fdViF3s5PQoL0p+Mh3kKp1BZsO/NlzQO/tqvTQ2BPbIu7+V/V51mPfitXyyAlvRaJu4HW4w4DDhc3i3LAbFQjkxqyNz/f33g1HGmtgLI4t7GhcpOnUrnYl/zJHI5shoMzPdJAI836AWLe1qIscjHf3GQKTDM2mL9/+S16mrGJYhRysxMF+lmzafwbJ/60BGFtjIv8nLWwuyhnUORB+KLSd3/ei913Dt/iZL49UGKjVhQcD3LZkuY0MaKzWZJlsxDgJmkC4gcQBotinRkHrdNcDNc+6m0iSwglecZzk0WK6c8OStxMmgqFByIJNkezj911qcsasS4QWfaLzLvhTtbxiwCZ0kXNSNSYv1d4WX20G7P6GamZrjm6PuS/rLeY40UmBnjNDP+v5l0b++vFSCOyglmeL1r+sO9yrGvJPYD5iUJ6izYLFEpys7gea8hijqwMayqcoXCBq0CnEsrJ15OYv6CI3ULRHdmhYb+zioVgrq4anC3xjt+3oZPfEDh5sUOFtIfJ17PpTmGNbNtKsHdcIXFAcuGfQ0Pe7MWTYSwQam9EdA2xxzUqzbRSAWNzHyEF/FcZIgnpJFUVKeGp5bJxuEIsP4sG/rp5Cc52cKGLfYBpZdDaztnBBlXNUIxMAlvKHy2HgozsJt/DJyTyZjxf1WT2+kb4worSzJ63HwFFuc5OwRbPHJETcRT3IMhVxjbuniNDOa22R84cmNIpjLK+AzyW6E9/jgMXV9ce/ZpNoPG54NkTgDNzeECfHgCVZmo4l7fR9K3NESbuBgDdmVj0JvwDvoMUHjpoSoTxi4udjwopzRbwKnfAcNJ7IGynDAK63eU5xh7K7In8yulLJBTn1usP7Oj/eDCDlNQ6MtYofHB9x7p6ypVvthAXCl3rJmBTiCRI9sD553gWSw/iChnCgjgJszOMDUvXsF/alPV90MqmQWWxnV6vLdCMRNVLTClq8AAQCJEkfW69I1Q/4AhxeHxUG7sywGiAlSZU4/8x6Rj82pAO2JclSIhFTd9EMrfQu4cbh9P7heCwmXNAH3M6Tp1t3n8qyub47wZ84D8u/gK2FLPumOF5QQ6Y4N1uXVRK0sUE2ainxSJX6fIbB6rmLGf0J8mcH8Czfe8+Wwff3SXeH1hncPEu5sKhuaqGMKAMC2Vpe54mus8ulw"/>
  <p:tag name="MEKKOXMLTAGS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z2dD7pS103gZfJ6l4USC3jqtWOPR/ue0umjYEY9KlLthURXCUyUuZbmGDPUXB2idlVQc+R1c0j6vNnMaKvr/AsazhwdFdSLDdbXIo7nzJwjvEhDVkM8leqdxV6LwqHg+JPJWpVIy96POplfuU/5GdryopAdlbOtPjy8eg2xKAU7oEtHN0jtLpjRgp/CqkV6XAgL/1YbbAvxbHya5MH3wxM80UXSWb/9kS43PdQ8nyj2UW1ZjQjo16h17FxbBRRH4o26rZ36jTgcDnxps2J9zJbHH3QahYk5IiBnQrk0FhKRmVMnH/uXDM+J7W9RnKZA0MWcIH6TwKb9wNtp4/79Pdjiz5HmClKJw9RzZpH1VtJwZQO1n7/Qb85UoPT/TcxNU2E+JDcskYGzyV+SoYSYp01C6Ya1aAe8MH2gsFTf67g4C4ZEXOCuTrLaWQC2xshdj4tvDB48cS2sAJVvPaTZpKypEbcZIpBxl6BdWhHVNAKm/Ooe9SxtTuHyME8sPIBg/8Luv8r0i3F2oaiwU7iHJ5n/TlZKBLl8jaU7O5Ww34PExJyAIMIjN3sxHNU+NWNbIL44gJgRiAciwZCJexoebXloKPRkz08uggqitGdbtVvgDnzbm8hgK/O77OzMhw1lVypJdgX94KhwusYd5Amx0HXH7AcgpvW9mz6mkGb9f0/k3+20Nk53CmDhu2mhLn9NKiYPTESahM7gc1cO/yLZoLuSUUnonLkWOALO9q4cHshQszvyf9Utxbh8Yzb66vVYbSKRZrT5d+NbGDoaKizx8z00DNWxlW53XdNBm+pGFr2TFCz/iJD8kwT8X54kO+W9ReEKuzMicaf4BT1o/xriRXWCiNkGs10XXEaxeNB4baWUgsSygYyITk1VS/qXCZBVCJ0XS5OlImbNbm5N4yN+9iK9zPVNsr1fZGfQM/b8a1R/2SZaO4NZbgO3MUIsHAgHtvqTI80mZx9fkkdineqf+cmnsV3DfSzQhCXMKylxFqY/7G06xTImsQiFHuyEG9qJFcPY6AUMRW+ZdU4+47pC6Z3K+5fkKFHwSYi5oZwbHVQvjyGJhmT84dg9bvNhQm/6NJgyr3Dh+jljQh4jLOY8P+Wq4+j9UNrCEOdYe3RscPI72H4MtvMyUM4PUfYZoMhDCPpI8e0ROUW9z2w+zQM0GAwk61ZZCla64LssEM+9Nopsmr728E3+Wf5ISigRrOauDN95S0ieBVwcwIlR74knpAjm/avtjEt3K1pGzRJw4VYCih1nBS8LiOKq8ayn3ziAD5DBXd539fUZ6VdeFk9TWAvYUGbajOXO+qMFt/3JiB4qomboj4LY4oCTkTMK5beegsoyzIferTCUbTQPd1l447HYgf+cMJ1PikglxhCt34P+DJQiz6CEJ3fsUW5xVIUMo8I7u+rBCgAQLJ7Wqe/BwArDcjU3UBdLlzbcISRIpM1b1gEwsXEzDPs8Qfl2Z02WOvwMy7/GAIwygQQbHNdQBlnAzs0I6f1/SXCqe9bOQUnsMlwBcyW99Q6RkVexrB/Yf/wgFQ61dRj30JGkspStEsee3dD0Bd7v7jn6Kv06BKuHBlPK/zjXqYsgWo/4EBKJb4bQx4Pe4eh9FkxysLmP3Aa+N+yVJ7ieMUpsD9/C3zsDEsRSOPyPOFNWsWFRZjfzvcM6RV5CxJQFH60FDxNg0E2LpgzyiHfdznei3u79BkmbC/SfIbTA3xDMhFp47i8Z1cJwG5wxXQS0WvXj63oY2JpJi3qkyb11sryYf5R7rFxl7V4XbgCcBOCaayUXD+wpNCWDg4QlKSoq6rPozX2BEa5ic6b2LpRlnpRgV22iXAOYYuCPqRMX73k2bBYz1MrwL0YzJ4kBx0jD0lCOmXzXjfr+ak+VKYV/Cihi9F4MviYFw2jlmF/d0O6++WDPPNkH9sL6fjr9r7e4gUrqbxzBOPp3/lvPx2aW9VrivARNOrUJU7B111DFeN+EUOYN+nrV6vn8rxcn4iy2s7xtMjCIiLl3MheZGEilxZUk/HOWjjZGdp7zdkp8/4vxdvSAgQN6giyb8LApuyQix+nETM/9ZMHWShhJiMBOW6NRsFHujxcNFgZn5oONI7DUilI+KaJ52SaJYaj1DDqDNWq8fVK7v44UuBkhEJsSgdPwiniRFntJcV9zCNL3k9iN4R81e+E/7+EjHFeFICm+GjamIwtT+NaeD0IslWCUiXlcbBQ3hh/+N6qn4n2DvXARK8lldX9PTrKwy1ybmdH+xT/wRW/PQ4+Dkv5M8LjpFOiRDl7s6dt3a8ytLK5UHqD9Tyo5vZ4WhD1xSAJx3zyNjCt2j0XX8z11C6godyYokEvOa/e/rPfO/JrPApf06PXjhg4AHsqyiErnOBiugEBI2YysU+Az+XIlxKBDiuTrc0bs/+VHNSayJRbPfcJE0ggSi3J7aU+3ZgCrG++bHvsQW5yxE2/O6w3Igs/lvTmsHOlflZ+yCOorlECv78FdP+5sVRzoWEipL5vcRpXiA1N1t3/KgGyPD+NOj2kF6rQsXKGDdY7tR68CoxTNXHGUy9DW1Bj2+BxykF/xx6lJ+YwZX1dhDVqfLkDmr0DW7od8tdmEewrtCZovmORz6AWOPIyoYqdXcmq/YENDnqzTq3EbVL52s3dD58u7Rv34mewhmgl/jOcYNGqcpdw/l9lLPx4Yv5j6XjuPklSUK39U3zZNVlZDlDezpqmKNUW37gyGcn2/sTt5pSDVisI+Ujtu2TvCh3fOL2T3j4BbX1/nA7rUzhn5RX+6fGUexAjQl74uvD6gpBdrrmSWrIWmlsWdLmD8EWXEKERDCxBqUOQpKdEi/Xjsol2xtcR4YBfuf+39V6ljTwVtKhY6LpEMn2KGdBRXGQnTXpL2ie//Du1YagxaT/b7Y3wM7ZA5t3Eyl0nAUR6Nlt9PfEVVy+xMMLCiBlYjvDDtDSIDd/sdWLUgSKNbh+oxdBHYtvmcEksMJGsADSY/h86ZjH8FSmPvN0It5M77iyNcWGOct2ZBUMKyuC7vMJTLlMmAlgxj5YkNZ4De3O8Y45mx5u3wqy8+wuLMUgszPtiEdh1F036gDM72BHfBM1BiexoqQnnO5fBjwvPNbNll9lmP18fUGEExumoV4AcemkBHhjeO90yWZ3g2e4mZ1aDAirxadjj+15TyJVR+dZpMoZjJhv6WYOtCXlBNAJxheAtvtkmQSNa1aAt6/seCXMQMt382ZbEkp2ueEOuIW/RrTyBAQ5fZWqifVAZLYkM+CPlqxCAOBfPZPaeZtSp5DRy3dIDr6rl4hyDSZ/iHdPKvstfW4LdmQTnJh90V6d+QMUnXEfLiDdn6lp2U5iv4/R3X0CaG+YKRptrNHmYDRDmDM4P5abxjbaUxoXTvREc3Sc8Ey564DHo2ff4slLnEbt+gGAqm/aylvhJmiuG3sCbksMcBKMoVS/Qqdd9WSqsdLHACKBZxZVRoAYiWd0FGfYGmnWh7kV3F02M/vYM/2N4wPlCU3OfLcTfxoriDilXqWrpw8TmjZfr1bwAFsqUGApcoWAUmGolNOVyn//1ATmxuTuXZdaRizzzV2ly3scn4/hZLVREfHAMtFeb2Kkdh9xVNWKXbn5o4ilOUoBqX1TCWn2FN6nvH4Cb3ivirMuV8ouglybWj7xDgLxy2VOgd98WZxhkggJ4wKP0s9hLGGnU3QFNJNDt2f4/2QkGWccI3MStewlFncp8g5MFjCSgAmFQwaqmfMjqhkUMI9m341CibPsAPlwdYxfWmohDX3b1+/h6JjcS3C0odkCpd5f4Ic/PVEgc27Ot+5RDmTtRIsGYLj7n34pJQEt7btt2RHTUYlK78iYoEdSPF0VVt5H50uxzT31Au42bbSnEu1KaZdNxpW5ky5SrKOqsPiYlTVyF6y//eF5pgtJT1NaRQrtHZifM7dpuvVdZgDeqcpm+xOWKesVp340b4n6V5iN745n8y1zTB6OggO8w7Edmo5Gap8Iy56xqSUeWSVmCAbmB9bdAhYBRnjazA0U6pWgXJIXZU/r/4EzUpTzrGd93jfOrvX/7SLrdcyi6CBJ+xZanNbaXhWlWqrDZSJl3/fmcHsDh910OUNygWUSUd83kZR9QOgmwCa8lSSnCl/80BpIr/rfH3L0YCrR0LLhHZxC503iHWtdPRUDgMVw8D/qdi/XOEldqwsIASekMg+dbF9womtTw+RQ5StvEoFYGw2KbXWfQI0DsO9M0cyfa1RwU1LzMLpndeYG7VhaFwbVN27uSyF0gUAjCpoyVMqqXnlwuvgt1DuSnItlwT7SzxoHdlKBJSWdxgx2KG+OVk+vcTwQeqgW7pMt37sTc6RU1IIeQOI3xpCbIld03+OxXPHUHfO+nLzOB9CGXMD7Fqq1ETY3jhwP5hn/dip49khaQlKzXyoczkMqI0WqN+iAHU6n+jZRNqwSBIUO6y6wlBhmcXkcZccX4NY0CAYIzZrDubjepQWFp87gkCe7MCrRxPNl5h+vumqa1gTJlhqh6M26QfTZjCbCFsyXj38voeMoJeOWJ8QFdFVhu+3/bGTNAXelpsHNOJUqsxGxDsTwbXzuvlwP8QlLyCSAdkkW2lLdCdkDHUMBU7cmFgIZ02wFM1ElFLlvCBvnQkENsSsiz23UtdCJFtWcBmKH3pOEtubbZ1w/xRnqMxelE1kku7I74+WTqDRt8PxOsOnxhFJaJJewUqbClIqa8frfKScUt/vxl5/6ahA5YK1Ump+p7WxQCa4kr+mfZm57ZIFTizcp/5o5yX8MVeSAf0/JgxXAqHMgGMSF8hoISv8S6x/vpIafmKHatNXC4oqyHrvaw47vAKrE5b3+/0J2bLWF8wUCEXNMypeaEr9aGqZ3vBuEEWi0mg62oNLbg9yBNnFz1OYACKlBoc7A4NZYRKvcY+PpvmcUM5soK+rCzwurOrQYbO5tTc4fBOVnDVnRXmgaa7xKEo71+XiVXpMsJboHoel0nkDyrzHMv/WYJtKmaXWLs6111V/V4IgzhPsuQW3QxfzdIjLq8OV8fxx8YJmQe0Az438ENMHaVtapSbAqEjxyaQuTZJs50JeeC9FRZmWsAK4nY+MVwmDf83JWYOzKCC90wFuWAzhatYQwlzvQcu4gExKFoaZgiA3aj2Z294bYt9f++hymomOn27sidY3QoWo0/gJxPNFN9nfpOE05XsemCw5lfefUFXo01r2RRQG06so3V9m2w69772qe9iFLPrnhrnWjJNp3G9ghZTx5qdGYbyMw3WO2Aq0ES70IVkU647yHG+P6bS5ZRvD3+31rdcgPnIn8poFY8Cnl1q76p4aTxOZwYl8GqXoIXl5ek9fC+Y3vkzAO22MH7rTZt/pdMf9dCbyBIBqnzE+clvqHfxRo4g7BTH8x0kRA/Si6TuXSxzJ34gR285pFKS15Cii8yv9fGbWVkQWAH6cGeRGy5zUmlmftQ/qeOr1cF0C0Y8mxowjF2uC/HrXmGlLsp1CMQefihkqvrckLauTpG0kpCnGMXFqGwhN9QxIulbX1YoOnDoLbHFaSlDoSMuTKWAEQBudmWF7cbLaZfRPAmZar1Lsxjk6EHeQwM4LCFRj6z8RN5x/CazP3qpJGFaLroPTDUivXWy9PLv4LjFa7CB+k5+A3Q69xtxCPWLa2vjtkMXb039z4+rgtUU0ocyHl09KBkQXGMeHJXEChwE43MkTb7eCMWvw4Rfkjjbcii4rARx9TK2kU7kZCK0LsX+6zSxW2Hfv18p9LHfwoEv64VTt6I8/gjgk4+CpI1ovz9TyGmeX/3NzfPUf86orBUT5XgLLsQrGRfpww5yyrX1F+mg8Ut5JBfwPxe0CpgBMK52JlYNy7LWxQmL1CXc7Lu3hth12hKfdXWPxAM6HNh8Rk6VqDXFlokG9hCei28+S2TQiMWCT+LMye5TZPgCVSuVWIQ36cQdMCKbQML8OJJx13GCEQ1xSLwGO65ED9dQFPciaM07wgn8WDPXkIR5YhekTEaATXwofVX504eHVIzX1GVVmiooJaXyLpp36bCLvrIhnurBgBQCAsMBfZil2cYoan6Tc60w2o8J8uZ8MOs5pjUgol80LrbTftHggvatgIo0v7AalGseheh52ociUHxYuVw2IyTH0X0dy/e9ckyZtjFArc4ySHJjNeXdzY9R6k8Y4rGfHz/LY61z8G5PySRn+1UgrV5y5T4NOqMEoQEwOCq9u21It1mWSTU9UkQn1/mQuTiaC8+Kl6WTvvw7cN5AuFxOzGbpkyIjSkummLwQoWMQ/O3CtA0FSa2uLAnFUordRzhAiE12GZDdy/s1m4C24TNc/lkyYWftIVnMhqBIvCc6VsRGnyX5U7PvcmGhD3/JY0scSi5hq42HoQeabzM0TuOgoJ9kGjKI2HNr9NN8g/2VihcktF/TqwulSp6G+XZPXFYA5RGruCHYacomrSRilVImPe1czEvs5lR4s5YsMAdHPlhS01mSiUOIrgNXlbMi5/uiAeR3gOXHA4rV5zbfh3YF0mjzZWInKUDV/hyE2xtP2VNWwL+7qQgKtiwEIHjcy5LmGhP3W9LXUR+b9o9et+WB3WlNim+eeSOLYUoj3CKxRwPdsVKo45McBqSVtzlard3LAxv6/5LJyC6pKgX8qhgYOImJoGoTOZiUlt561/d2r5qFedzL3G+6ZAwVLo0NP/b6u6fcjnp4neMuJMG3kqgqrnYyORUIowIEaUSs3Ba/zBF4Dsm+rbJMQyVhUMky4Xi233EIQ1kyBcoxLc3PAqWDaFODqfvHrnMEQm+T3P0UM8WhAqmT9y/YLTdFRKLcJAy2o5uu7Nyr5RYuq0BZ3OYB3+Hptii5YP64Ur3SavQo/r9+QRF2iLTRD1tiLVErLwu+HnQXZl9UuTIozDDocL5njvlY3CmHFbOQDGsSAMR3V4H6OQ3ojsbg813i1xGDs5odpbb8CiXJ9otxoDUxxqLTyCrF0hDCx6Hi9PwrBN58uHn7U3YLy3pU7uyGSqilxoE+jtbB4z+fGymPiVgYvDeu7tA7kECCzG1eXXQRBMkNnCPRvmNv7rgluAZfLOiNlOWmfp+kqtbcelDmxuOBEBrjlx/zWi5Kpzi1SiWSnNhcs1zO5OmQf1+IN1QajPjZLQ9RJ7pm3YcuD2ufq5CRYDih87k8kpjxY5vdgRXUnbPOgZmRGvjiwzxqCZL6/FBP407otIcLmbaI+sYmndJ31vfkKDWYgwnG1QYn87gLy+0rEV5Y2peNhGnue17c23kr4l37CnZNCz8RBorbz6qGmPMOJK+a3nzljeAilCzhRKk2QreiAiQTCkvq9LpP17PxmgduHpjJqW5z1usYbUVP1lRSb+SYAN83eTrsdKvgZTf7IM2UOF7E6WqWb/Wxw3cpBmX7gaL3AOkJwnigSVX+CZTIBjSu9JTvvavw0qwSyMtBDPFRW6BrRPdQhZ9h9SSfiSWkHH6dKIKer06cNhsK6jTfTVsosAP1qSIoOKwqvCY2YKux70CBvPjG4bf3xfCQuEfGQ5EtHndiytf39MTCsU90690OyOe8LGOiffogMLhhoxafQwUtej7DVLgn0x22FbvZDgrTx6AMI3Bt92GIX8xt9rEj1aQM1nKlq0PEBKxLK1A8I3FzehB0eObsshIl7ahtxQNUtZ5kxQhmYhvUwRse5BCHDxYKltnlQhefNzVCvbOUTkB4CUlY7t81Z0XiF6YGTjWW9Tx6Zz0XiFxzf6rpRTkfkSoO3ymejq1Xx+jMsUasLd41uuXnfDfzN/VAlZC3oPOnI7ajt7H3PAZiYVAZ2dDEr/z3v4UXH2OwzH5H5WDrZf9yinwnkd+vVRdfzDAbUhI4tp9MHCTBQ4hDoCuCmgjVh8D0QyN7oUICa/vOQWMguSConQKEQVKmBzPdZc3wwf5FmEZ3Ywyo8f68PoVBdKlL684kRI0IQ7eGG2RCofLxTaDfemtbEsw5mDHAsbpZjAaIqsBUPGfFqpzlLkMGdQsZEJNTJIo2WrUbNMZWsAVsOxstK9XAGcpfYu7x1WC7FIdMrZxwvsQJKxsqJbg9yK9BV0PlhzINupnPf6X1V4yTXUdTr3ivfnucmNKGJhzo/qPVABGJyMPMuMdDsNaw1/046wJuW7RdMENJkH2VFWsAaYSb4Ujeq9eBihnpM1wUcMBofmMbNnt328q7qpTqxxm6vMnI/GSX5Vdgh4SQ4ACm8h633W2IORENiy7MiXJPoW3EIMQf+gP7dhK1OMRBH9BRJAfQPbCEAIqvhYoq+X4aFsUVnNuUj7g2bAroCa8PHGQf+maT9GiL8Td4catnIMbjMgCAGuGYoE+Q7g3+o32IE7djKIVfQQwxDJ1YLHwwrQlRzrT6PJa9JbBKlPwVLo2SMbJmKtm/FuI7EV58HW5ehz7C4iUhicbiM9xDLDj30sCpubkahTPOtGH5uQVqQRiEFtWyCW/GTfdiUJ/xxCK8anNRwwI9/O+o7gXE58OmQ8m9c4E1EjPRNmP7wiTJagkVp2cocLDMQhVV9+mksH0/msyXztQX/lx6njK8ugmdUGtW/ySyeuzqrrAAwpsZpNjRARULdLHdhagKuBzgUmH7Hn0n+XKjpKdiHcINHmuYsk/WPTp6b8nXTOxOLTbojfQlNaeh0vJe6PL9eHrGkbvVjprL/yzeFuD8vvVlESgpFjJyYB/s/9A6PBl5c1Xeyrt/1e9bwupG13uzZ/SRxIRGLQDErvi0QXkDQpZwRIfOS5L/iIrpOPhg5wo7vWJt8wrvmCFJKl3s3cAWgHfBf7IjefFZ+FSTHT7P/QMReFucwrzBChJ8qu22MCppmWNJZcKQvUjrOmUHUKBqwTVmoZWZHD1Y9Qix+3l2EY/qlBp/iala7ml5Iyktwou0RkUG6K16VGd6nkALwJnm0ww2n6zvJj/5uOQ0b8/r6E5/NKpT3QM+QSsMRaoavK9/+ghfJLFCOZ5sVi1PrZljpewI2eGwMPALeN07OUdQqeLEPLbXUVXJHsFk6/sZ8xuuboh5mfcKtKM2C/IcQdeA69IRw9xP0eyCP6vZBjSgp52CP95HlyoewEv97cSx5l7reBthAaAlDpLlet6J7BtEwr0RNKHsFMRPPZ7EZodKPx2/6sufqlLivTTVobiXaTbaMqpSb32Eak98tPlii/wwmHb4ra/LIZ5eClc8E4nN02SnASRKq3RMGwr93nATp9PkeCH4uVhQTFNtbO6a6k3GatBCFSzMQjMYRaLQqQ5iuMww3uDRBUPD5GPNgNu4DjkhVhkolp2JsYHyXCPuAoIXmghr/6hZsvrLjrI3CmgLK6hVJBv5iD/t6NzKdMguDKyA6af2SQF43KD0K/OPRwWjddSqOfnjDWb5uPQMKt7yNsGFbT3Ks30tT3ewmqSmDRdPLONMnOXaE8HdQ8j8DT3JbAJhI3CtqRLUT94B8GzwEZFxZ2ammKHUh0sQEKrgHvs2GaMkZdMYCem+jIMX+zbFqx/bBaApT9mSD/MUg8zZ4sp53gE/5THzk2tJtBVNKuJXVONupK8Rq+jkTfXUTOkoKJ0fykHt4XMVljZQF+lknqjzyySC298dqoUrebP+Vi9ovLxPD81EgEEeSGP9GR+p0egBKYuTSyAYWJOLjM9YwhyfT5467pNO9cLgW+ea5vFFsHFbC3wCnRFxi0TVEQly66U6Bre6TArfaoOYsYcvZGwwr0O6vg8li2nkcD1vuDPfZF7k3WeEKriuageJ6GFE16BnWH+doL1UxcoMglbTKJaRsNvq9gubAve0lIjQJ903Bp3LADbmWQarhMCR1lYP7JmWyBEK08aFuxMXg6Bq8D7QHy7RTsnXmFecwwB+ov03JYdf/m7g7gqzm8rmFnqMjVo7v2lggu67NVx1RYnAjcYfs9gNGmKOhLBpo3JxV37BVLC63D3Ka2FEuuefiOWQFolqfzxGLXhyMX7kI/eFNSvZaqKfuUuGwj/FP0CfXSin3IeUkj5jB2cuLi/Dy0ri4rCfhiNgIPfT7PkBpT035thU02HNmotdYglZwEyDdOPRDYS+hqNRn77+FYXODqwyL08aa1jikqM+S0HcinaJ6jrlcFIofSpcoJnHGznwZWCV2GJUsm0QR2UeuHybAJwRUWvQt+7qzjiGkQAoGQ3flod4t/bO/zItK6+u9fa49Fht8wIulvrrIovWsgqhoWiCBSSlLaciyk0on96IAfxr75BcQOrHKpBATvtt2DYgvtpFaT9irQrbimUmgzZykV3nDbEaobDMA0MhSL0ltWgmqO1adjtIWcLtaocskHAFMDHx8BKalKHNW/qbDtTZ07llVjwm/tnbPxgaHvvM+U080klm//Ys3FAm/97qfLXgAjRBfUU5hW9lNXkVo7o1tuyaw7MWwj0WcatyjQv9ygEZunptQqOYExk6I1UEe0g11R+GoC+tBEYyh/f6yq4y2wpuG4WfwOj6K7CjsB4WZ+cIjkmHvwRrwyCUxH7m4/EFj/jsa7TixoQaJ4TNKZey//XioFnGmIVmMBGSXfLRRHT2KVz1ZbKTOtBMcsE5eM74SYGPXdsatMDGfmEjYudIPTfRfS+UJPeQzs28nBKUmYSu3yOAMH+SZMdSsCvrK3wO6dDCeQFw6uX1ZdUqk8DWUdvcOJ+zIT6lyOegGTpYzIf2TaW4wW5s7Ee7AEWJgCVri08u/Zltq8GIwzwcKNoi8cRkx+uPcMLlpv9VkG+fQdNVRHL067eHR1ebYWN0tawiXBbBHTQkxP7nrlO1whqc5IKPBzhmPIK11fm6c5uXX/whps1VI61FcEvAuBNy9ERGtdxa90PgUMshe/mMsb1UKCiyX6ahvRrEd+hqhQWNhsmoFb++mNwkbYjBbhMIkNYdmq+Tn13WlwkfooEWqnI2SjYXtA/vOfUpZkxb/wq/CLSZXTJn+7cCLUD+qw+OxbVizR8xHKnwKybRcfcOxyi7dZyfDNQrJlpFi0+Gv79e96XSrwke53RoEw2Tm8GkR+LF9eVhFBpueJdx0U1yHeJUVJqDE8xqzqjoMDnCARux+Nos5gWga8ViJo6AyJIJNdr7Sx6PHrEMJetwJhO2TDrpLtAPqJYZVSHIGCsc533hB1hYaI+6wmqmVt68IruJS1M3Or2jwQJZmfs/sjp/Bd/PgsqygIaI+OtPzTrDA/jxgXLLMg0wwjIzbwzpsIh9frAUOzRFOyngMK313tdZvZuaHa+RsC6IQ8Kr1fZg9OkxoMGLswO/lv15jUkCpL3LiXtOPTqv/1DIbym24cxWGbB+5o+q8SBeAI+X6ExL303rP+iDridXU1u9KGB/iKijeHWprBgvxnBE4aLIQ8glY0IIDChW9k+tPZMsbJch/xn+JIFNCklB9C58T4nwQpzYvrvIwaHwSyLS64IlCARNUxwIQAxvdlq67tp22yZy5sKJq2+PkNwoyosGONRNmp/kZ3xh6WuqfgLJOZfDfSnhGIznh+8UMb28C3DfOaJzVPG1FxLPh3U8rWSBmFlbWFG52PE/09b95BWKU3wzyPrDIsVlp3rqFi5B/C94MKB1q4eSXkk+iGjpdujrEGXjFdTp8vEvUN/HgT9S7iE6Dllt7WPzqRlsH7fOfFw1ebIijdoFvek4+Jp+UcURMMJUfQ7xoHPLYhsHKUkwLGeu+UB2gsKXW3AsOpZ7pnF84bSus78aSL35cq/MD8Pn7W3hkf4L1O1c2dRuCGXSTqUrAnhzhbi0iAnwZtsV/F5Y+NiFG1HcIfD4tqTaJLas6YpGIa5xAAAzWL4geWKVcRlexboq5+RE7aWoq6pmJje4S0Tlc2X5bzjvhHti9/uedLg+gtt5493nLV0uvPrbMxxGbu7rS9dtIl2HNOwczx2phBHMnmwdpLSLRxAORYpqXdEDN4eXOdMttyzdQFdEi87wbTAEZJVYoLEz9gbRYrXaEm0PBClwgbP8YdI8YbcdBOtmW7u2uNSFnaVJwx38nWVypw6ZQh/RgoeYj50v2YMt/sVt+xQR9bxkSjvew0Kx61R+GWT+T6AAdG4o8y73/kCqj8E+pXo112mjrzHJCQi3EHxjuz3okRuubmCRYdEAe+Gru0FTkdCrCgIYo3646u9+pymbvbHbq98THq5e5cUo1wdY1aQEE+Aq/O5l1faDs9KzDdIq2NIR45jlTTYibNOPca66ndqwY+3Rim3mG3mtvfTEOqSIrTQKps743cSjQ5YgLV4qgbxecqYEuPhac3n/cdB+Hwa1jRJW6KxhBDMpj0BwduPryW4x/i99L/gzzToPABVoiiTWufTRQjO5DCtSRJ5yfYd4OLnioUum5vGvc9f9BHYOjEiirIopP6EboI1oM95/ppT3rO4jE8FGQaurVbTwAo3mv1L3qopa5o0nh8chlW68G99XgXqx+efEzj3H/MfPhow7fuXXoeANc1Ff9R2Xg9qbLoaiUsbro2XsoIAvpBXkswzOoS8SiNbxyBkimX9XAyY4nRX33xfF1AWVz7hrQ9ZylOC86ldb28/YGokAQI0HXOOqNv4qBtr1lJIRqHVUihw9j3WRVp2Le6sV+abOolBthglPesYrPTMXlkOCVl59oPUuRKeB029ocT0yc662oP2PXAPRCBewuxkpci2iBGQI5grRHLSNVqb/O8Smuq/swmfwN9kaJ824+j5oAepwLdfu7BoN0nnMAtLYu7xncSrNCGzRMe41I8UantgO0MgOz+c3GDF4fCpEq+jcaXKR2rch3BhsRdGMUzHtG1fYDafCviSTMETDH0Tfw2mHfQ7BfeQJnzQVkBdMWYCNYgHEU89fg1pDW63ffsPUyey27ZA6ghtbn1Wx73z+veOSjIu0zmvVYFMjjkIz8tXvwEm5PT5ZT0r/aJ8n2v1MgTtQsVmyHWOrPHWb6vpac0kBkh+ZexdeVs4UJs7d0GDPfBCwxQRdQWjbNqc2rYA0kyGtNR3QIrLkTXgzKzXxhnHFrwCvdMGTHzH9v8TS/fRbSArc/65K9rO+elT/R4F8YVNDjlBqDGAeC60gz1AoZdQr/L/nKAYX24YDh2gdMxrLbZs2WNsMZjDu3rwtECQ+eyKO2XIKCeM/J59zZ0OxBzVKV+ZyzJClnpjy0Owd53FZ9X2avdEDIw4kJYkvDppnnlmL3wNm8QsixorXWKcxq8/oAK/jnA6WOwLO93jEQTenh/M5mypuAS9tTFwh5QcmREwYDDPzEIzfkEUWu0LJgdO2cnQhakHaX5j9CyQ+TQ94tYbZ4G479L15MDR30ggZdJCHaqXB99IVN8UrHIgOXlkv+PYe/C4Ytb39e1lvT0UQ5z6JNQmPKl7EjMZMZ5LU8OKLx0vCzSOArobetmms5smz5WSqXgoW4OuTb6sCyJZQvTV+aX8/10cpKEtCEJzKb2vMDW7QuTqXGzYmmY/2ri0v9r91xJP0SiE6gHvl70mnTVnpaJvMxHxG686stbd14UcOF5FTusxMorZHqOYHbKTjABEWJno0uFSQ6l0eDQVaRNRb9ftu/xgGP00nIawDjgcv8H2S5pcrFFb40+L7jCQMthzWdXqmH+96b1OX8KfnvE1hNkUb7Cc4HQwf1BEw3kyc+jEdGuKbm65FQ5H2TCHlg5pRy2RlVSZW2raTy1NvmtjB63G+z/sITwJ9rMFaFe8GT51WX4VXZqUw02eamm/zkpxEwAD1gn8Tk0AQeiR4V41cP5CkRp+Nk+2Q6iFwWgOejWcg+5XaG5tLU7kELcL9Eq8UJWWQ/xW3eD3jVoWGgaP53jzGv1yaXJaAdQjtk/6Z/MoAQL0tfqw9iM5AB69cPhM2hql6iFxC1eKBdiFFike+HvqGRxN9KHP23lQn0udGeK60BZEao+H+hiC4I71tgwCpmpJk7G5f5fJU7cAmyLAabDaldy2isblRcE+XOV0b9pJ2OF32iCtkEzpxnoFRx+FwVPppRbgdl+g4GpFlsH2xTKSjcZoaZ5lVTnunH1Uvm0tsGFdsB4f/zLE6XSIOQcFQpkoLpGKHPHJJ5DgeWDHJ22EM7Ug5D8lilno9oqkHaRM9uAeGZZ07fll7P/qgbhImEc61l1HjF8F8mHRXh39lTjUcLvm+X0sZCX1tTv8dO1nZO5AM73zwa8P6uqYuDPuGi9D4vcYd/th/HSGGTvbLgaSqBFzy4UNwIson33t/ILzSJA44HQEIeNfEFXWLjcLDZd7owxoFa8Fy+KgV1MWiOfaHpIRqkOXc0butDMsfnlWPjicP2ZmNe9GWXTGZ8Vo0TUBu8S93p2tZdJ1qzTc0+nQpENgNyBop1979IWhog2PXVTYoE6906fdJi2w62n4j6BizZqadMXx6Tsi7mMWKqr1pRybRsBcTN/tXdevXGGcBwBXxl6gxpfIhf0biShGYiRGsne1CIKkOPRllmOWLqH6auAAizE/5FfzX9uwXIKSUf286GAy+KIoo9QljYckYr7coYlaT2pPx0NYFJr6ChHtSaihnuv1at7wPX8bvhedVd2W0C1KSEDwMX8ZDRudjm6xqS7Drt98gcADu0J9HBFt/5S+1PinGT24+T4eD1lOhLPj+2gGE91d/h9QY2EyoWdzv9t2kOHpY1aR9/i0dMnsoi/kXHrt99KHpgUM/AYT0/hNjJ0t6MA6ZiMi1jNCImLpCVggm+1c8vdGW+YO+75Ecp+DJ6ytEpQQP1OflMwpn5b6uBbpAPC7bu8Sn/K9eJ3s15UrqN6s7VxF0dWvwdDMdPFiCmeFa4j6vJe1pzN24dhE5Ll23A2C5P4WgJI1SRTlOh/H8Hk8Z2N/ADx3+YHvNkpTgVmCu2szyrdZgiK2vapgXeprbuSLybEJBugZS/SiiDhnv4NiNfKmYkRR5frcq3gFperUk77GpjCbOyjQi50TpWepVgpUHw1PjbMqKuxZizcajCxb/u2a57oONJySsmJg/0fHFtffaAU5eFlvCUdmZcjfCGcF4rXbbSdREzrpbM9eNd+MV6TTn/+OrS9QU8FJJy5YfzwzHymZyk09pmAbFWdJ4Fl6MtMCE/YQwGs2WgeJUaVdSjYpoqUZkwfWxaGGHLTFT3kwl0bjNiY9RRVdibGbLqxEBCKDw41V61G+1hh6MsM1eJZfVei1CWtdgZcoRffMncwFhX7kDcTqGG8hog87ItwTX3Gx3MwRyjWlbSO++O0Rf77OuG/XEWADYU4dDikyHRN2c9YAwUkixQkZwpmQmnJp5MuPM0Sesx5McSfwMnjXfAB8ToLGRlbf6S1I5OgFzjt2CyrGvX8GuS0X/87F7LBLycY7QqEXwAsTEog4wd9ljYJ+qNYMk7d0kLO12qlRc/gVUMaDnhjzntfq232HQXWmgZAewQcSGGbOcc96Bk5xzD6YafkaOnF32G4vCbGoA6Wj0Y/JNyOBpYuJsJsrJOJYEzl6xd4dhaKz7SNI6xnMU+IXF+84nRvD2VrmQMU0oxq7GgEWZpUA1Rv8ZS/oNq4clsop5H/Mmcyo3a6UO3A3ytfahuIUv6jS0yUxO0R/LpLY2SCAd7tQcIoGApsLsmt9YL2/dGIa0XXn2YXnKSbuUEKvcugdcn2PQ1OjtAxL5SJC6BV3DP8HN6mDCpMFypQ+7cuyQ+6bkH7g6rAr8LQTwL60S1683OjPsxBTmrJhkJ8hNQp1XSmD13CFGer4co0zmzzy/Z2JjZGnMiGsk9MAF4thsjVoEOX6qFvaApzTESU+SkdWl8vkm25oD/9Ak1+Xg5ekr3tarOUEgv8SA3pXEHtA2YQwD8Yppm1iap9j2l9iFbtK6hlCLl6pu7X/czPkEihImdQZip5zM4s4SwmjDPdZeWVbbx0tXfIa72RyLxi5QdMR6L4ibJP7GWRzuxSiTOtwGRS3SbSzOBfsG5WfXHOjZXjqyzY0rw5nBokVwhwnHLAn8oXI9eWtlLKsn2tqZvzhBR+9f5P9hC0vNaKHsTBPrM8PjpR8AeVrBLQKmD2DlTgIXP0HmVgweveDtN/bD6k3IbkTnDYCQqiMnQajdIXxcEzCvwhNWFum9HsCmVY/qOPiao1PuwinhpPpKvRNOmldpew9TNlZ6enH7/n9GzY7+KIwx8udIcEqKMqdXpA6us8b5+vSQy/K+YwTNjb0uxN0nXhxyj1Ejcu8V2LgM30PacHTUPpJ3hthVaOfSlKp9Rzjw08Bik3dgD2AZoKQpzcZ+amE+G8dm/DgbJO9vyuZTMWjRCviRBqRHJWM3zpp8EXuJipA+t7wn8dzkro3v0iXPC1DgvjPfeQX0XHNNlh/bDDQpHfMJJ5EEBpBrZBGyon8IsoL2GndWH8kNKT2P4AsR7Pw9s8PsGDeyB24xD5h1dYREUgDWHEYfuEYZqtA1Id05CIes/Jh70EZUu8OtWhgtm08mab6H4nY9RMIVRXJO9Hth4rmqq2vpgs80jqJ2MDrgu92Aq8RlXoyc687Dh9/jSVzDUtqshNzKl1wffc1ejt5WWxMngnjBjLwZB0ENyuFUSieq+51lLP9rrCFuc0BudA4JMZBTfZCKhywGMGojuUsa25roPYx2/zmjX930z6dOya2RL3IO5j0U9HUGA7/t9SKm8O0wlZYYvwtE+rChFrIDykcHGYWIEKMBgVqPBhlZTXemr7N8102Ff4DUKO8VU1NW3Ao8eRbmiMN0kJFiPiQRk1kOoCgAxFGwC0R25UELbKLARCRSAkaJcYSr33MRdWeNH5aEKjqhYENXADJ7Oi0cbTKP9bJtwMS5xq8Lm4KWbcyKl+srMmJI+4N8BRZJtziRtky+2d8R4exojZxpj/qnLZxHgCa54sT+NkNG/g1aJ+QWZt3lDrwentGRg8NGsoy02kti2j1zWWarkpTMeOH9LPiW9ft1fyzH+s40/MPRYAfOEJJnUIoFGG/xCY+Sxl9QIAAt064W7IhdJoZoCemW6QZaw8F4w9FM83cuPQfgsaUxhwJ1n/qPAoyjXrKCd4oZCS3IWkc354DFZ8sw0SyC9dOxze8c0u0keoKBN222aKNfJxcidQ4bOGp8WBdU4wfvIg7L0c0RMBV0mt2tS4uVsEFOtDU2Ly1MhmV3N5yfiYCwhCf4sX3xnQ3iHmoHdTyuZxF35/ht/2Jaa3xlIU1qr246qvUmkSdcuP+vMwYnV1WQU2UL/59YBUf33yemYf99X0BN8ycgswrelFM57T4LOLR2y9zrlgMseJRA6IvOBPt7cqn9Aa/k9tV8AKbE+5/KAH3olLbJkrS8HBdCdSug7b6aGan+Iob8TbhC8bKz0H/haTnZO3iDVfMjdV4NrO4QWrInsgJPd317uV70DS/EYZGmCjXYgGqwhCDsCsBmsGhp8u1PC6JVwuRE1oEEm+MgXZ15Nblo0NuPeBtu8zrLxJ+RJ1SgtNBJaDnpnPAPhEFRTM8cPvruROHiAQg4H5Z/VA5rP0SrxS8PCfzkQpPBSZZas/QUb0p2KCKZ2AqL57PUvwGjhBevoPY/fIIDEURlc+c2bRKT5bmCRehXWi1r2lp+sPYFBkNjNoUSEY7LVLu+KwCY1JRljpEgaJ9JURqkE3SqiQNUAt5uVD2bdqaa6gsOqLHC7LOAkxJBfSrKq2sr/acoA4wC3HupffxlHi2zfCzZ+jK4vk33DR6kwXuuRAeoDb4OVdtKGh5JVauZQ+KTqlenm7/7DZOo31/H+bjizlyqBMrbIAELHD+lTaJ/nm1ZVqSOoe2SZx5/9ZFKugxS3pE4WLFL/YXufD4Z2K0wo2dkxgwnrurXfIU3fw0Hw5wChRHbJOUFIUFBKgoaPQW4LuFIGyTkdXJEWTAYafSuEpnb/2nwbAcZIYLX7hJMk+njpRkpZbz3yCqckXGgQM6kx49w+xnVBIxTG7rKRZsqtLC7wC4Gp99dnA47Kl2YKycLFgPE8CnUFpujXKEs5lbpuemQpBA0Xrc+uHsMHd2oMJizsNn5pP99FeCGG5hDLLKj5iTEx1lxwv+Zd5W5W6yXiVyEwaR6+gx6U1MEiPOM5YZ+rcRmsDGXrQIOfGt2oS/UvrzKpN9FoAuRb+v2qVDPXxuQhlkW4IPCys3yMarRSYabGetuvY8aGNQbIzgTNoLqUQgcy9UNceeEfKXqxUPSp2tLHUmMYUOLioGaHZJ3G4ZXMEcVg0YHEHcwVh8Gn0WBoSVvc+DxDTOoHYwe9pUk9+Kb0ojwNV3/sMY5r/rHSv72ixooIB6LcioP1P+zcnbNajCS2T/i7AhYMlW94ZSp3TBX9ckFbUtszIXrzGxGpdOGBmVOM/gSDo1O9gUFZaReOuga+5U5XzgdlJ6aGvX28a0Shea6bLttZ9WsnOrN5HeuuBVFmUSQc+4cz6r7yClQDLPEzSWRcQx13PFWW400vRYlWAIUEyF+dltUUcqHBP/sERgF9P3Qy+L8JbtZixTUp74Ni49ZyKAoRD3UZyAiID/hxTQHym0MSq3V16uTBPLyhI/E93eYCtLzQRnt9mY1CMiyL0ZiYsaBp98yB+NbVggQUkRKz81c0ozv6sIP3Rnh/S1+P0jt6ynrlpCzK3zIWw1xFBAW/2GGiG4RY+cvFFRFBdwuV2nMLYeZ9yIKrL2F7LNKNNX7wE4e7BeBuGGtFnrHKyAJJgHchu4kF2c54tZjRwqvRjySE6x7yyr6ctBNTguj+LinwOfAzXgbZax8u8R8N6/kAirbXNc7H6jbkB7xoEn+ZTBW27tLL8Cv4umQBb0rEX7LMcAY/QJU7zn9sXN3OBBpgKD/iXXQMjaS/usrdiGwOF3zsh1MYgbxHngOnZzwRLO4H8Q3CUT8G3fIAIO6tLBoRVd6aTkgDcZ6jdgLOb6sBBgVxkzAI69xVU4H4Le81JJfYfj0ay7aHbAOZ0UZiNpW2/7tWwqzQ+TI+AAjYyoPxO6lrE5y6ZxIwu1bEVUyr4bfVVAlwGh/8BJWR5d634aQwAU8gMEFSk7ufz69hNI7TPvHHZRW1LKHVtadyaiJN+yL5MnB3c3atx3GvhBisf1bGHVoFaCxy9OWY9yodB9kHdRTUbmcgvCLRaLQlskgv6/58p1GugGcMhAjFksVtPluT/4zgQD/4h3wMz15uOJWk45F/OnGPh4CcdZ4ti6vrNhXCElnmfBUdgtye3ViJEgJxLgzBcKknkgYJWdJDiflfCDki4yln+m1KcgfGWCJcqNZDzNv3Xf2mhsTB0vpD5frk39PVRoPaqadNm/SK2BSNvDZUBiG7/ITLD3F0oG/C9ww6HvJkYii8aVZuLfoNW9FlGDwlyduRWMxcGr7JPKO4YG8pqhOrtwEgxu42yvJJtkzaurKco/V3Fq2ZWwM4qcafGIUOpgUodUyWs1tfeEFv3b9NMgLORkLDt553WHiUh52Twf7/dfsl4tZLo/F0XuI7qhpMifvvIcgKGNwI73qGa+/c2jxZI2C7sXFQmmN3Nsii40lKJpu/S74p7AdpJmIvQcg877nSDLnMN6VVLasFJeDbAn+4Dfu7H7UE3wBDdq97UP79vardcO2PdNbj0wnxqQGJo9s7Y7k6ijuHFFp5Nlcm8djnOkeRgaFgRyMEzig8WBQSMzRrQ0aUhYUZ8PyupM7BvRg1oXhjJ7+/fvJnpjSiOzwJrEWLXaWUGDGuW1HdAaK8VMp+TjSH+/Q986EED+8ZZzYDGpJo2ZatjMYoJzCeEaEwI+r+qVTYi/qsPQgfGOjGw4eiv22TsjgwT6j8+bOyXLXfI97osoF6aYdC+mr5Pa4ID1YGrPDOyXmzshIsPuQ+MuDIcMIC9IZLjYTWz923/wTqA1YVJhZmfp0JfyHtYHC+69tB9kLpgHpq6IDzxvzpq8/VKRAM9WyUJ3/lRkQxsYkLF215FslEairxNcaQzVu48QbM5HKOsKaltYLCJ6zOGu6kGtNjOD+VhGGWg98MFS56L4kpU95rpztUTNt9mInXvI8YHfJCnR71mi6yhSeJ+6jcQjKw0BzU+e03Cvqu+mTwF7FVs6p82ZzHjIglRrwkFWS1WZNPNxUzeWqb9hwZxFvtR8duW/kRUgPWxze+BLMw9yXknmUnCID4XiSazmWlvaH30/28wx+R+GZV28Mh5X/e30qmnvftOdgnPOri/ZZrhGz0kKxlUUf2pX+pvHwZvD9iziznZeiWXdqu/tS1l8olz2GUX9rjHDOSw4xID63G9zmhxyveZXonWfIu8Q9IIVB1RNZP1c+RL0Ta5kszj3SvPE86JLNlX7QRrIA8mHrRPiGiRwVSX/mfT2dLVbvJz93iYZYsVTSgx0H7r1uSxvVp9Q6wMbnByeoQ0ovvYImCKg0Ksi8Te9hxm+pUVAoCBmJsMjJEzVdQoXSGCXMHy5mH+X71A+od3le02+vR2fjinekyJEx3ihybiYi/wMzlZ2PBvkxl8MIjG2SeF99A/02u6dsHZsTZ9wsSVdAvWDSrSDOnTd2B0mTFzUVJu3wnFYS3mME98GnYgLzFb3bxauAvAQIOu3aU0Qp+go9CQQS96QBrs2sf2rkozJQTVGGYDpKzmHGQjG0Ns82SQqLnN8t0ilf58AjXPQOIE7+Vvi7wLxJqXm6CUILkxagAFn47905Ihg2XuQhLbbawD/Jfdf0FHWgo9VsJ/N8LIwg48s+BIutVez0ICjvqvNNSaOQYqeJ879jVhmB4UVVVCGEN6amqew+mPHpDdjiCTs91+olPPBZ7bPZKGreMwAm1Hn4Bpw7R3/ySmBV3GVw655OE2gtE1Tvjc+FFq8VQI3rrbaGRe6kwQxBMv+CDno07czStTIBPk7rOtmOmJF5wjJvNJLLDOcVRDPQIG9kr2qxKKZvaXsCI6i+2CL2ajNME1M/ZFiglMH1JAvu3BirMhn86MrD0s6hb34sPiftGtq+rCybF/XSoM/34WhiA3yivbngurcTcVI7HBnfNABFNv2uBgOlDISAtG0kZYLj0csoHBQhG/ZRCGcJH0XJBT70wn9Lhoa9jKR/V9/xY/uoTODtqI6lrrYoPx2WeK9CrTq2fLQ6Hbd8xYbf8vdp+oKYOIRP4SRy5x6LYub1QYbm0yTgjPJPVyK8S7ZrIlxlLtnKn/mW/G8dFxuY248+FfGrF+IoVoNSu4MG0sSLWASaZ8HA541hkVkXROBFdB9iPU6hoxQxBRiXDdp9dB1ATuyNepXn6XiU7OGZ+Z0BU8hpVsUheVJICV7jE9x58efOYLWYLC4+B0C2+gkERtAD1Ns29RJeTHbtdW88YBRqEfYTG+WMSM2i0jfx7sRfx5PT+CFA4HnFFVuSaszhYXp6rTx42M7OOi6fp71l91gCoFerwYFiSJfhW9E1Zcb17Up+escmAVbSXqZ8k+ugZJd5sKh7mYs7rTlNKssCoQxG8qk80BwMUQ5kvf9YT6r1LEVb46WzjLKc8htPnkmBvA2PL1Jksl854wFBPHYU2WCT6MaSPMz5dqer+DgwlbZEGBmrgYycdwjAOz+JwFI+r8lf+th7PgIY9sLHHv/PzCG3OQUj4FD/YxDJeBI/y+sMSZ1JBlGt7LYmIqcAyfI8I86gD1CV2BKNBeHEI3Tiv7y4k7d2QpZTxoxCA1eFj1CSjMgGD2j1qt79OXGKVHcY/aWq5IjTGfEHqOGFvr50iS9KjMkxX3Q1TUEREH4bxphYAkLnIEewdOc4IUvGfVHhnifpFB3NePgcwB4Om1wY1BB9adRv0ibTIQfTcdL09g4jyrphULUQAJ9odRY3UYvcLiupxbHKXzqUPCKELR11DgS10+V/Ybv1HcFmletdLzsW1JqAO8LdW2JxA9BNUO5eO5C+zyr2jcMjFoMXz1AbXDYtG/auubRhhwB0987WhY3wF3nQCUvNnq1TUAnvwiEMVoNN5BLvZg8ESHc0ghsaYaVN4pg0AYhLQwHT41k4GcMP8tUAbT+6oEwPPDJ1KvWVaAtsfKpaCnrS3HlLzbYHfgh8Fpid+G1vvv0nmpBvnqa1N21gggrWEsnatd8k/QqxpEfohxrBBmPG7UfbXm9RBIRbHyjvCEfu9+AwVe9Tg5luOQeFpdIWQLUsjv253U1uFuJnkAqlIvNgwY6uUYy//EbXG0nmx4MtF80KpaubJqCw5zhUaEc0rdR/PYkHQmK1P/SXjlttJDI/3q0UG/QZzj0+b45PWruCnZ69bAp8nFfYLBNmEl+DiDiNEPnDbBN58YcsfTonTJfMJ75hcJi4+3t/PjCBe/TLo/pb1KVjwh9iJ4JGdRst/E125oF05zNCXvAAYahlxc8EOPjG8Z89fspAHsM9Z2902GL880N4is+HleJe0wt0J+nRH+QaXFUbxnjvoNYgLz777WbP6lOnLNC4lDXob34eVmjJB9K7ktM89FfC+xnet3+FTP5ZQg9MrJcQCc1QNc3CFs2C+38kgJ70MTC/6940ay7B/LTRN7gZICOZ63JrcqubvAlQsHHmyG6NmEMju3rJmeX6ZrTNCfDcK4sK+XR0uNg0jcDbzTtbDzbHg+QPl12SFVzyqp3uNzwwumdTAtA0pz0Ww8NeycqMzbRJCbq8RlxmNR3ts0Cvbsmy7YE1U75Bk1sgc1Pra+dMXCZXVwWVS+prsAe+x69eaIJkA0+/W8VUYkzurcw8Uo4Skmd/kXrWobJpYIO0+g3fniE+1MmqHuQK847LG7reekLDzwzR9/S1JINpahlnkLKPEJSRVzqrqqn2rATiD/57gLznf0Fs/OkmCGExO6QGMqcvwA4ww6oVPG9bsBDjAcFWJamVVzjEQEoKqssNIDQhaLPLrbKh0aZq5OCj9fA8CyPop/f7bVKF15YTZqV8SReqw2OVGHHmJuc7rG3UcwTHxTtVe4kGFmUY6jHgRJ3yaU0HeHJ1gW0ESknyUjPScgH+G13k9/i5UE9BgrbewgErsnk9UAAsSVpJBecvEK/jVmUrUIf8/StyjgGwK0wvamncDUuQdUqKaD83s+6yBnCN8u+26+dMz/zHi2MlKqGf5dg/zlcuFzZIScXPmkKpntmGRC45imQ4LbYHZ8IOLAcvkorQ6jznSiWF5AEpjorshMe/FxO4vVy49oqVH0JbJZKYJjasTke+2TFs8w4AbPpDpyvLmEXdFJ1QMVnayrH1sWRXysxqE7aU/hVuGpXpgifO4jGrMyQt8vuAhCXNdtGQASesGaRXx4SbmLZrn2lq4b1/LB9xnsAaaQI59m+apYtsgEyIgecj45fUsuEuDf+Ks0gySl1SFMZHZHFviKUJPpTkPlbnI0zJVt193zPkC8wKnNWBn2PlLKUu6/Fevf8A3VSmDTH4lcdEkx8Gsu9w4nTAKcRti36pj5O2wXoDTuZ2BduqQIwfVq8mwTVQLAkmcEbfVG5y66k45lLWFRZfr28LJYpBaHP/xB6+mkrEs4bM3iJKMu2t/cKGstrMNysaXGoTG71ogJv9LzIZA3AuMbo1CRRWt8GTd63tzeX8Y64cc9XD+uBPKV9IH3B3H0LGGw8H0OYhAmMHwixRux/Jy+oUE5F1Vgdd1oqA50JnYKRrz+/8vZ0wTOreJFYfPX1aRHaG5mQ+QHIVIT8cFx2G57E1aopifSnUOZFiWKRtJ1ca+H/TbcehtCSkqmA2HA5MSkI8oDcwM24MhqMz+tOfmll3vfB1FRU9KhpAa34zeNPndnCBLje3dJB0uct4iQjLyss72Hd1E1tJIHXjYvBNCRlfhqPpMeCJqeiKwYlMkKwx6WYbvYN8bXNWNxfQd2Tij08t7EBP3uENu3GXsZq75zuR0mvgqnGz6Ana/k4LRWo75Y+JbibAqalcO+Pop6Lw5+xKovNzQl70YmeGQhqfPq1WPApbphmllL0MFQ0VrjoSrz+5fqCKvo4SluAAnxojJt/yvympXzCRPq5UI6YjJAKRgoqDjB0XFw0AJLqNSiI2qna5oDD6e95+YJhZq0EgA0r5GUmsUCHXc1mAyG7Etj+Xib/NTFjAtSydsw46iFpdZprpnYtqskGgyZTbKggDcdUCvOu9Yiia9jkK8obOxK32JyKFm6P055XofVqpHkFCbW3a4K8nTF6EHR6P7toiZqCLSZ1KTqa04ybswCafjp6mBj3KFEcRCvihCNkSeQi0c01rkHjb8OvTO++I02TOXtCDSdwzUofWEz2LCsUCJa1YVKXUkrgo10MFnPUlicybuu8u3k66nLScG2Z1OY4LZ9+7C+9SXdjEPXspbwrZiuxtxwuPTY0OTZ+xUSaQaRQGZbWwd4H2iAmyPTKWBIR6sfNiHPvvIGeXFlMc2VSzCNC7VMTEWMX7TuZ+QYTV7l4KhF+YezDvMoRj0YkqBWgrmLPfdM9HlwNkv32CRm0DKk00f2XZS3hLRcqriIKMQFlKKDkvKLUSGOs5o5NtSbdpbLowWYZIyhs32RI3rAC0GzLzYurNwbjo8b67xkLt0Fwzlngt/eo0tTP2BxR52f0k/JPVqcozrcdNolBWeigNjuPehsqgyv4sY8laeXZfuKlCPVvI8G3gPrseTWHrBkw80b3XQRHiaxHIhdLuZtBQU8/i/tAiv7hOuTqA1NFwWYHPKh6DckwTyrIsrGFlaS+fdnA9ZJQq7ojYWTMSkEsX9dP56JYsi2GFpbeL5Uqwfb07M1n34vm6ve5klpAGXTPGWtIYaYYMRMXBrz2DC0VdQj2HOdR8h3Qbp8MpUOjPBjNXTvGoG7GTYs70sDoVD+75duhnv3XzMIDQDxOzepZ3uzudCmFSevMsqWE/TyxCUKF57Ex3mKAP3oKGkTh0WPMxdcWPe76obffQ1cQgJVhA0cqAfXmmO6jxtDMi6NvY/lm1ViYvZrrsm2r9CYByHPVdah4R56iRVl3e3VKGRlNFtCWgPAbwHd5rOCyjkPEOQ7OezxM1ENPy4hKclXs5UxPpEjwtoeryWqjIwH1KQ1pBvt9e1Vj7EwH6KLykhhSO4p62pWOZcMM65eeG7q+2AdEMIO3vKob3yAOQm48akHeJHxIQ97MOFTQjZDuoyEP209ufQdADJ91aNPBvgaQI4xwsL6JtfJdzAdGW94G3FoJvc9sRh8VhccL3tLuaDhuR6EBqKDB4auM0fWb7ABuZ8F4QFfsbHIQ5hZgZv4nGG3RYbxDBd2xuYW2qhPYF0ZYngdP7gg/2RENThgS5YmN7jmCSku/W/FbKeVchkxy/cZAP43qUuQh5BNAjyjaUUSA1yqx0hjCbuGy0+KOZN/kVDnZd9i3zdNvDEwRS9I5lSl6j8OIX+62Rc2WxztVTSV9UdROjIo1/xP7C+yGDQbMorbP4tiDWIa4filsze4wl0ReYUuTlYDtcr3P3QRbQ4uDZ+Wlkf+fOmcT1jzc6O+6nId2n9Hr0lcw4BLmE4auAy1OpxTnmlb9uXYcbIIgWlXdTGGWAn7rbohQgelBCUplwuRjwNW867ibvLAMZroOkA72OB4c9oxcpJBP8jz2/VRUsFvFR9VW4rpRXPC6YA6m26rzZ3XH1x+g7Kx/oIA3fLxVh956PJDXps7nmM9bFs6IJPqOxqXxtNhoMCt8uldDwydovukvmmr0iT3REFAOanxEdgppguYgE3+j3g+hnNr8+sZNFzWXxTLN9rSzDPETV5y7q8SW32yCMDRZvyy54UMre+tEakZ7/QNrXf957ppFumyjbZwyWGPRya/8o/WJObSMGgxD3eaznc6FF8n48oiBN5NDWpUnIfy8K4Z2udcVnWRNn5RoaiFXDdvJelWWzVLg053GDiXuhY7PZt9dML/TfMAQ4VE64LmvZd5siQmSjz9xn0QBUhK6Eez+t2x5xt1rjvfUBiyW/yHwi9+iHumtyEyUZRK+tgNvIWmkGNYX4iEzp3RbTaNq8C4rplnBkWUWFtChxYM9TfR/+r/CjPXlcyhr6odQ2KR4OnO7yBFRg17V3M+lu8mvdBIdFUPiRTcKZ5XXuI9oX+1a3QYNCkwQWIkyrF6DkBVNm8fZbhGRNosTKo5oia1DU03S3nzwMvwNJn8ux/T3sZJE8xJ06ZMd2h8iq+O31F2MbpkVnhqYbKn+4r1vJchBIQXuJnelThWrD34bf27x9TkkULEukizz1SrxGErUFD1hZab0QprcrnNI0p2jBY4PduFJT/yndnhcAKlWE2YWLCTqepT/D3l28mGnOlBXXRlTX6izJBrPDUQ8kQlz6t4YUdR+b3fj2Y8BGsY40/PG2ZoqBuTyZoFpf5dwiEfyQpXWsPohGKk3x7ADpIVDreR8dGtRfgOv1Ix71zc4pI0cX4Wc2fhG8yK6rKxRI5LsmDHMw+bwvlvOSXe0LnvXbBV75OaFzvkh6qIZ2goBw9+D3DekIe9gQod6scIQ0K0LkGU7h4N1eP2hQ7KHV0nlxfcnCCe+P6SmWToroBYNDV8NPI3TarqZGB8F50nVbyw2r3wWMgGhHyh1ScKAgN881OSKXAKlib9ubfMSuWjBHItao2E6QrHVSlj5JOjvJlcbYY2rkakFrMOgi7dH8AIebqHDfjHHl/rSLbNobXjA8hYrGQOwWpzlRNuURG8sp/1ibJ8NLkshXWu3rLmNzduviVlPqdTjtZPZJtqMRkG7F/Vhy41dcc4XffghV7JxW5udRLwlWBLgWg1mrK52Oxbt9EYFesqoKz2T91A0D3RoJCe3Geb4rH1sZHCGR/L4kOfipnJ5mYp4WKQ10abvrpE2t+adj8hV8NPboSDYBht8yhPb/y1rt7rFHS1yODXNkOFFcPTuie3TFWiGFlVMex90vInUtZ/IcZj9zrzRLHSDDO4GPQUIF9wvX4o88k4lejJeQBWidr1mkPBW/5wMm/qBQoV0cZD+TOblP4bujkRePKEBGHBvK4zVXx9+UMUSJn4xRsqn5zw/5UcbCc3NBABFTaXSWMxKwwiPVgtwsN84cRKqJzrRDE473bO0jMarTqvNCQLkTa++vqnX6hOyu/tYu/e2eaV2dvIdazrfnh5kcE0C83vFonBDT4weaMzdz2CJpvraR0negIe/b4non4GZuuHlUXfGdpH0N8I3n+KceMQHG4UHA1MnRRgHLy9N9+V0jSZNwAfMRnOKUc6Uaz80HZmYxyLgRDsavJrTvizonADQsRgH0aKXCU9t9rbYTV7/oPPFiM6lY4JaBAuQYzQ/xpWc+6iiiZtjnSXWxZ5TKZr0x7osQCNsdT1ieA4Af+RAdEri4ke4Kly7sDFhGC3fpkv95zStVF/JzmF5NeqFi0vlryBvwKz/btfhwzvikLIalvypPmQZxgC1O8mRPDvHZiGUI88uWSvjYaC3JaucZaAPOnW6RB343sBBxb/6K1fON+2D1eUBWFl7F9cTnaXdYHYpmEvpM1gw5VPksERbIJhZ6ZnT+A+OYAbSaTOu3CvC616TOIMF3EPLjgZ86gEi7bcd+KT3gIpJKRH0Fs5sXvw/USA0MoBV1Cc1HwhwpREFQ6wDm4j10wP+J5n38uSMVcIPXHDse4HxfyhBZcrJLOSAMq0UI9ypNo0zN2orSkZq+Pmcwbv2klVpy35eJTBXKD+mr/OhBIvGIZMiDHbf4K3XS4JEhIYn1/YJ2hF7h3IWrbAG9wtLYN2p8WhY7avqTVpw8/mr/BDS5i7bfjEYWTnb2MkLo+1Gac5FpFEomJ186kPmg0EhHz9NSsQJaVuonNPw9dRu4ZO16Y1caTE50lyUttM3yAC7tuOKJim3FrD3j1/0fhD/1tUyVGPOWqxxJkbLuqiu7/fGMIqQ13fzXpfftj7XgomUO9X7gtAHYvhPnHFFrmN3rOqp+F7at0goTZ3ziJl8bJ1GEiUUfUSucswQclChg/IdSqYyQ6WCumd81qLsvcq7ASV72cOqcKo7Rdv14+wfUslq46+dCENLL7McfDcI22KncGkz+DpGYFrVKpZTrJYNo3T75VZK3G4m5QT3XYWnlATvtt+KvXw0TuCSaI0wdjewfR8eByH8Mnjx9BHDNkCzBq2E8mnXHZF6/LGohjXCKpp+EsZYknDxjRFyy555xrcHm4YA72XK7pPuobNZ6UkX8n/DtoQDEoA2Ib3P20eT7mGEfrnLWWOqCzGEBQwyByjrFWseMQhcxkbg0BLZCM5uwWkCnS6JbT/xrtAFHddDnopzFogMvkVer3sNAkGH1dS70guUJfyr2NJjRYixRmjAq5Fp215pBw1yuJ9NwV5SMbRoBKkKAGm+bHZCDNUE3deJ9gFt4CB6uDxGC6WAmooF8xW6MU+Dotg3hqWZe5sz4L8gQqRs2cWzpTarkgUALK1vqcpa260l9SRbhTQy/tChfHBF7NukTbLu4oxNA0zjVCY6EnsB6ppz1Hd7s4SOs99kNMq8jqXYpp4bC1Hw3cWjk6o0Io9CdnupmscwmPn0zoUu9NtOds1msXWnq1dUMgwqnRGs2z9I1BKdmI+Ip9ZL7iWCwKKqwmEmvkhYrm8wjA9WmoxRt2JinPntnaJcS/Y9XeIEcjDIOzZcDtH37ZFOXnTEvskoaMhLm4bydMKeM3hXkM7rP1WYbPlBfJWMrUrgAr1xfE1dTCfS+vLIbmSdl3VkpNmYhoc+R6tMBZ14las92y+iF/8ZMdA6n+zk/U1zfR/PW2cPnf2kLt7lRmC6bxXes9vv2dnouqEp3yX0FtHLxB49LsXXmHhiXbwmEWL5AreL934PX7EVgNRjqscm5mxOgFxhn9q66xqvLHFBsvbP0BZ+bnOEScjTqtDL1US/xlOGe05yguJKJXqvrXq0ERzwopOz4HWbh1s1bZkLBuJFB7KjgCKIMyB2GqS3CrRPsJsVUFZZAECCpgtFw19bk/+g0XS4F7pdHUfaZTfFaHChU9y9Y3sl6CvVW2NUOw2UGEpPERJSvXU5IIs9YD1rl1zG0UIbBtvTosSGpVNo8GyTn5CvW7XbWVa4bPqJyG/I5MzMILNquPy+bUIrGnaMCRayI8x0yViH4Wqmk2Ga4XJ13CdacsNqXiK6lXkxnFnfZWscJ/l49McpGtZ6LjOY2VTOgX4xgWXjGwbfqfUxEZFVcBjiWoFx62vzjO06uYj8iLPVjwSbBdE9DfRDbp3Sg0goGJhxnZTtBd4yxWE5e+IdKNNHydsJuR34WSoDGOjQksYJYubqT/Msibbw/QIYsWq1qW/K7wkf8ha3ry1zFjttz2eRjzgwLbVhrKELiqVcbMBFZpB41re9/2Pi+tHXAhT+Dk/DF00FZ+HAE4Z2lTEC7bmRlhXUiyVeKw/CFikV6Q7ERrBEtNxi2KTqTsvDkLWc8ph366bqA9VveIHHfh0f7ZQTfBm9KKPeIsN+C6eFt4SHE5sunGcqsrQ14z88j876calkM410qkA3YIVhtwnIbfu4sEIbwnUHmn64Tra51r6zVFJ9DnOKANOYBGIo3uRC97/EmNPkF4OdydkDanjNs60cbUxXbhMcXrdgyKw85RM0/tpRfa6JKPY7oKO5D7kLdov87JKJpywvY5G5jD52vkPgwGiVHu7aO1RfHj2eP6k+laWpVIogkiF37FCiLF+IRwMc+t+QjfLGo5h67/OspQNAufch0KdSWOblJtU3xQhM6kV+4M1NHpcl2742PROsODwOboZfItCAy2VSarT9GjpFBBjOeX0saOawrr0i37UjHVpqu229gKlHuO6xzND1AzlQedD4nQcBmSbITTTGmS+qiLTQ+ERiCZNdyMCgddAuQe1iMakuQamvElrid3ziJDmyyyAx64sdOFXZrFBfzcHJod+6XDEkZXyqfVkzi6bfEXdJQY0XI18syJMaK2aAuu1a1dIvGprJgoHt3LRCo75U8k6b3dhUgBmNbP8Arinx+F3H1+mgD9s5wvS8PWzNmPB0xGvU/5stFEyu9DafQcCuCYK+BdMI3aVB/LOfzfr2ZQ4V94euVethXEEZpoJhyNJ3MLE9KzYgPxi4ZlwH3I6FY3GFuGr77xMrK7srIiag97LuqxmUfivQz2oEr7rVFaUckcmuo+ky5tWkr13ZNmX7ea9Ngk23Q6VAWLxDrIIVI5GWEBgz9OqX1YkbUEPA4+dDVZvsTGncC3eLKF540cSgQnwwKdVyddzJ+WsSG9r12suToBz0v+UI+NUkgYZ/zk5tWgdZaiCbxGEq+WF8XcTeQwq/SWCIyzzUMnBOVb+n4L7TRF4fvN5+yW9qoJ6FXxyqeu8k6A/j9fXnfD2T71/0+DX3lRteGugpiiRWy3gdsiMqxvTAV7SXV7+jrMB87cAgnzM9r4vfv4RELFubJOZ5LmuZQcDQkYSGD0eA7duW7HrwDCoVwV4U4L5ADgXkCouB9h/kcPMTnt9aieOrQOJrkVQEnhN2028Rc7LSFNEq+eEKTHIlcSWHhrV3Zi/WsS8RN7njOYg6TweoCyacYzJjsLWVyX9A65pbBaQWsolY4XoSxXFlRbIs5snt1LFkO8lIYDRGHVQfIWsN188kYfsuS4GxqxTXfdxcPKOM2UmiM/hBL9iVhe6xI9rBc5D8FVd5Z8lg9DCyj4kJ3iPoXJcb5PKW54FXMnE5PfXyjUeMx5HDLA2xuGG142MefyduSFCuk5mYBXTzVPF0r7LIzFzSKBtO0FgQrBbRWMQqCnfZwpB9bEmtqw1rALM1LqEYYq7NqorVV+tf9AZtttnf3wDUubfx16QLezp2UkFLLEHiQ+Z9DgsKMKwxj39DV36lnmMBN9hQ4XNvwwmjNGHKs7dNcpdGJcT3rFruYKZ2zvg/He2ji8FaRcaL87gGkJKQZ2sdryMY0h7+bUPs0QlY8rkFQB4PjIv6BinPriOx38rMUpJDYvq1P2Xr7xL5+84rBrZKhIteBemGkVmTYyBHu5hcRThvsML12I/fUecHaeq2YqXKOA7Qo6otPQYAXbQvybCXTo/fvwWsfYsmeMB+uleiWDuah5WHPzr52HoJJ+ZtVE0swJvZc2hPNbkeFQRodOdRpXE6QKYkPTrvXdFEFgcwRNIqtgyVZbnerB/hIluQlzFI14sNmidYbniIoMmLhl4H8wg5NL3yXKxxBbi7ywkbCeTU5jeiqi76J1wdwx478vDXw+2+pjfkisnfNPfxtnqMAx0u7hqnRaohWDh6ucqrI5U6D3TnPC1dYtlzTL5rttYefQV8CQkJdhm+gw74VsKM4KawSwzqzVBZdE4FsBDDJZmBBN3Yn2930yj+kY5G0XLrM4PAgPPnHjnElEX9VxoSYTDFLIU1ZwMgTUM+ujgLUfiyLqh3FjNyMihsUTzM0SEaAhEOkzPhGjBQmtLSWGYti9HhUpgdLK9wOcO3gAeK0kusnL+8hk8yEcH6rJ0b8/EHX8NgTF8WXehi/Jma+gQAqcf4WUrf88EL8IN6fwpvV/AWSzlV1PHemmTSwWNzTlf8d1FkjuwEBFf42k180n7rxDKBqaDXWpgoAC5EfQzSZfF2Fv+KwdqSvO4U4MmWv4XR629WwC8GSdPJHSb5SCMaqP68/soo+sR0PP8yaDhVRQSsf28WqEO+nhriEk2FwXYtGTYJ2GPtRTIe4W3d9/7gfq7e5+8kufeKG9X+4wcun/lRGhMge38ZmwQlNG3WcWFT5hL9KshbRuVh/BXx/hVouFYfbRSklrfb5lbKxRl4+nL/KEJ3bB8UKgABmE6OzElMeBM+32xaXTsB4cTQpUS/HezX94KhIYLdavgcSjzyLBnXh2QyLucCbwoR7JPTaDzxctpRrnuv9lE66fXK6jmbDAsZrH7w95q9bp2bGsFhI43vKJ4ZkICnr4298vj/urnNAI6zx/Ki5YgDCG361/mCkUtQJ+idDM4/INF8dmSVWw1ehM8xnjcLvxFybq6fAmrqtpJUXp4RqGN+19SdFAlVVZu6a5ZzoP1384bWI6rR5SThwiZpBfXIVPL6YVACCmCMybTA3zfXwoHgR+mJATD9M7k5/nrHEmdnr4LqgSwn+j4IMOQq3Cel+nVKF2zI5SnfbC83so/OyDx4EvHe41JoLUfPnUmBqEE9/MwGTekWQMmalMGf+HPGY6ZbDYrFW7D9d4XFkuzcYEMAW9WQvajFVb5oFBsb9w+ZhaxghP3/Xnzg46R5DVdvcpQTcDuJq7SzYm/mEuWIZcc5XRBovrWnsNXop0UWLy6TCx59D8nfQiyc2oaSUrOj/2rJKKphYrmebrx11bDVsXCqwzfqahRhW4nngxSGBdo+i+guYLuLPxQttrRgCKqkHy4FmTBBW9u1EMOMdxrKmnbUcR3wFRDeNcXfBEd+jPNQfTkJCg6R0gEdhKV3VtXa6A7CQ8nqkRtA1AvrzZZnMvppCwwxDuiXojMkx6WFf4afeMJlX3c38XCKODhy70fsfDjGTLoU0XroNShpHWb8RmDKS3wEhBM5CRHp1Dz3mypjTRfmrmAbf8q9dz/9tAFRaS9SQZrHR9jOXw61hDU6M54qJEyLPtM0gLYEPruDv8ao36+T8b7dBfnaG2rrARabXLpL7a0eqSvreqM7vjimpM1CLU1UYO23aIMGP0l/gLEkyrCGdVKYyHFgKY8NBiW9k91l0FbEmMp23x8kdl+DWOziTLepBwKLWPXjPHAftYvSMd6o1lNLYYuAKAuL0IslxsYQbj2Uu78197T2WKmTOY6FaakFEMUy57g7BwK5XsO7g17tfs5bu/d+UpftZ3f4G3eH2VSZOqheBc+bjzLH7lvHMCL2a7yvtxMhUNhMyNTnugxCzozhp4+HJO4d2pZgeCPNxFeMkV7cAKYWxbdVvkn1RA5f/62jjFk8eCqGl6hyIabY9wfWfQdXW4hvst8ngEpN8nWOs9ihpXeZRnJkP2pjgvQOXL7qbWAYS/wZHpxjGFNWBx6e4ysnxqn1R5RuHW2y/4iqb7QELzIPYBVtlYllZIGlUCLznl7o1dQdPgfNbdGRjHd9qdgSmWUYCeWuG4783a/4e4HPqrX99QWqgZEkWq7FTCE6bTGqB0XdJDyNs9Ipr+fG2rPgk5Nw/Tl2Cfe2dpX9vMi2btqpLWAZBrYIcgWM5kgyNu6Zo3uFRnUeoVk0Mp2zOOXyhdfKtNGFyGY16FAmY2Rl/8saLmyBDSzdpaNQxi0cT666TBcqbJ7JJlXhOUZtwHjBeDzfe2RxPTj3lREHosL//7t9tq+HBfQg4FtMs+C8n0FLPvUqj+d2HFYP3pnl4cftxBFSe9toeHS8m8oypEXM2h05ohHb5CZ4gVjCi4k3b/oZmrzK7L2n5nXRKK59enOhqElm6jHwrqAnhAXuO12AXHkzaz72qSAasuF7OhteXnpqLBS7k7zVJ7GpSSiyUaJSibbf/dK8SHGej38Gad9qofbfb8G0kBDry2PS7/pNuDZKJHfEnwdqnIRCiZL+cAnJsXds227ND58Be023sz1le6akCuze/mw6IJWnF7LNzTsa+mSHtM2UNvaqSWZ9zOMhoAkS0x7O4hSFXE+CLw+kBCcTISGIbVQyEN6yfXS9Vgu/FOIXotKftDOe3XK2JUkwICDchOR+IsbPFgixN4wlxEOekuoLI1TvOLBWPEBdgKbTTEM+lmA9N9VD/8OIwvJEytfGc1TPxpHizNsdmbAwqT36f8sVUHjNA354HPmnHFc9M7XgFYQXlnBW5LAV6rfvyleyYM3eMsbUxIs9sk860ihDcE13ViyfnLMmVk/3sxPKLT2Fy/nN18XjOQNaUmtAV8MN2s91a8UIwuAGieV7YUnXWHv9HChVgCEZ3HTXLS7wJXzTz1Xv6ED73o00C2844bPsiIWgBAjumnGJdxUaGoRId/nGW+9vm9W7pGfIUH5urDwzRjmM2wRm0z5csuRZ6I2eoPP+OENUTGwqvaR3t23i0OolVRs4eI06JWTeegDrUUe/ZXl4EAmLVlRCCblL2+r4As+QDAWOidmmnT/QORcLFPnE1gz+G+VKo3+lRMxkaJj3SuBYx1KbzApqgTzrtJz9YqOLlgOM1GoG2WPsrjhl4OO2orRyafLuVEPGqP3wlw4yAGlx+M3fgfxsqu03yDbgmCHzJGYGRavi1sjXEAMP4mBeSeVxXjWshSZ2NMu87hJoVTZASqBk5IB5A+No7nJQTkNgHSmQBcUvpX41gikuy3zU8/rdd9ZFlagBLuLH7h+vzCcOFc6Wod5UN06/j5nKhQ0RLQXLSaxnWE+1OeibU0qAM42fdFdjiW7iwLQQ7uiI61iIn9lgZ7IIoNXV5glGntCM13SvwUnxoa4wxBGxwXI/K6KGkfYm+3Cg6VcSaJbhJ47xqAfL8Oc+PEQd2hDSUsqsbVQgyrkReARLu1nofCTNJkkSZCqewazR2cw/IB5RLoOXHEwF0zhKWe4B4J4uOQke+zjJV+srOM+mwuCp9vb463lsjwLnG71wnr5FAT/PfozwluNeT+4t/zMGgMYM8l/JavWH76IfAAhlIENAC1+9WlW176iMDGsLFD7pgCbz5i4PK3x4mDYPlgoab3XwqrD44mNNNKe8eonOQMXZv1Qi0KGmEPJFSut9VicdQs0iroRcC6viRpuEwTm5sjqbjT0w3Z7iyT8ydSD+XpNdH31Ef1nP7z9+QY02pUvP581yjoMHYM3zWsyUOqVab1+RIKBHPtih8tjZiwChjligujiLQXPMUxyrm67KUvTjihhE/fnzX5qJ9FYUHO74p39pob5iWkE8hiqNhq/D59C4+nYu6pHJbpHgPaqvTIy79ao6F+Ihl5hDSk6YTtF3j6rLqhbWWOnNgJ289M+09j0jtG2CtCW+fu90neHA/4MfG6iMfZBqO0hX9wk0jwTRuiEdcKMCaePTCNP+Vv50Ss7f26NliTuLf3kFZi3coHrkxuFKAXuJkm/FdEDiOo/VQFpxHBAHnyjui9G83xfP4XmrdyZ6tVijKR9DOpan3ah/lovV1YyWYtIKZlg0Yx6k15p9/KOwDKYjsbeyXg0EfelbV5pI2dh2hvx0UXvV+3mYzcBaTUohNrqMxDMO0rhz/I93xooK+6sdFV8DknB2K8RgHiFiNN95wMRlUxgMlDtaj6aygkZU3bgW59CivegpdpIH30To7YzH0sitqH12gWjO6ScUxtbVbAK+kgflzR7gRVnfTTx+/nVzWQ+i6uKmVSRR7/dqskNj1rrx6d7rhoYJUHeUyUiMkAVwrVTwix244MHLSoBp+N3NqoJ2aIyDinaVBkgI7QKk4b+ciR5xQ0zZzNtRMvduPNeodkFFAguB0K07HDjv3uiAbLJ9Ho9JPjSzF0htb0WUEb+ivKLNxYgBJie6IO4CQHlBch3B/eTRieWjECHwVRrYAtWJZ6Zvr0/PQCkaehwET9jOkYZ+ArQzScygI+k4QQjZjdMwNtNcwY7g9zPOwnE3q88ny9/NPJDB3y3i/svQlYblKTdG/sVDO88Gg+GrAoujJf19pxaB3xkKBTwL33P12+VyBi4dV9mYXvtcKyyr7ucKfiOjHAeKnO8jWvmqlGu/WPPq65RObeG9gSX1x/Tse4l/+qPy//6GRVCLGlHpsBsfKjy/PlBeAQKaz1hhsmli+Y+NTTc6Ydepfxyf+Ur5bavrUBc5M2S2z6/BH1bADuPPfMDpQQG0F17FqeSCfQmfmJI1EKFSyy2+DcsDG7kAIFo+mtQccVl8BRPcZR7rY+xVkUNWa+b48kiNvvuz2UwfG71TMMpineyuF4IVTecx4I48yCtmBks5J3bRFeAoZVlL+EnGFC++CCxundeAMvQHz9gx4zDXXy22kZV5GjfnAi1kvgBGyrSc5FuwSncUFQRdQBXSHcrczTKHml23vXEoX40o5CKek2AKHNIvQG6IdHV3F38wAT9wHrMI6eFGkTMEq0Bel45HJvx7zRw9Q0Dcoczei+pJDHizdAbH/FgPSY595DA67H6FMT5Hw1KLBKffffuAgNqWoHvZ5FGD7hP6Ni+0yoNgEcbGZ3kAbNBpqPLB7UsVvLTUmqQPrBA+eVA4FrWCMboQMiNsH+ska70qQJ+Rrd0KYGVXTUr1vM8b42eOZ8Y7tcOFDyjoZ7Xi0aHuc/HL9y45qKyrd3OMV7xpDFdSBlMsHY4YI8RKdGE2yI/Z8BK0QS4LNbJWGpAFKGK82WFRUZY6VaF8Qm6xOIcE+OsHzf9f8owoK5sddsk91tNocrljQSvGc5bJ9KaWLpcOHhiLVygpRlY6+wH2XixAQV2jqCcSSsy9pezBd7Bq3IpQh1k4sDA+nsqMtmQmsSmmnre9p04YDPlz3a4QXnitvqqKsxMG32vkeeaAAZbKInhADvgBDAuSs780C/G5/Bd02J/yHV22lpZRdKjHQvCeBuYmYxaorpMawpY7jveVgHstuRzAzEHau32RtOakrQcgRwG8R/wjk7TUXNlutBlIdP9YHz6jUGJD5a04vZMrV8c3Khh6wuvt9tdSO5g7A3VWA0rT+w4Z0KKNRBDTvOHTjvsh31PHffdMKXL6icKAlmwet6Vodo/97huj9oVMwfSJxxdsUlRgXkWm7pDBxh0nUTApcyx/l/ZgpIynhFVAHIm49JKbPD465dKF7hrZ94206POC6rAM3hqjEUMmbfjH5n3pBVKNOUPguc3QeenJdEtJLiHNh9e5wft2VAgcFZk+hZUnqnpFVdwOilbbinkPdo2vg54Fr1ASXBePPks5+HCbtK1sxb6NCOlwpwERiLzPyHn2yvcOlADz9j4Wiysz+CtT+8JBMP+giT9hdbcDL/kOvxoH2Yu50k725ztZBmnOqo2bzOcU4Lib9I6IKRbbh7t+7t0Z9vlcIGRVxl8U5PkGThlA+utt0Jc7NoM3rRJPwEI5yNHEyY6FMEden9P992qE9wxvqPApnUXI0XmrOjfxhwL96iXa/7nNOsnDT/nIpuMcWrji+RiN4NXjmDu6uQ+XrvMaA83MbBpkmIMkTP3fbMNNqxEQJwaTlYhMh3iHfJFtJKXUgxM3lgme3SKMbsr8bLw0KFotLUvLvbOSoM21Agx/olREopEwEshjRs2rwkFsu6HMknJfGpcqWxr0NuXV5c6/JWtBOjvoGALxleFc9uVDA91HMm+WO0nkxFhvDELl6MNiXTa/1o3zuVxF8uFLBA7XYhUmV6IQderAQ9KFP+SqjbKYEsHZ4tU1MvOBM6JhmmVYjXFLJM377fwTKgfS3+2NCnmnTo2iZizacEBwZhdcuAaKpp6P3xn9AuHdlsbu7ljLAV2M8lqONwLj3pVteR6n9oODrmg1yVGm40Qim1X9nUSO7SclMzkoIbhgg++4p+15QR3qNVCLFXOUxs7+q3tzGq7+e6n1jOupeerONjGsfVMROD7Rrjk1miL6kDRd1DH8YY3ui5R1eD/y4JgKn/uyknNZovmCd2I01qLJi2af1QiN19l07C8NCnerFMX2Ltu8+UefyEgeQWUXTacLrJbYTp0CAO/2j709Lm+tV58iO7V1Z+TeLto+FxaTD/5gR/2qckbkt/2LzR5j64S+yfUgPcuGg65K5Qv03j/gxdjVqEKuK27ATBb0seiPVu/L+M+duLTLCp15VQi8wyQBSI6XCS+5MsqUkm8fmQkiWSo0ad+RbJRYwxG4006RvGaHen+M7Waoec2QjqNX8eb4bNpgVscS9bgZTKbXNlhVO1qdfXfpHGPGsxXtz6n8piunNz98FihoLSjPw0LCV77Rdk1lkqQpAlcJNgZ+x4RBjpS7sx2QVxc8hDUoYhgwPrmNCWKiaqp/dpw1+3W6aMAQeETU9EiHb41ycrqI50TLEPLJNIsZyyZ+LmZeT32A3/19ED4zv9Dy9L/R5r0dmaJj0dtSoheV0NPUrTNwUeK7rez29jHm/HZqWHlhJHUhI8nsyNeH9t/gIAdnzBVDZU2Ol/9htR4YnThpXiXoz2QasUAXZV7yjw6IB/j/G8AgnNs4TxRqvb16K+Y6OjnxadIRz7goJtxSI5G8GL0Sb1T/K/RJDpFECiZ3XHeLzbL6eV2FlOU0aXFdPwIj9MZBAEhBOj1MK8jQBBzJRaXjK409JTT/zhvOx2afuYNJ4u1uxJG2n8KMKKmhzwI+PozJoPuS5FZeLtT84jYtrndNh4mmH+GFr1nPF1u+ugiikElzmx9LbyNjSAvUyy+ra4mwg41tJtOl2Ns+8V/mDsQHW+0vHrUtohhsJH8rgS2ZzZk2hCIYUzAa8em3NqqtAuaqCLwwz/XWNPRAbLuwu9EsBDe0urjw+3OijFLL0KXvaaYhNkco3W5EkMJU/aAx2S7FP7pr69xpr4PBZYIjDVPeZojMBfyvqyAu+NJtZUBBUODwHP35ArpH6XdxvNxxppGLKHGd6IQiaUONAV86RnBfOYikbidYcoJIVdKUs2YiC7BoRMk4k52vgIzzWvUVTUhl1r2Tl+1MK4QtzRbWvQp+wI2WkEm6tuPmWiV6N2s3175ZIKf5RdRR2Vn2bsIwdPkJYFvl6TMbtblcVH6fvO27XHbz/X9SEqBoM3PGgowWl5cdaKMhKy+Dkfcn9AVPvZVxY9/DZaYuEZtdA9mhujTFFdZSJdNTqKMP0Im7iyG/P3ErCyF9yQOmGIVxhaO9HVS7403YN4ssPY9ZHLeThUBop94OQ6GunIzt+5r1fJciwKo6ZT9i5BxNGTThwZKft4nnAtDD/t2zU0f3PNXHK+f55dIKt9EwnBb0fYmvWE9TnxJ2+Iv5eH6jJnwC/enDeJA/nEyYJkK3DInuSdr/S2r2uuiQjw/SO4E7m0J4qWz0MVUnVpDDEcYAdrnnCo7b3eq90fxh0zmXl0SPHvNgAJ4ugpLjsGawK5qjRJavZfVYlTeM1wrUYCRI13XZbE0iGKLTKgOmSTKrJWvfA64s4DezzfVIRXxA34eGPs3drGE+7nQWVzU8hKH3HEs3aizfDFl8rrC14n38A3fnZpwZsnfCHfM5IKScXLu7g79LExrM7Y21BPkT/E7nwVhUXQqQyVoKwgzNHbN2hPiF7OQaNgsZzbNVdNv+RSMBWpXK20HYdmmFXOvu5kfSRAKU5V0u6t+x0qQosr4aI8qXACJAz72hwFjW3FoJOxsPNWFpa+W6BxGty6/a+bu6NNeJYNrTPOI33quulr3nPPCL1XlxG1mTJ+z6JhV8JnxnLfN3pDcjInc7OYPNWRmjvD4eXGrsxmGyi5nfKUUjVXhenepSOOPaDeA2b11qlXHXLwZrj1JMix+SNjQD/3xlfCV5/5SGg5g+JNb3DGQ/IKNtRNw9/441bocqpMIaRsgjSR1XyS3lAoiVfTvea5nbNYuXKn4Gis3tNcrLnv2ImnW1A0WQa7cgqZb1rRfO+2aSOCuYMulPbYQOFZTCxnnob7duTOkJ7fLGiCgosz+TXBWpY6rzsgYi58ltaHh75YAi3bYhE5OpmknEBgiGdA9BRWyP2MKub3hk67yBroNXlBmY2vRdgHrnKBcZiWtAw8c0ATMJqDAS22wpb0W17DK2mfqjlQTEzUpIuQK8vBU36pB8Ql7Fox9RT2i6L9WCJAelXrvgk6fr7U/vpg5FHhWAYNjSCnPTQ01sATw7DC0ElAE53NNfXtqTmwKwyoW3dAcKAVujVStswRPdxlpgQROW28kPookr2XxgXUyxYrNWBWsZZlhXtp4PBN44gVLSFciKiMrwCCqAxzGhHcT17rrT9gewQird3u7jMqHoiScl2lHdnHjDA63LZmrsDyZ1sAP7g8oHr4rl7eQL1J+1uhwxsTYZYQ05X44SOsJVycFvkNci1RsLWWuJi0mGdaNkAYIeb8EhOP+xi8RxH1f23S422aD1fabHrwzYrEzsCOW42fICDnYh7okjov2KMh1oi/8AkvTrv+7HUcizBGxejJBLBueavj6YEJb1VrSAKyC+AA4/ZNKVZBfb2rEi2Q/M+TJqWqgX7zkL1MnxoLiBHEk+84/0JBm5w3fKbDw4M3EO8WhxymlWIkOgCDFT6NCsg6rSLy4SiT4ncm77LMjUKpT+TqO2GSaz0wyqM24YX3Cs6orI4kwybMt5iL12f4Dr0XmbpEKJpCDw4WkwKlH9IuxHusl65uVw7wdervn0Lz4QwbYguhQqGN0dK2JrdM12kgSOTwacmCS3fGU4xESAhqMGBty/WTLgStih3v1PxsI8mjovIo6eZQ2h3zyhZqxpdX59iMkNNM1AMi9+LraUmr9DYbXRM6SEgQQeZTeZE7yrnUMZREQ19O3gsCHSTUQ5HzERpyYsbrugswDmD6yDZx3BwDBZs72BgbxtUkUtyp3J5PLnignRJf3t2DG4Y0ZsF0qlvj3+BxNIJzra4BR/A9ShidyYgzZ2FQt99QaHehhQVMnzGO1US/0Ep8etT/VhMGUAHVplcFS/G2oDy8wufO9YKoJKW5zOOOTR/PbLc3gLNUUKggshWITq8Prjtku3A+GdW9mLHvb6/cUARyG/6zL3qcCHpUftkbWQM8MvUet3QIozYXikRHABaV1cCnKp/ExkPpwD0KegadrKf6ic0Fgt8C3SRGxBq9ibVlxtAsmFxK9WfmNckiC+B+egawk1C/ys15hjOv7W+6MUdr8WKROJXNUGr8zqPsaDkdVxnSt5obLlFvZpuxffbhw/MYLWJ4T52iSkCsKFFPIwyIHjPUWT88iqsieNrWauLPvDHy+nv34oPL15Bx5gz8s5ukAc+WQKZx1tR2EgqYxJ9EBDXinlq2/jzOyoX/Hkc1gQxUTj4/hufELGxqlz5bvFclRkWEUuUEMHodyfkNF6yklqtUDbv+2T5U1DMiqQe4UF4MEdiYX10Pi2iasbEb16WcrwddcMoOSI01/6FRtctasmhwgDuCWKU3H54g18A7RSZ7M1+OyB28XtESLetsIVerQkKEVrBQXWkSR9Xgb6jCp8ixnCouK8Z6VMdap3Ho/6kv5Kmb+B1Z2RAGoHWH5ajJesp8UaZNYzraxLxSewt5EZ6BeXrAfEqMuG65w5tqACuksLpiM0BW7TK1PnDmxUpk4DvmmUNuL+4WvlXrFvr/iMl69Qy2UXB68UTT4tRw5eUoqm7NezuUMwXhPE2OviKvbxgadJM4m+3JZ8aNXa7iHBYdUmpYoFr7NFc7/eQfht9L8KGP3EZvCo6C/4KzsuUG2NX51lvhC3jLZSkF8NY8HCT3n6EdV9PhD4zVQodn7W8f3DyfE1LLBPaFfSlzir776gEMcib3X4zotMsn9jTu26cvHnDEtlpzvdK5Syz0HTL3iIkPVWEHVR6Daa9OvHwZ2KQFCqRBzbUaYcYNXCK6CRPyu3r935RKCIhk6jPqDXCz/IXFu6bOlM2xA/pZD4RAeTEDnJwVBRPc1YD7PZ/13CewUFTZeGLo4FVycnaR9oeOl5RKKTq4OIxi4K5P1scF8TRJiZxz0/Mhq+07UOc7nfe6fUUecJ5OBp85lquzZXLKnRFOgqEcnCcLoKkZZE2wLwMRIRHFSAXvqx24Dg/Sd2OUnEPQOThkkV2fbbRpSp/NX8A4c02bKu/TOJ/xoqqcR0SBTffIG0sXGpras1y2F9YifIB9BaLL4Pq3wxFmTZL4xjffuVmb2MhBXlltJez20u/aJYsWTzIxd3EE+T28qUlJ/lee7GH3KnUZA1VBWzhogNrdZ+QENTjfmEZi+rC4rdzBVC72VqMF9cgv8mCuQbxBsJrZC+uK3ofAtHKiZlfhd5NClFEFSfphC9mjEOsQCxro0sp5U5rKZUDUsu/IC6yzQgFLc3GHsaCmzIRyaJk86T0T8lRhpyvlUfCVU0POA5AqUld9aOqDJ3RBUwZ5nOTOzlWaYLCgM6HzYIE6RTyKFKCPBGqlTPHDTpbC8OZik2UjnGBgqDAIgpj/w2kHrFBEjeEiXhbu0EC7JFMHgOOzF8ER0WtNZ3aVYB27Vj52BI/tH4EyOGVXKL1QqzbxLinPcNJLZhYp3hWnZeQK783zlfD2IwVWVoJT0D6gCnzjlT0//p4UmcnXBFcmj9eb5p3VPI5NNTOf/dYH7M6z3xXYyTYEtfNWb3MK0udEYXFDzMnPRq7T/tsKylMJ/zIGgPNLEsllSqvD36N8A/on4qOPoG3ug3zlzW2RfDNp8Xp6Ijvznxmg8w1m7kanRLUjkwGcjcpr9gFZueRxhBsnZ9a9gAqZZ7jpaCLktqYMq0xrQDAA5zyymADge7vqea9RS9mx7VKaOTDhgNrgJ8yN6GIjSwDI4QU/qhwl2LTZ0Qer7+0LfitXaxatdmnI1Z23BbMU4JjJO7J7jE0HvPM1CRW97OlRe5lqlS+Ns/H4iFCNNPk8ttcEqDCi01iTpHw8Lz3F4kqjalflup2rX1RhEQqa7EtVprIPa7N1CSdHn9107wX+nPEo59se9B12pgQfgg1QCHZK9nEgtqdmzMrBgTAu5igFgf9/l4d3xiq1ci1e+N/T1T5YKL48gL22R3iArSBm49QitVgzDuqrZoBj68oQG1/tFAGdnMvdgbVMeaJnPNMkgrMiZX5JEsGSiQfpaOvyyNR5uSdbRiTuWIHOVLUeDn442nsdHW+4VsdqKnyaC6Fmo+aSyanBrMGugkS56YWoaPP4e/C6Mta8b2rTiOi8REs+7laGlDATWemrJGPeQBdvVPFGqDuy/i9d91/u3Uh6OPsPhgGoW207gFRALw264Nuq7PzF9FpHm1rhcW4x6WY2p1rakRKONy5FAal2G5xLHll306KSZTgfsc4qaTDJGNge9TpTpUI0mV6B9hS2uhK2SKMFeRaC99oj07FiO/LuVxXE8wKuzDDa8qfQkzxMkb55JYuikF0iFrf/c5KXVNpYfdCAwY6B6oHrlk4Vy/9BoY4AOWoHo0cGSASEQSN22iJyIRcRcluVhTWpnki5p6SJ+E8baTTTkHlifFlzmdb5n2k/fQMfvCRzSvGKDBLwfSfRYKHT1yeMsD40C3onWwjvIsGaBgYJHdDPJfRBKQSEoIrlAJjHhJ/3ecLb/odlBhH4K5EappDAYGLm/z3DC9cOWzl5jGC6z+kJPuSDaheCblq7i5bDVDZ7sgwQ9vOB+AB+GoDwSbIAbZMQwtDDvjf/VGB8ALOKckYghQg558mASe77X5oweB/haNaCA0d1Q0BSgMdFwLoWL7LhHvZJapHQcDhmzmfA4cYiQ4BuoAuDuPP8oUjJKUz+CUTzHIV+Z7/WSm9D+6dcNvj0pMddOFkIsPf6cTSEvnAUxrwI6GocU0ccTxajqAC5LP5PZ7vFmmxkmN4bvniwkdEjy34/9VrOnS9+GsKvtZHQZHwBgslUU79Q30Ewa1mk5bXxBvKaNdOsP1sCiZDEQPNe5KjPLQjiswtp035h59XxSCYN48WEV9DM21gGXuIzaCtg4/nD8nIiGVs+gZdd2P3W4ZyRL+8/MtSNVDKOLvMDWU2453vJUEZx27N6JGcg08Uz2RBuyErngOB5+bT08DLkcQ55IArVeTtd+1ZMSm4FyFPaFTdpFi8kd7OxLxBw2/sS+9vaoNeytafwtzume3M4xTb9J0Yu2e5KK3k9Z9LnhUKC5/xTL4jchgyqeOaOBjTBm9sTKmsIqTCypuC5dKm6C6p7+Adnt9/hv1gb9wba/chncaQdEESXUCsUZeMlpREAhxWL4GhAPnXUToVnxc0ju9xcn8rq+kdQJctsSXUb8+2WHT1kAg8fEZVHr3+muSQ7ndqH8yXbwWeMwy25Kmg3nBqDTIRKMcpeq12krn8DyACXT5qDu4aLkjXRp/iUe/MXrllVqZqW/ex2/1g21UDL6LXtrYavZo+KxawY3ENRwiEJHIBz22fV7FTcqortswJB2eJEMsgieWovkB3lkQ5rPjLZFVrAYcYyIuEh8x+SC/MUx3w39WsBg0nbrTTsqDBWhAXuE1DLgff61OoIpF3Ui1Aa5ZJsmWpmy6t4PPrvfbBnoC3Lhb+jr8Gl7RM3PAOuszEQvJGueqvBcsAC57gNN0kAgpeYlkfuR1LNctXs77HSTpvgZLkq02jWfWXRJvb39XWFLgHCre1L2C8+VCkoKgi3pXzh1Qg+EEOZuBEg3WzKettafUUQRY+DD/FH2cnScJrH0U0fTMvh0tBiMWQDstB4gArsl0/qd79p3rY8vCG1b550DPkuSLJPpGBk+I25QSwlCHXySITMDnUR3k8QFpnaMWG2dlfyNymx0X2B4o3nIj+1kKME59FJ8zbZ2L9GQQeWYUh7jwWbRDAvZnX6TOuAKy9WBtClZPHFBDyLOMn0s3Qjs7BmSqbaFRjLyt50rKSIxeGG2flFAjMyT+MFfMvLLs5ZOexV5kp0Dlkf57Jbxf56r6hVQjTuzUtVkpYfvAaJXFn6QNAfZQV0D/9T8UdT/ljSQtzjSDsSFu7AUroLTpIskcze+jeuqpzMH6yQc/0qCVH4REA0MtBd62K/2TzuIZBrVB/ClBBnQhNzFpfmW4g95C99orTAzNSThKhNV7SLZ5/mRwG5Kqn5kOhpb8Mmz4kZP0Wy+9rlMPIjxH3aIfBWQ8IiCIC+M9eQm0zThKMfo4PaeO07q/z4zWr87ShVBvLx2RbDsMP+XkNcHb4aVoYWgbnfQYL1vQMhKY0ESAy0h8TNcp8ZOy9A5aUlj6fBhRdW3+DVh4FKQltgaeazrWIX93UnrdGtiHHaKfmX3Wx7n7/fv9W7dDxqPHJMj8h5+gZX5/Vy7yuiJqowpkW9QpVPYnwwUpjly9l95wdA4FhzMUMs4b8D86ywkuHaoVaUB60mGgNIl094XekUUzFdps6eZ/spEsq8aX9lAV6BpDCyt8x0VWynw5WQbGV1wGdAJ/hhwZZhM+V4siDRlPbQdLjVipZO9WeLqFPbNWKlKhBm0x91LJNyerfaLyBVw2MP1F531o+oe+wNv9BuIvv3U8m4F5Lb4Kj9erdvKJIEdnZXJyZtNI6qB4I1Z0M7LUG+UY4/MmvtgHekQuLY7iSDi1eeDtnjgYDsulCon+RxLeTfYB0wAo7wyhPywuOP7kYUr+ETZs6oqhAB8AX884RNj4ia2vxErrTcl2Y4Wh89tm74LFhJQD6e0FZM5LGtSpUcaBfpIwu6Cr0clGIlXpZZQl4LQT2O5roXLuPaF0C3wt4UkIbRWvrfwZVGL326UEFJR3nSXrmBlZ5edC06DFXYYIH/qqi6ZeV+xmgPLS45vyiS1lpHrVtbRAMMLEXrP88XfeQUqxBwwIhu9rEDEaB9MIqJTTaHAyq/sDvvQxK1csymaLQjYfNIYD/K+VV85EOaAmEEIgtLxUojIkUb3KhNso+oCxBR6jGAQEswTmf32KZIhQVkaWdgapqt/IO8UoSLP58MJe+S5V/cw1Dbayz5nXlTV+41cZnByFXhJ8E5dZRF96/SBXKedyF+M6K2tcCZ9O6lRGN29iHX0siIBsVqgfUKiRNy+a/MOU4CCI6Fw0d9hi7l7R46ZH1BC8EBEEIaA/qxklz9a6ZLqYj/GCqGaRu4SUiPIuhzW/zzuaSPpvQ9kQcY0quKyX86ltmHmZeDIUYPuUMMJ1xuAZSLgWCOP+N9+UbaRxMHohRvarFhafQ/KZV2Ct5LM/JuRXK1EDd5oTxrvdYlkqqFgBlMI6C9r/ule7xmFzV2DhW3n16zxxycOHQ6P0hNftpXdFnb6ZSiGl2O9YKVo/XfZ8vk43GBQtUMWJhhUaBjmrZcbvvCA+lnZQD6/gIPqYnOHVDlgZjSdStMUa96K5iGDrFhAfr94AW32DasddjIz/w6N1SKajWlm7yx9rBas5pL/c8riS/NtyYEaeMF5o26ea+44qW1ZCU4M3Q8zj3KahgB+1Z1QDAa5hp0I2vkwO0P4l84FOTmbJST5uoErUHS9SYaS9CgyHkUOF/zpZzdiJQ6qgKTwwy9Et7E9fVsc5IuVC+RKPwaNVkTjT3zQ7td3HpSwfaJrYldyoTYxExxYze1mwz/WlIdkNsDIzhOzz5SmsACcaPKp5fXY03k5wwhVvMBGjzJOogoge4JeCO6twFS3a+EGBc54TWjUnwTwa2c+EpoMObS5pE7stDRIyrlfGdxFXr8QXa7/ToDhw/JXNTvFz0iEFIeLLV4kj0oZNt8dN1y2hSoQGzN7yKjrQO13EmNKkIHdc7sD0IwzPhoPj43s76jis9wf1X1DxY3L74LJaNt8P8gaTJYVgYWoa6rNPNG7Hp8tR0g/LlMwz/2HnxeLlrFXi8FiahKROjWcVsfCk35Pe+gWxw1AfUdGWYf0eseKbzlCkk9ngLipgFavzdrNyChyCOWvjCGc9U7oNQ2I/hzd9y8Gp3Da4gQQ8gxajY/90f+e23dFkxUOqdinDSF596fUDr9KgMOk8psuSU1T0LkpIvNzbMY7uE+vqnOSp0nj4RE6CLBQ8Luv0Cb2YHQ3h9iig088Vr8aTRi9DYwBLF44RqTF5+/HJTDOvfuxlXYJSCR7s0+QhtcFWmwrFO4+JFXZxpdEzPLXHHxMkvwVJPMnbQmDzETw+fRwuiWdertMw4n49bnoACHJr+JrUEcG9C+UtX0NPLVsISdt7U3fAJAiGSNtnoQ7872RwDQN679hrs0Lw3EzzV3Ji6ygy9mI7KxXz+7tcqbm2jbieTED/DPp8UqXiU233z7Zh9wIFFxI42kDMEj8bB9vt5sBo9HhVVkRdB0+0NZeleNfCITkTE1Tqohj/JQ7Nnudg3/8ENPrbVh5dmRW+yEifBb+hs6wTA3Y2ZoIFD4K4BlriA5VUWZxSdaHR7rLwDRqhM3HUkibImH9ZMiq+pZrUOAEspfesxfru4ZiWU8oniHQVS1vWzraxwJSA6Fj115E4XUHYd0D9Tp1Z+MsrbTuzMqC/mWJIiaVb+D2DupGQUzZtKPIJKsv7jsEWS2EAeIzPauq15Yv9UZy1JZ13zRebJptofVDnWShFs4IQ6byiq5VpUwKNfBxNA5yHa5eLcOerRcWNkhcWLJc+tDisqQt1WeS7JKzsn9O7GprWNldPsKl+0SuH6shVTs+ludmisOMKT2Lkx9SHvdXCFeLsMqnuhiZcs5T62WKoKOvI67iGIr7rajS4oPkQH0Iq6YX2JXo4ysFZr4adwhekIH/Vd6Cw3kmZ3m7GtH+sZtKtxypDq6+4o7cD+34+beQxSSdQ5oxv/xV/cs7qxWDwSwHidIRCh4r/3fKfeas6tbyC1Ls1OQmGoevsiMIFtov4w+CBQpci8KeaOVRsxxdysznchQzM9nL1iFueFmlBVtZvVxB3jW2aP6yyooK9kobFmJpG4cQBH3Gm7Zt9Lz4Z6A/CjsX7XrEk4B6XJBCdRN5YeGLQHb+QWTTe6q5n8xZ4wm/lySwiZzhhWJb7kC5cdk8UiyDgf4saOLcbz7ClUuAMs+1IYoXzQS3ci5KbBJsrvDm1Ky/O1SDZYbEDkcBIGlxFkEnEA9eUKEJf7qEXvq7RvHA0r+ocL72CKpgmb+Wwh+dKfO/wGTdqhj14PuIWw++or4rsYCFApd0bqAqq0ukJMuW2lYkIbf9EUniAhwwh0VjjzX0CtCdtNiDHQo5jN9dotk5AFM0m1KR83Clj8jR10kgWB6a2CxvzvYyHJtQ5l9BiNdUiO8almx1mwV30io3GT8SXZ/JydMM+6UH/0cSAxwIgObRqadVGa/X/rOMi2f1h2vCb0jMSmCYYQfekwmvg3cV20XceiNMWkZHXEgLVm/eAuTVwsKc8HH0iU5+xXCJV1CBtq1YsAStPWzBLCKZjmPWTMza1QoBCfZY3ML7SpjT6yxHC7KCyN229pnMYS+I9oZrlekKvDbcvP8yXeM0OboYCAk9ZyzqYRDnVdjfluXMMTgmHiZmYCF5QyG5x4+iQpw5eavhS0iGMviPgCkTpL1js7aP7ibfzNIyoQ796Etemdf40pToTx0oNREkO6IwBjsJIUpZ/abstyzrGT8YFvCRCu/3JvzMVM0hP5rCi4uH8D1UXGN4C6cei++XEnaSwFSxnQzR52bqmUudsJTAEav6/UX7yOD+dcaZsq+YEM1KB8JvQmKzeamHbdviks3XKHQXLDh4dsgCEUwlHnBRi7MxN7/P7ahDcXGtUNSvKpUlz37FRhM+HqPCYvS3KdENlto3g+Raqt4tn0W3cTsqrY/hFq5qvRVnEGpDVuJJtf6OVZBK3aHl/hGffQj27qrzpRG+VjK8JchnSnk6LESGSD6+6vo9PWg0zCVgZRglm60MDtU3tD7m7ItGS1OGjQu9qeyiwIkb7IXv/ga5JS+d1/pXHmpEGvReVdRPTTmqsdjnsNnPXWVN5y+yiJX5JF2E6MR72De2Ax5uMmAOM3mXoMTHqTY0kDJUYsugFle6u5gEKw5Pzg6meUS9CmxqIBjQ7Xx1r8YJNr6v1iC5uAIbYJRGfLbFarfs6E/p1I8fYBB30OdNZzmMCHrjjjFZJ22WRKXLdHTmxLeCqhNFGorMjF2XY8vZPxjlQVY96qIvy1s1wUXo2ex7qpzZLWCkr4TlmuY0Eko+7NIFfiq0NFJ1tFECskIR9RlQOZJY6NUAT3kyapRoQbWFtfJQX2ea/SOBsliZVoBH1AYXA/bPurgLuGqJOYSHFI3PH0DpNc30QpYFPlUMzAWjgMFwJGUAErDbeu+kbk2kkE12pxwYm4sFmS3vO6mMellfSHV0oNN0AsOWsKEslqtViGFmJzyaOngV38XiANLrQy0MAK6CRBlgMluaZRSZInJqUvw22Go2xyXnY38jO1p5zmyjsVfeUjWztjyFGfuWUfQYjU6cROUGFmK/tbuoRLRHpHq/0O2ucswaZCcoeidcYVBQBQTCycRlOaRYTbOT352o4onRD7rkWYg9kSz4oQeHVAOKvA2CU6ef7PJuo8gTfs3+vQ3la6shj0NvU/T52ljojt/lkWqztJtYLFbpHajxn+2z1iIsN6+f/F4m8HxrIfGr436SZIkT90XKz6C/2EcyCNEB1ELBM2u6Xi8a0z9Cl5JzZ1he2GNQmbvpDFC40MvznmHlKwvWfS5/Nue0fN5G/hXtFKln73AsZc6S8hpQFSyF3VTLdAW3OS429e3ErqdlPuJmSvgh+1TU57nmEg8Ezz6k0SB8lPBm75dbib0vIv74WHbNBXT90466fkiMyxuW6xTA/ACcLlsJk6TMxY7Xz8aIeEbfX2czQH5+VOubhzc/RJQQIYy79Sm+QVOuEuFjHT9PCYDPN3xxboLG/V3vqiQBjbNnQFgDPK69TwBU+CW3CHmZaorTLLKfyhlVGNq0QQ9qi8TA9x4qfLprO3fAMZUw8ARirUYSL/1f3Z1dKOGHYHxg8meqVmBOpQYshnJleUjD+oBQPqNTEeWmycAKdoQ2ah1xlluTY7isvbOfPH3nR2jElhD1Ru3B5HA7xHyuRTyZZ5KyqxShiV8B8zn1q9ciOVGbcDY6u/RJvYlo6AD5rWaaJ7oUnPOjA19aGDuagnrnlsVl0gXH+m9m3oV2m9cCaDAs0ybo8GSaPRsazse0xn2b/k1zsdkLgQdKEBR1DK9f7Q7iQdBAf33m1jxQW8JWzCU8qwcq4otfvtcDR9d2l5HMQAvfunmkBxmjguz9HFPVwzI9RWu0skMhAPu2kuxz22fXj0EZ0lOQZmsp6hBM4nVnYDlPi6LaFeHhozE8c2F+S+fzLaJEuO187VZp6Lv/+K6vYyf1evavW6KuCeVeTDURYsEDStbVZtgUzke87LV7KVeYpgdNNWDOLBR4PozNzSYOd1gjijkJ1LIA5tAUgqH79RU0kaLjMGnMVT1hP27vVTtyTkXJKDdm12RPJHLcUiKFRY2aRv10mONjbQZhq8dMR7YaVjXZt6PrAUbm5sLPlZSxcGxQPITuAagCMkdTHkpPSUzDdka7sb2lRDx1X1aqUVUb9+CckulU/Jlq8AYYFjRIgvgNzGut+Ed1phSKB7cJhYzSXZeczzIwM66NsgThiTsD830s5ftEOectpmm7xFqMR6NIOpdZPNcC5D1orIx4ZvwTUP8URlT035ena+tNlz0/8G8xJJ8iYEbs1XDNrmMjNmhiTjkXHmIkcxplLS+NvGLUn2ZE1vzvjrIcltPdWhNvChWUlbWW9sF/CU+m17jU0rI8tyVN347xDwuuNbTrCy6o9rVpq0JFS2NXwG/KtoYu/sgNTaMVRPKIMr86aKJonJRKj5QVF2K64Nm3OC7Ug7qAQHQnnpkklhdcW36kXiGGEqdt8pTha0Pz9aGkwd3UNKsZC+ZiEq8qbGwktYLAb9JB5kuU+JwsesKPkjHKdI8EBGR2Kh0DJeMpI7TOXEJJo/6kEQYbbAL40L9WPRIQo2k9xA5RenYWPdT03t3hlcyvOXN/WcagreAP3IVszuvE11az9HFLBCfA2+zr6Ka3+ZJ8XJwtNjMgjc/Lyclh4PR6X4ubGDNFq/sNlVhBb4/UeJoik3t+LpKMxyJ5LbcDG821gr4xaYWeCQ8xlJ5nWl5JseY1DV18b5KRZRia+xA0Ovn31t81cP1xRe90qFwTjJWkrAyCKISppT/MWp1kvpOLJMEW2pr4Q/ba14q5uxhHcr+iYibILn9McGuA7P/5b3grK2PZSSuvSBUnICJ70evpHeXbDRsrL875cJgOm0eZg601qUXpSW5zC1kuqI7BBGBaxHF4QR5Mk9HKNwwwiHxINZSO92CItJXvuyFW8vU4JBfYIVt5Zt8JCd061/fCIXtMg3mxfeAWqvbJ0eylGq3nEiOZbgpj5zvjw4erQLbtmGspxy5trgqIyhmCRY64ahZnqwxLdL+UkC4H/jJsYqC7xG2i3K24XMqXP1lX6tIjYENTJfNRKBxUlagnKNdMPuHrr668gljlT6xC6v7QD3UyvaDq3gVa1KjXogO6DV2+InzsyVIJ6j7IZmFZhGzuoHHmUkD99qSHREfmKtCcpMKQMLJ4JXGGOrOPutm0mdsMiWGFw0wN5c2TYbtYkf8/WdJsM4QSJ427kzdioijoy7Gb3ivqCQ9YNgXGvrTCqGIThyBqljHvRjal4NITdLFud5C1Va7vrIL0i9p3BGjBX4WQJyeyY1clWrEFl5KK3ytuRMV6ibU7wDUiCV8p2xZWDwHmKrdU2jhh2I0jfW8TFZ+x/z6VnK9jdoZBWUO/2kBUNcA/KUl/TM7glsdWWFYRoQhcRJFbL1VvwaizJhiK1D3rckAQ2TTuR99Qkp5ydEG5zLursEtNu9MGLHxIIyteknsP5xkdldG3gyuC+HmyskVGPvSONCpJ30kzwDjdv/LgXEsj1HLZqtBw70JHd2eNaJF+fsd94NCCDnsTZyk53qIRAEHV9LFJ40f/+KAOCdkfm7lpNKUmpJIfMpeG4Ywp5fh2L/NV92ckLXxnIc1DTc+UciIwMi2r/Bv7Ls+ZYME+m+kMBlgdOV69D1E0PAnwYPjgi5BF6BVEIUUf+iI8FgHX/ki3Cz9Ca0VwTkcY+nP/qid6QNAoVSaN+c7xQk12cyivbzHEjUo5F8WBeawAe5z674DV8niyRVXwkHJZ3v4kRpCqzZsJOonw0npsV870r9F17+IOQm0fl//B9k2JbR5y8X8wmKYw0FxJqTqjQnFnSSjK1RSd190z+rVhNwjoxP0hSCSF3H6awk3zBkXtOb7FHd3CABRtnXYi/K9oBE8/fgjpe8gGUeavHLezqEjFOxrBR/OYs4+6KN2IFxhsLnf2fHVxiEzwoQXlA6uKL4mwQlxVwjtZx3ICtn03AD5iSxrMa6zsRHF1n3C8POSidPuMb3PVgSHKZazrBTwr2JQz2R3i31fxiymzgx+LJAHXhsxTeLLf+ICu36aK00DhB/+GzG/j5pPCT8QYptCcLP2wLRbo2g5zlf9JPnqFhVUKlutVgumGzBD7P7HUF/tBJ0c6XaDHA7poHWaDfIIUiEusOdiwxpi4LCzHe7FdTIM1mVCyGMie7oXtleS1aTbCmQbeqgBtDkd64n3rZLwvFASBUJZK3hJZyrNNl78owDX4oL2829TblyMaLZp16NwIATe9EFg3NaOLh2zGneaN2UYqhMMYxtcYiTV+HupKNiwklMUzxDS97HL6Ok0SboQTwcJHuPJpJPUTiP+FYAFwgayF92TnAchRWNxmvoIE79Lc4Gg+eb0IRb4plNN1RpFQ8TYRRlVjeREdcd2PK2+p4GtI1iohFoUJkZTe8a3wLY2DUFOe4r0RCLJUeZZmP+9ardLGhyE+nTbfPmuUJbQ64riUxyVduBoaik1tpi7fnaN129CKC/HGlU4p2DWaHpHWSqrCjfbkDtIpB45l3nv7Etxw+/t90grgA1UmT93KLB0wUAfQOE5zs5jxDzoi1K8NPhnPc5jvZZ88uonygTc4K4HfJiVABtFn45b5myp5sTga0X8NUAJh8CCe/Djl7BI9Zf+7K1N1DX+on1zdpv4EjSJadLO/CuqNgpBofC4uxPq5sZ2T1Kaez25YZUle/47DQRjLjlJPGLIsnXk7lE/p/F8MVGCY5/XR4adaQtfVK2CV1m6AbIBuFmFc2y4eoO8LDIcnBOPM6awmLIdBQj0opOPrqVoSOXsuyLv6xJSgPrsVRY30YKWrYCc/1N9R7JylVDhsMWyZnRsKAPSpPad4D515rAFyXRdcOdGZJO7d7/NpXZJSyAqwde5DQvdQGXS9H42wZqJzPNEoQNnlHwA51hrXFIKYqaJ6qkup6wZsddn0izRJGM6TwpS7B7ssLnn2i+rJ7SnQtp5XvUlK2Zm9fU84K8g0X6QFF/YiS2b/mn7tKShdsyT7rgdWk9CZvQkLQtZTBcI1VuqD+foJbOJZuBumU4zcswz0GRQR6UvJ2PC+JJZgG5ci7QO0XgIPnm3bB5Q+REgxkuIbuW/UpaZ885emYou6VcZ1rEkxL+VmrKoCHqBUZ7FMR0NGo2ijb+PWNy0zrowt7eJXIDxMNCiKlDm9DqpyWZpl5vAbwvwUSmwIgtz/ogOKYo4N0uSIv9ClOTg9W8QnF8w/AVd8aTnAp+p04vImc57qc3X9ncrecyZkEWCcXw/Ry+tv9s/IRlIWY8TsYfVnqFkSdNJrPMgWnfv5b4+ycOQUncLer+iZAO9L7pp/+kPNsF1COtPbd8SM5ltq8VwmQw9FkdwP/2obJVOcfHDkwFLYk1c5NbhEjgWNGw8tyqs9taCxhQrN9kfqsmSJEMLRtnBT47nUMl7r2PS6i+V3w/lvz+uajdJDniPJTIFhVOQ3WIAS7NCmxOdKibX0cW5ehu7+GGDnmTB/eGcj96dUFzAvl+Z922cT/cwceQGpkGSZTn68nYV2z/2lQ1NY7VC/uXbwvuxCVx2AAO6Mpi1tYVncUGeFwWzZ5daWkwBpNnVMItb/z0AnLk3vNFsC61n2cHV4k9bquVpglE/BoccpbSOQwEYjyWAtjmNme1VH95dNvEhEtSJDLprTfspGmM07g+jmrQiPQRDsOuMrXN6tK6guEYcLh/LDtercEIHHCRk5gRRxiZUpqL0SOT8BiPqP+G473FJoH5QV8aJcJJsvRZMYAWuuF1w2jAcw5NhlUmMJVLOYxLL7g70U5M8jYki/RxSMSfbrZee0d6KJRYis3f4WPZT+OARUnd7Y2H7zC4B/vBwRg0cQaXEOjAdDsdoWnN4pd8+VfVsjWmTExAlcicLJ2mljyxjnAlriTIsK9njh98LE+guYzD1gQKBIUh03cWfzPOmBGXfORthJ5qUnEghk+TGReOj4E8FSbPYvtEkohZyHs+feUQV1oflFiFbtg89azNjnkBz1bSXynmrSyUFbH6S9zpSVD4n4CpsSLIgHAxACcYH3iP0rGK6K+jHVaZSNk/zuoyiTv7b4CU+HjqhWvH+wOuXhJRF1jYZMsjg9ypc4QAepzkiaDl4W6gHwxF1nah4graWrKJsZbZSFc0MpeEntiQ5coK5gAGY6Bvrz908F4FrsziBqJ++aW4fX7urlf79oOasa/IMtpvGLxPimyimM5S4rSERYZGf+PTw/kDqnJfiRfDHjs0OJdKUE6w1qj2+i8xSxT2X+vkzDpZbZEzuZBbAsgoiHQbfxDmZMqJ88qDqP3y83eN2ygTWF5g+raNvMPk7ypNCfkgqReNkFxV9GL3CPFr+uP1RxjvyL1PX3myoKOlftow8PZvfKzucreQtgv6btm33IvEmrMopjNpVSdGRinx9/quAYYB0+RtgaTfxjonzX7YTVp0SqzuWNSlFWbRl8sILHGv7RXQB++mExngPZnSUv4WkYYlJ1fuz/RFiiKl+tEShQOE5i+5St1gpxs2hXJsAvl9g6c//W7t+PGKr6kvcS8ZuCPLkhTHKbEhoTzdgup5uBonNIZdTc+Cwyb6ovXBmLNODpaF0NCbtXDywzPnM0FmaZATP+bHL+GXacXRH9nPpN6gTS13FqYRI02+9cfUldgW3eZM+rWvM8ZBRqHHDgtOYx3v5/C+78uMTl0chsXGCVSrYex3bbpVehh+XkhpUgjidFpQ1dLNg0RoQR9OyAUYpclKe1jj2qGpKUnJWkowi3M7KQuSgN+I7xVxsAmWP0pKITLWCuk7Cu8i+7DYUMdexKOYCBS95TMqt/YWzT0oVaPdcEhKzqUYj2+yCFemMXPgruXE285BIa0dR7EjW8IviywAoVyJKK9hA2v2NJTE4W9C8g1CcRpyn4qW4IfIA41d85aVhZvFpfvnFm0E6rsa6KzFbCYUhnD694M0rgLe0NE1U6amAiihPp9cTDdPZsoDB/uqApol6TqMKvyK5iJJzES0atHGBXUgQejupiS5v7t/1NvwwV1BYOLeDAMoBU3b1awViD7jvlS86nO6B2yLtpsOOCgMVmTxkSPaociVxzycbRVoMoiCUAQhVUTlx21F7+DuOjzuurrW0/enUNaYwRc5BHcnToX0LDvEseytaw1w0XzJGz7+v4S0mE4h6ajI4tpUmhGciQkOCtjE8KAUGglNwZo2ut1dWcTwdMzKPG56a2MqetH1bVJ/9p3DDxfQJ+uyohOQOEW0lXQ902+XEI4d2Nr6JwSO2qfhefG/KfvWxhy9dULhs4fbgGl6luTncY+q2Qildz+McVJxqGGIrQTbn6nJk3REsXjEUMoRz0yDdBEHxfYwAj7+9QicU+oTyQlw8SlBlAn4YbL7uUzaq/Ur3VUD8+eGHzCCViOzn7aHN5i9pDMJly1ESfbx40wsQjKd2RcuV8qB3OiBXFgeEuMOs9C9z1Zq44IpN5krxMrHSEtYYCh6WjjkLZ+6/LlppDJok+QbYjKiKbPIvcopY2hFk9cy0n8y55sZBZl2xGXELCyJw7zYBsLjQR2XjmITx6VP0Go73rd9Vb2kt2LX9qMLspN48BXAeJRSnPA4p8usnJbxPMNPDk2UXykBSwGwyrpwlPGlckhWG4AL2XpUdBs6qoVqQaSqEY6mi6S6psDCK7vxAIW+mCvviDgg9xbiAVIu/dZn4BLxvxOS5FXLNwNkqj9QpkcW9UybNebznmzxcc3EPh4C+LhQCbTHjzLOClzLS1ngeagfBPr6XFXxdLi+LEdwS7OdHsKYMrZoQbY+ztTJcsoJwYlBPBDVCsHF0BZ3hDKZW7FyGK4beXgo5p+EqO7LuYukSAvtng/4MBA3U8KQT3HGj2HHDYxhtxA5H1BHkxp2k8rvwYfF8YYMKFPmmHqNKvadc8WiEmLiiWFp+6vBBnaJWQO4t9Iz4YAQ6gIsDzcoIuDoPEnLmk2aKfPVIF+ds/LW8Cc6eyHi2akuj8w5qoHlHjN7YLqiuHUdbCt2GVZo3VeJLLPaxo5wmDnzbfP+y/Wn71laFWRL79HrMMsEcVKpWj/xniGuHzAf6/9wx7W/6F+xz2X5zVu/9I494rfNSGz/Ja8xty7lZarc6EgyaFoLQbYkI61ng5n8mjDreRJDUtaDdncm2B18KHO8tjkpYERNFl8Ko80CXq1QKA0sVKzuIg02Xh0wWkmR/2HstNuPeocxOGYVwbYvkRaHV8BVjhxla9HwyxbPKHLOBh8C9jr3JX7Vs5lLpLHRa5Qk6To+w1qlvmx6sSCylQn5DmLFVf55Bf5wzq23uSsbb6bYutUbHPgWcLSYcttj1bOtam1R/73s7g3FZ8SrqWHO3R6T8Q1gbI4qpn9W/wsIIniJDEID+AuRVZislTrmy6K8Gzo6c5W4NOhD/o1+t8wR3bSRRD729b8Q+Qrxe8Hv5hfjP7GZWY4T7/a3lLn1TmchHEzG9OVb620jTu5UjsPxqXC7a3Xahnpy476plG5JsGd+k4MLmu7WKhByVsGo8vla05gWfG2JB+6cNN0gtwPD9PKP2gNcUtdyrl/HHsZoM/mYO6qOGabVyi33BDqX9pdFgMuSJpMdfDM5Z0BSH13k5xPPteznFXwRDQiy4pyXrIt+HEkflJd988C24qUh/IAsc9Q7OyMvaZ+kqQrKb7aj3FmQrQOtA15Ryk86Rhb962bqsTtz1GuvggJxKrkHl3bhrCo6aF0ZqFVgGj2zGQLIaqVdsCPgVmMI6xcnz27WITiLAU0zVrX45xIqdTgRplXeEIkhAvhZbWJkswTLynpRWVvjTqn5NdyyEphNDRriABohZ+PLNA6GNLFkI5bizv3oTWZLHGoQZ1yUjp71EqkroNPSjqiTMOkz/XYWaM4r9Mnh0QdPU34S4CHKuGHvn/u0NxgBbIJWSoQKZ3XlfM+FNl8PIFQ9uGEyXEE95+cbUNf8Xp02EqSftwj0KcgsDphZuFmNNO8Ml5yjPSXRd52seV/DiCVl3RXhH++oh24sTg645Kzj0KsybqUiRvK4SpGHrKGwYEe8bs5bQoA3Naf2Pmw8LH5nppk63PTzQ06mxi0qI5ex6bM6Baf7ZG2+NScvRTDAEo/7DlPoAvkgha1FPEgXwTitK7uFhhj9VNiv1HsO0hvXpgOa3xNaLwJEr9/sG+KZNPnIJel3jsKVebMIoxGZwEei5ld3T8dl9YuqboI5btSn0Q+4pH1ALNg7Ni05vvf18VYyOBCOn+orBnuRm8n2ufln9pUs4bOUz4G7jlf93hg5HA+qf1bUrUXx1N7G5dIqWNwuMIMjkE3R8qS74qSAPN7rySgD4WL1NG/nGDOcRdo2GCgKg9QfmO8PXo0RyIjull8xXxL6jz4iK1c4QwZYNia6Z+Qmapu+1tzSM9d6U1ItVK9SEqnLdBSmL7uHgF237J/TNRz8USeuLuMuc+hwaxa9pY7v8yUCxZ67nA5mOOxL+nI9zdt6WcIuR2m156wyy3ZUUuF/dhyMBe8+ji8HOLk+mcb/KGfoICirGgXx3a2vYzN/r8Jq1H/sEupd+tJWbvQYAdIObmVu16vND1SYcyFPVbcVYpq2hXE/oye9G0WBld2tIvffZqgDVrhduHw9C5U743WqpUSZ9/maRy8LzYmXET+fK5t4sEibUT6tm2EStWv2+zv++TQhybVwTtBo5nMM3rJEU1m3bSlG3UgS37y6urH3SqhUHCYy4vrL1szEweUul318uQQxVTwmckCoV5vF9+87xboPXrmj2vDjdzuD8zs+wo+oHlEDHTmfa57osbwuvFDqp8Gm6FS/2AH78e60+7ceDyylBNKqGrsVq29lh0qSUWiiIE8LwuMLiZDyuE1WNeGhbDmBIfj+1nilyX7RgXZkci6xwTkfrFabCrr40kwH/nOpdi0CFzpGOpFth7u7Bc4rLBBIYkQgU3Rpnt8Y+wAll0TCTTsbp3w5OFOBF519i4h+qtAf93nxuV4ZblVUWG4wyCMRTM3+T0EPVcUy/NTbbtHYcWH25BqrSeohyziRZ6qe1HNVj2qOoPmacdth6kmQfHX+LDd6hZvdM2wzA7WnSTAJrWyexeakH9A66rXZ/S/5Se86kxeh03ia3JHnWzZn2GKu7NlDiXTB4YTYAZ/G5oTGjRzUGVD08WwBdBRaObqLw72L553obg39wyIl2NjwpmtC0NrRriKjHwPP3Q2p3BGCzk79k/2OaodITB2yJLDCjTM4HRUMlyBACDDwPY3nnvz5z5k/NTwhhSKgwSBf13JTPT/Nrsk9JItf4ken2BOQ5AwvvDOagbQeWT/IYZfczXzp+K8lEA+xU43hetTOnqxloRvCyb1GCsPJX6up8Myw0LCJGjRp4j/zt7YEioCw1MDh5CHd1q02mm56klodgJvfkQG69W1us6HXVhhijvoNdtciyP7dXuZuHgzPy2VytZNOqR/XKrMpJDnz94aqvM8B3dGS3FLAGfYPDbB4OvhEd9OsdaDcA1WveO5yLOEYIBZdwxkT1t4OsIRUVThOsvVEb6RMmUDwuTe1Q7L15qR3louyB9M1xLBuFg7R119sRIGJoSNaPoNHouGAEm/vZJqqW8SyFBuAdbkb9ea0318cSj527S4RhQCFbbD79cYnf2klgl4dXcNQ9xplEjLKmRlijqgBlqe9p7h8zJ9SO41QU56ruzfrZ8BCdLsuPXE/huV4bwBfjAG0UpeJTFk9UWO3odxhIZ59MIFNxSxHeDAY4DQmoPj5w+Augp2HZeSlohyuopCe33QoeOjOodUCjEsxEk66miBGCkRCRYlyrbW/JVne9yc/zQ59R+nb85VZMTUyLF3EJrclD/yMmgHxUp6w8hTMcmAf7K89S//xcuYytPqwRvQZIIp7f+TIa7JoWl8GEyCcvYp2RCTuMDi64+2f9UfJFmkuN4ZE1EJ765zAex3RGKP4sSK5mr46k60TNLlyZgeZI6o3JAC+CKJGB0I8tcGP5+Gfmxmcw1okGNIJHF0NU6P67ZwWvXQM/ORjCVpQD5mBNeQSpN2dWIn+sMIAVPlrf/SC/aLaMvLQk8EVaI0p3ridTb3/mjuTM3pcHjQ14TPymSmQwm6zQjbdsf/9j/6/7Zaa71C6ED5lGo4naOzFSGX8IWExJFiCmvXUS/bUG+qMN53ueQYcGwKga/t5wr30ogqe91zGjThaOFmV+v9lIDeTLtlG9HEr1aycneKsmA2KyM6e0Ah2pJUe5qN98SOZUyX7E4grUvoWVjzZOPjx0ySvC5l4QOyTTxlqHRleJuD39fFrmM/iNgE0t2UWbat+br8L48xOYaeCWqLz/5PBT0JECnaNerzJ9lUJFZgBAar0273hlgTdeAlbBPIsUGAB6DHc96rwwQo6Do+Y6MaukfXUkpUQtGdyFzFRYm8cxC8bnLhs2cn98AytdvvjEKdGPkB+ETYOIHbwON+1kjR+0JUoVa5rmw173as+fhYpqYcs/4B1Sm8EbqQ6HG070rWM3+MhD/T8ayImvv2ol8T9BmEWAa/FutFLyuoImKVZgg1IM/tChHx64zaavi2DWPBXZuvoe2ByrDMyBGv0SKj3IDY1icET1cWcP1GgHrQJ3sDLmjexJy/hJF1P+0EgfMPQijayRSMiu9Moj3HSrzHa11P4aY5xZHaqKFs4LOU1bcwgX+1gSDAAzw0+KGZXLEAa9Kn5mzb+A+5Zl6kldKkmrs9H8BQnJYScJnvLQbDUKXXKf2V7LcHZ0Axdsb7hHtVkb7MCIPhCNXA7EzmHjZldoS3QsW6AbLRPHSkxJVwFziRpED/CgSvH+PVXDyzlGvzlgrEpX9uCJ+3fqbfU0d1YvuZDAgaWQnP16/zwumhynsaJ5k3iXoqFYUdn6GxdFsl0gBUGt/YGirEton/TzdegQCgEehN0GzLtjQbxI+k3GmsXwEJHViox53l+OfDRCRTt2A1XKK7A/2VF31BwBy/EJVEIVTUp1H+GOBqxUIH5RX9zI8mAa750okb8zpa1aRhhB7WCmPZ2Skh/i2MkDcG3zskOnWHBEfNWVQPlQEEmV3sECJIZVmflkwS/60Z09GY3zDo1KUFaCkL+/JFY3kpTUg6ivMeupgGvE78lXJGcK8V0412G/fDOfIFlwpGF+fl2dPjBqW5UklglCUU4I9RJE6fyq10d1MajaMEC3au62AIgroba6WEkcCLdeNRfOp/o2iyuFuRT9k3eHBgVUlZ3K6WZvnd+mslMaoem2qJzdkMOCIAfC5r3P04qXqQO8MGymx9jD6RSVeWPgNWMHm6SikXSwHhVTNOgRFafUoKhqt1SUX7LoGY3qPyf+faftsfqTdZGjqnfRHh/Rj9/0RlR8gg39mJf1IAHvs8ncPWhzCAn8VtlmN9oMn3D4bxUNDkLdC9gEQv3gq25uGLuBmTXIJyMRFRURr/1Rb4vS76bU6lHviRvBfFrMdAaM4TZaT+Ebg7BF4At9PfuVrqOUwD+NtZVS/iYMBz8HtOqyqOIe/sPbvq8JzKihxD5GTDk5eEcQIPONhoet//mVkSm9vKiNMkQ/Rl/7X+fA3bcO1e4HyU4xyfeTCpwSH+XNngyO/hPjpMbWaZzUgqL7BF6yqYDwym5zU65YiPRIOGLoLXKsfn2HROx29LnV+6KZCpVSrogHRA5kttGZ2vELRTNbhwIa8U6t9n/JoyEAccNnjGJfwhu80EPL4r5cO8HaP/v2cOFZAB0S9rEzVkuHX+04hJnvMMtWF4W2DZFRsXwMSRW0oCaLNInFyrWGUFpuh2gH+6DtMXDf4R05RKb86K67DFsK+m8ycNk65Ud2L0IgLiGgJssiQuhSp6RiS9QTZuh3bVv/LDZZrNhSqIWkWyZtmtzs/ZcHQ+Za/c8Ozzvgg0ttpXaa3Y7molOouB3Ir/Xd6VPGA+9phU/wW3b5rYzPyP3eoOLp598d+7UKgwF1DgwWL3PfaTBWgZvXfG9RCAnacNuOIMOl2vAD80agRcIQtS+HPILNeB8jXFvKiXzwaimfz/6tFgmOjfhp/DKNpXWIKGUvv3p+4V9skipP95rzkZ776haUa7zKOYWtGgYB4TIYAT6ywBT8BEwPmMrPfNlFZ/2z37SlZvhVm67tn7GhHAGSw0n0Stbjwnr1pblfSb7mU7Qss64gcf0B3+inpFIoOuHAeNOCbRb9wBnxTKwgfeTmFwNQhXqSTYmVW7b8ROcjsHZiPzdkjaE7obemIR2B0HcZMp1IxcLYNxvhN4Ueio6FVadBGqr8CcZysmgMx2OU4ld+3KLd/uV52hz9Db9SAm048dKurcAbF/ini/HfuSugjMF6/4Ue9PwH3nWOu+WZq8Fu0m24FK7Da6VGC9/dgg0lp4mDrmgXDpflkIZGAIxBu3aME/J1wLWsezOS6mzb6fRXMkndsfgLIrYXk00mnSL98oQIim0HP+FsZFdlvf5opyI5Q4BH/p+O7nqbkfO0sdAKqW6DQnhj03JE02rdc8oREmC9audSrd9g3ieFtOedVAhHd25Oow5AI8CisX8nds0mriqrJFDTy+h/yfjzEztrku96GRBH5ehXJEt5QXvF1enQMW9Hv7+lW7IsGWRDP9De+jgJNn4L8gSoNbkLwBLP72fDKxMek4AV4AIqgvh8w03tH9nI2EzI/YWN4iWrZs1YZj8wnoUBqbIT4GGJlf7J1YwCXTs7um84tK4MC3qZwiWZ+CzquPmr7Hl1wiAtSZunAaqvVJ2VSP7dMv11siFWZA91EgrZNbLkw9Vho8JsKLCvnlLsLM6zLDlutvAnr6HNIBNlpuDJXnRdueDns7HtQfbTdKfGJ/U41sRVNzBVgJfln2RTGQ97v2/3kjnUK+am0hsNsdWiy2NpDUKwQuJq7fUHCJmK+EIXGe4eqNJ42zoyBr212vfSY8ilCACkLyV3MZ3qdZj+snM/xxhKFkhuUFX0SUhdgEvc6Tc9zsu6I03Qvvx50ezKVRO1k+GW9V4e+WS+xzYDdGJCCHtr77q4q+VXXndSrY3J+J4pGNwPdH6fn6/Yy71q7uQ2AQKNF9cxk3bh3JqcLGt+G660+/kUqKMHiDYLCfvOjcsJwQ77tjAw+AycVecTnsnBCsgAqfD1quiPJrXNGlfaYvhln0lBDJSGowPehpdim9u/5D1xI7R1ssGWOyXNaiLnyVs7JzGKESw2HWXWidqx0KNnNwPIvaiZMyL3+/OeMIZ7Akw5YVjfWZWtB1+hSToBfljlPjVBgk97wfTlietDvy0zlfPEe66fjOV+KpD1G3aE/mCeevjO1SnKgt9cfMDYQXKZHdEDEkD2RmyL4xV/NKBqauPdMmyG3Ak2RbKjYwDuCDUdPYaEFQfUe+ReLDIPPoz/y7QxmNePYW6pVOjsbvtiSEsDONL12qCjdLzMP5MXOU/2ij/M6IcDiNeokSj/2EJwTgDKcVpxvD5v93bSowq8LwCIgxkhAsg4pLMla7MC9gwuvUXsX33/EPaMjV/O2o/rjtMkQ6TAEdqyUFoGZSGZpFBGNe50+GS35zZ08m94k2G+/wHSQQdaHzsttx4kwJMlNjzIsmvEZyAMCypX9ELn9x87N0K+S0pCBvRaI42j7LzosoqnECb75GrhfM0jNBNJQivwKHecxPTEpyeoPVKYpKDRLz7r8XgDv08/D4m7nU8FY0HLSYzmjyfhvUELrjAZTnVrJqZgj3Nrk2adoU2TU5auLPUmpujTYNUEHdUFwL9+E4lPziv1Qv/7o34rvDYoplzVXnA5CL8XegYB/vyXkLCvCfaci7Vr8fPTvul+DkR993pY8MzjjrbrcjhoGgEKFWtVTQIJOCj0TANkd5J6CVgC1GUwX9UD6PctrM0tYxmr+O36HOSfDnU1XE7PW2EuNDlDMqY5UVx6ZY6Pl8G3r8uC7W5JjjZG3HqkEx54KXfjPfbYyjibDf1UIQ9IaQ5HFa6GQ72s85qRkB1w6N9G5W094ZULV09iN+mkxNn/3Mcrq1To4mURCmjIXUuq1Modi808ceQBPhjY37e7bovmmMMuRzvygF5vYLaenNYvcvvaNK/9TUcXEY97UGYhGLxxb19NaKeczarr6rcaLlk9ahI+jh2gzTCo+cQ/iPc9bv/SoUuRA+tM7B0+YpA1C+zDGnwusNP1fX5B7BShjrokRuAWXgYrONxtsN+8XVbHb0BbE7fmyT0TFA1/XC9Ioiko512pgZA6odMgw5ooZQzukgTp2Uzr5MrPFrCJshDx6T0CCTKYoAZaBHqhtRAa2p04fGFcSb4Un62Jc86ZWQnO8B3uefP3SGjDNYi0JBF26lbks9Lldnh7blmm7bnzGOXMCe3EhOz8QzAFaqlZ5bqXZ/7tjeab4QS5H8WL9tvy0HTKZyfA6fu59jwtcGAnRiTZC7U7Qnv5qjY1yhK7X+nVQpYBZYXGyyAEZgjLBOtJj82Z96A/EaQ6+NtLjZo+fEayhcJ4jW3OUh4i7ppPriNu02ff0L7fSNIUfWGr9Nv5GrCEAOTKjcMDQiPgcZbIo/JfoaI4TOtfSdW0jvOvu1Ta0mMPkxbWRa3CYuD9Sp3Eg3gZum+u5IIV5IIs3gQZ8cjSLut4woP159CTJEm51e+2tt53yvO/0WCixQKRv/yeM2G8P4PP4oKQIaaEgPhV8Ra+vFfWqaclqF9F+F8Bi3xwORXhhrQPH3Ra2xUXGkRBMuticmRggy3tTxhmOCeqf61SCaYqz4ttZBikD16VR0603mVLvuTZ+1e97STsjeYX/lk+obS5UW36VWBIwda2T2ZxZ61tSLdjCERm2d0pRV86Fi9pfDMkoITcLN65PNRU+hQVYwDhAVx4bzCIan/ugqutXhcA6cPbYDsQQjZOTQJ2YM1BZcql3I3p3EKlDoolcY0N86bX8UAuBxJdxOKmmOY9vvNlcSwptI3vbyoWGcxQQ9tVivqzOjnciswCkgEigBnbwaoNmh9ya5Ts1rGykAa3LiyplVv8VZhrV9fabZWYggTSYE1pWpOCY4ssPNWuVVB+OWzvBUEYZF0WO9QXDm9TgHmmNmUew1Sn0Pn1AiNyvc9gO8Ar670zkQgwlv1YUi2ioZjucz9UmEZA/YA0/Njne5/4cT7sdcC8mgi8UEIAnkoVVL/RG+5zK6AKC1TBi7MdEw0Xo96BHjE+6BZi11Hzn0dv6POTjRzHFdgR0nCWhP80OqpelKXNDAx9/QljUBL0oqt6VhLZPmGN1lAhzAY6paHD5BREdn6fatJyVZfvhaB5TrxFSqsApBrUyQaAg/VHgCHCwqAwUclpUdh+Y7qfLwUGqJk4Kg/qL/qU4IO/zIo8Xjgtov5Ov7pRNzNYLvTzdbiNmwWkCV2BCqnZTprMc7gExTwk8UeKJILQKOMr8WGhnJTdmSHX31ul6Ga6EHJM9EaaiZ4tuTxw6CEVvCjvQfttKxCJZua/0KRuormLyWdxubUbmaHkxI0e0V8yX78IZxleW8+0lzpo4zlmQL50gYdTCmJRLPtk4LN7gnBjv4LvFrJ4B5VjhPgB1ZN/OHIqvmgA381BHQ5GN8awtQeBZO2MlSCMeGJkZhAICmMhnLBB+/OY4fxA8DqqiUFqY+tg0rQx8zLFwPjIAai7Vy2r36MXUjX+gYUXZ3ddC9czitY+xfvTMMWz6leI29EkLP2t3XYt1p4euPn0xO2VqKcqnAuwmQEDiDD04FZY+n/bISSeVaxKydQ+n277zkgbtnN2oPKDNApnwyyO8/s5d44lLTAl3zr5T38ZetP/WP2ZHh6IejqKBR9sXt9ob2AGwYGmv76yxuXkp7IheTqrlEKQmj+eJAeNSKFjAc9LX9Hu8fzY8f0+M9ZiRll1gK+QBfMXYBfb1+87N3fAfIIUXd+acRZwg0hGk/IJu2Chi4EgJC5PLxwE1+2xHgJpd19Z5Z+ncoHPl2wokOL/Eopl0mOU7kiOLvKdINVzp6okHjIXoUCon+kj3nvwhkUtAf8MNoawqTCfAO9S5S2YWhMZUNKmqWGSLyHH3DZ3RRsCruO2Kq2TGcDiIDBRwQ0rGH8j8egTjE8UwpHhnKxbPdSc6TuBOe/x3Ej2/yG6IJQzUXdDvSpviupz4H5/RLz4Y5elBkNrWdDEMMtaOex7Y1YbGwBxyYJ2owLY+PTF7OmxzoBqPJq+SxzB/VykUQTkAU29o1lw9maZ9bWmJyaovylJ9TDwu3kO/sotgR/6Ixu8CZA1S2r3UTGMT1GciG2rWHDOX0LtfGQGF5bN6XK+dvM3JdWDyNcT+iWcYSKsuMSq+i8Jl/KKU25Bt4L0tVog76S6uxMY2dtFng1uugS5lFWXVbLM0JmoYErNgNtP+/fpNtFn5ZF8PL/9EElnTO8Wz73xThh094kZQ9QTNqdXg9Z99gys5v33Ji6tueg5464L1DxzN7bdAIIHeRocuQjfUSBLhpMUiDmlp408c9esUp97h+b09ezSiwvEiSa+4Ag/pORoF7l8h7ZVNz8StD81+BlLDUnl0PVUH0C68aU9EuOHBr25CvG4HzP8y+9fvswvXnu4bVlhHoHv9KTlbwW3TZ0tlRfcj+42d3fWeA9/0mnnUvM8nUmbIbp79JyjeqyVLZuO9POTRAj+kUopreWx5zx532/8H6KkqfqAlYd9Eh+eXYJ9KQaeCmZYht3/j/DPfSyGLeEcZvDaP72sV6AXmSwue0yLAd8lDpvjXsYULqfd4axoiVFyiJNhyDI3xOkdVjjuJ1e85ES50eNTZbhIKcVO9HwLs6tfb1BY5TAYJk1crNUgup2OuWpchjajACxcDxA7PJ+iy+ZY27+mqwaOoear7fu9X+8QdDp2xxg0wMW5hza6oemctNngkVd8gyiYWFoFNVxRLB8gVQyE2L8IIpBJSft7C6qZUPWLDvPl4Sxxhn6oJToJTbhYNdSYJmR19599Z52225rHFG08CmORVPk3lWMJj3HQAlkiJyPNR953RhB1Me9NiIs5/f4ffcJTmzs7NHVCYMt0zKL3dmhBbxCSuPPxq9ZCc7kUIJhj2+mbF/V4xEkQrX51/eejKUWll+/HIs168d2OExsGbhm0uTkg1vg8bZUUNWblSm5kja7Ac0sj/nlp/4OkaBF/5P7YAZbEK//brI+scWslVUyaSJJPFkvaEfmzOIwZ1hPVBc4vPojXcDR7WPkdSXrxFbinktr+pDlF2lD2qyiRM0oA39v4MCcJ4u4mhHG85xjwG0AzJEO77e/Ev37KMjaVmY6fnFACRp9ZeJ+ALEPzNTDfK/5gtxpNtRV1/VTDE5FZvnCkMwbiJe7rWqlO09YqHaiRGHeKjF4B+Drc7IGUH3He7Afj5d7V8P014TbTsxHOROVROAaGmmQCfGIipyUUmXx6QZ26id/jRG3rz85MR9b7zQ7qu1KF5t7qptsRYPgF2NBK1H6cjGO2kMCZuN3YTkXby47rRz7wPLsQO+ja19kkVPsl6pHmbR7X7v3t/U5uX/m7Fgg0gQXFQRfOfoazYlU7e2yf4p4hYF0HfXFYlAzEMm0iQBmiJhLrtt2zhOmLNe42henMFGz3IgNsWfPHcL2yfdUnqc1ObmB1N4D5BCI767UaJj6++6vUWHDZNQl30berVOjYGKuI+ahdZdU2a1CPmIJ5kDdkO5isgaXzigFeFLycx/JpLJkr9eoKsxVfg2LlX4GM0ZFdSZAMiLKMCDM3zhd5ciBLHfrAzTahXXvEhPXuz0gE5Uq5bHoVKW5d+hStwFip+SebMA6UenYFa+i58KfCtHl2u8yKNiVSRYPMZiWY0xUDzKYjQyAMdkcOPs11L3AKsdXsW2yIvYJhDnciinjKcB4Dc0z2BQd+5vUm40KF4v4xYzDXtcfMtNAbkNqpy/3PZUcWfgGk9zlC7b7by/IJBKktkY9csFHspd4uvIOVssa0Wsw31+ecS9AunRxH/8SFtEhEpBSKsa+LulO4CGFOFhUFmcyec2Gp4kr9KZaIJVWjDDdhzFYjJLIWT5luMf8vZZeHLwROIAbS2Atge7AkFYjOpOtAw7stuKD4iHq8AsKo/2PL9pdeDAj4D2ELK9pv8UrlKg4KnHdwx9I24ZpGajut8zcpDKEvgQoXRsyPyvPSHKZApgNbtF8+A/4ZSO05FB2KFcNOhQjXU3/zUOH/MaZtiYOVCNwd2Y9UKk5fcxHXBH7XYQzlhq9yc+k+T4pmQB9tGKEuX6KWrFF+ft5WEXkvoP5T+L36/AoHhiAWQK9Lsyi0dJDYn4Ly758uqdWZEozT4R+QmY+sDigYo0xF0bGjmxhVdcFG2m7KgKF4LV6mKEO5KYQQRR5ARybGTgdwl2U/2adOnJCluLpbCDtf9yiJT16vLW6J95ViVbEnGr0vkT8Z+GR6/oKGCZnhFOeMSgS2qhd96iHoPx0gWh7EElF8DivXUWpNBO1uQlxoUU7wygkXWHXq4H0dyn4gjo9DO9q6BG8uQs8ZWSAzZneryJldnfgMtZhPz7BDrXh9A+Y+L1oQh/cjzQ9avJpbOPrSQKHa9/vSYbYvImEYqmzudqsSdaUB762auDtR2ZOhqDZCSxEXVF1LUNrnrQj8ac0+0LaKhb4KlMa5ExC1U2wJ9iHRuARltIi26aNJm8/3dBSPkkP/asY142PcYb1jJ7/zZ83VONGIwF+gArtRrJfJlMA+ZIfW4LRRWN+Gc5V/DcGlsxN3fPxxBbNr+JDaZcDt1UTesjfV+YqDwf2vwYBtsM2MJk84MXpbKvxQLcgVNhueMsDlewpE+x7o5+nPmaUgASgCwf1hljRJWHX4xhL+gRfkG844L4t+GMVLJ8XUWTT6a7OZcIs7ZOTvE15wfclPTxd1oZJ4kkJaV5aP/kxaKnxzznv57twRjehEEGdEbqlgfGtN3Vk4scEF+QaM7Imwp4GxlaP3e686k32YXAlztWgFA77X4cfecQMmOWBiY1U9P3eWGmxzvcFrRPsZ4wUC9TYLNcFsHHYNwpXJMH86ctcs3mP8X8hcTH/PIoYquVqPzhbmAP+nBYDisofnkaduBbu3YWlK7Aq6E+CJPWdRefvFMY7mI7+7Zyl12Fjc0Mh496fpElaMKjn4dw5iInEqD44R8a0H4lW7ia4GpsSo+f/xw4HPSIFNuJPTI/7je7otcc94A27FyuD3+sGASXuxf1zftUeuLMXOco13GiXItvLdaXXuqkkAoIC52RR8kEBv+xzX4HmXfQdPC6wsDPiao5rtXPd4c/r4BMPlyzkWc5FmYH7/Ix2vvJSfHVZuekjrIl49yyDkSMx8cnL9oJs2WSiFXRx5M/Vn6XmUAFGUU+7SZM80a3/1xE0L3qDgq0cb/rm+CSHRIq7Dasdgn35NnV1xlttfBc1sLy5GHkhnw58FlCmW8K3MEz7zTLP7BDHFeHvpTFAKncPXvI4gm5vwTH789gOFQL4CGb0VQGHF+3a9VCN6YkGjJmtsWaum0DDE2VIuvaB8C1la7GYrOs/dI8SY5yzsWCvXco/943D7Hquqv5JilHgjF5Q8oYP366Kifzs9fY5iYA22hnAMscT4RfHIIpGWhgE/BuxqFCAHMJvqK7KxKw6wF1NtLOl14UCNYf24iuvB1Zp9dEBfsQfVmtSgWL1JmZWFiWMRTnsVU1npG056+qWmZZK5AkNC3IxVhnS09NhnO56HHzFO0mgHWVh3e/NyX5xU9x9JIK46N4WarYk3FHeT9KMxD2E8vFq6eyMl0QDgdWn6GfIFrqlPWH1oy9oZJIjvGWw1mU9AZ6Z55mDsd0FQnJHyXRDGEdZbXFOVuEVY4QBx3QMcTxM4B09WhjS5JWiU8b+jVkWemNM5ivEfjRQLF4okyYjoe4ZT9j1P55I9CiEfBnfcr5lCeFtcO41SzWvAXCUL4ezn05le4UQPs4YisclIO9z8f/afrezpAlgRCzjozT+I5srCfQReDDdbOyKjUPMc7t6aTo1oUG5vkXWFpzSeGfie0Unk/1EvF5B2GUnia/tD5MVYmUyz5FOZJr3NcqxBoXNXM5JzVU9WZM5XCek5zThGepVOOAr9j+nqMvxRB0AZvDqnK5uZGIpBUjX2DYoSw5ZeBbeHg6w1n5WvBzRs9jKVztFKiT6q8H9oDICQ2jzBoa2XSErlPdqUqJOZwCcnuRFn40JWGy9m8fgUzzENFpgmHhJFRv1wkfikHChxhxEVGGKYj0WhHMorxgjoiSed0wlnWNYcwdA+Yf2xDlxwcWZZNXE+3CGev9WsZDgcrQr2ds/xmuGB9BAB5IDKBvBAmzC6rbXZ4qBGF/Vyd+ORMsyWr5gcn30XTrzygFqLagGkzrKMaVK9m0P+LLraoEuVLRAJtf9YxpOCIGC5x9z2UcnUZafYQice3WssWSxr9VYAZu35fMgB7LKr6MwOHmVHHcHe90/LV3RxgAGGF+DhW5GjrynxyP8GGPzfmt0l+IH5+OJ/HpruRGmciLn9HTEA1+oM0C1ijOoDohe+xo5gw4BBIeejbEOdJjgIaxkaug/AS4KXx4MZBXVRidHS65vAgQhiBddIpIznU/4B8su/2Q3KR8vFsRRvzO4QE/64Yfb6SZijNmNUCfkhaNadOvHkAMFLiJXXGb6y04xvcYuAAzM1m4hDawM7f9CD972jENCWf2nDDSDEIb7mg3WyeYyfkPy2JhUpTTMWiVm09YQi5xbURu3zzxRsHfnd7Ge/K4iWvvVDTmj2laPSjSKl33ppTVPQgJXgAIRc1l4vSOBOn1l8oiLXSkoBwW+ALaDK4Nsw26qZb7Au4mo1aa3VoMazGcAo7hSFpXHCc2XLllt8j+tlF2wXRYsCKmXDZE/9TQn0brhSdcMJ8Zy/PToNhUsltAL+vCbOwkI9Cg8vZk4lJ/g4izFRWyM/4oeHCi5dtFJt/2ClVv6BWFVDaY7z1Bkz52smMZn2pmsGzuPvUiPpdvWMgW4sJ8P3eSvkgBn7HjK1xKBVyZMVuwi18xkhVDh9FcePqNJz9NxioIePTaQLR/CJVPa9vP0NiDM5iB9Bi7rNAGS46ytytrEXRMOeWp6MlKW2eaurzt1ZhpHrXE5CSEGfQtu438vs2s+27oZvr1WxNKME4BUeP1YK1fqozf/qwspCjAVokzssuF9fx4KQ5PkUEpK7Vo2W06Xu+EYoQfld5eLN2xa0BRmIU0G8g7uRfOnZRQuG1mjxzZ8S4Xwqu1UrhZV1GxaiGotOTzSrLSt+UIFv6HKYmBkcq0Y8FGKERa2Kp9ZRtvcepH98zKahpQ3Gjdn6kk0y50VF5tCCD6YQIOXEB/cF6BFsCnizqvU2+4RS4/WreuYw0kQoa5XsfQPTEpr6Gp+GOlVk0rosLTdMlYvDG+YbeDe/GHOC4pufADJLVpp8GLN20e9VeNk3XpwgxXc7HRHIaDqY/m3YdE1stFI6B3uoBpXC0ygA2Hvju05l9T9Cu/e51hrIhot0xgEEVOrsYuGOIvS7lsdPIz2nC6Kz1rTlptHQ/qPWIx4H3IlWe89pieWhadZMnk8RZk8jbEwawJ98sciWSGHDX17kGxGljxPzBHwzYONZNh0eD+/ZavgVGnf81bvTzxoH6qapDYmiWoi0Dgac7EEJfqL5o4S8f3OvzK143Cj6gN/oJ5vv+NCU6AYZIjJRee3wuKmbwb9AZKxw+sbCNnHcQZ6AYCctrnuwwEb0dVqqrvFDumWQN/0iwSc/rMir83asczTc9Hb9uYs3h+WL4ym69wabuRTLfT38WKbYXYfuXdvbv+bU0u5wQZf38D8cB3aRWfG8EDCHI3Y511FUO2YpHgEufM+8lD992PgsWaNG53GpMbshv3qYdIngK4QfyIy3UN5y763KT4L2ts+u7PDBoo9swC2GQRQSidiIOKyuFcBLz2XgfPOwopxMNB5ZgFHIiLxUZ+qNGLVwQ6bPAH4Rr1X8gojxap2BtUmKbXgA/4Gv4VuCplQnxFCH1vBC6S8ki/F6Opn3wWEMvHQYZleoycDdask5e9CMVHhGmIAuS0G4T1E89Q=="/>
  <p:tag name="MEKKOXMLTAGS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BF16324A-100D-43A3-989B-06855AF3057C}" vid="{05E5CB01-ABF8-49A0-9EED-8A582D469C1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33</TotalTime>
  <Words>736</Words>
  <Application>Microsoft Office PowerPoint</Application>
  <PresentationFormat>Widescreen</PresentationFormat>
  <Paragraphs>101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Calibri</vt:lpstr>
      <vt:lpstr>Bain Core</vt:lpstr>
      <vt:lpstr>think-cell Slide</vt:lpstr>
      <vt:lpstr>BCN PEG | Job Postings and Compensation analysis</vt:lpstr>
      <vt:lpstr>Auto body technician related roles constitute majority of the total technician/ field related job postings across most players followed by detailers and painters</vt:lpstr>
      <vt:lpstr>Swerve witnessed an increasing trend in number of job postings for technical/ field related roles between 2019-22</vt:lpstr>
      <vt:lpstr>Swerve has majority of job postings for technical/ field roles in New York and Massachusetts regions; Competitors hire technicians across MSAs in US</vt:lpstr>
      <vt:lpstr>Across players, majority of job postings for technical/ field related roles are published in NY-NJ-PA MSA; Swerve is hiring across regions incl. New Haven, Springfield etc.</vt:lpstr>
      <vt:lpstr>Blaze has relatively higher average compensation for both Mid-Senior and Junior level roles compared to most peers</vt:lpstr>
      <vt:lpstr>Blaze offers competitive compensation across different sales roles compared to other player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Swerve</dc:title>
  <dc:creator>Sikka, Ayushmn</dc:creator>
  <cp:lastModifiedBy>Singh, Ujjwal</cp:lastModifiedBy>
  <cp:revision>5</cp:revision>
  <cp:lastPrinted>2017-02-15T14:23:56Z</cp:lastPrinted>
  <dcterms:created xsi:type="dcterms:W3CDTF">2023-06-08T06:48:02Z</dcterms:created>
  <dcterms:modified xsi:type="dcterms:W3CDTF">2025-05-20T10:06:22Z</dcterms:modified>
</cp:coreProperties>
</file>